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wav" ContentType="audio/x-wav"/>
  <Default Extension="jpeg" ContentType="image/jpeg"/>
  <Default Extension="JPG" ContentType="image/.jp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28"/>
  </p:handoutMasterIdLst>
  <p:sldIdLst>
    <p:sldId id="333" r:id="rId3"/>
    <p:sldId id="462" r:id="rId5"/>
    <p:sldId id="440" r:id="rId6"/>
    <p:sldId id="441" r:id="rId7"/>
    <p:sldId id="468" r:id="rId8"/>
    <p:sldId id="458" r:id="rId9"/>
    <p:sldId id="459" r:id="rId10"/>
    <p:sldId id="442" r:id="rId11"/>
    <p:sldId id="433" r:id="rId12"/>
    <p:sldId id="487" r:id="rId13"/>
    <p:sldId id="436" r:id="rId14"/>
    <p:sldId id="443" r:id="rId15"/>
    <p:sldId id="437" r:id="rId16"/>
    <p:sldId id="438" r:id="rId17"/>
    <p:sldId id="470" r:id="rId18"/>
    <p:sldId id="446" r:id="rId19"/>
    <p:sldId id="461" r:id="rId20"/>
    <p:sldId id="460" r:id="rId21"/>
    <p:sldId id="449" r:id="rId22"/>
    <p:sldId id="466" r:id="rId23"/>
    <p:sldId id="464" r:id="rId24"/>
    <p:sldId id="450" r:id="rId25"/>
    <p:sldId id="451" r:id="rId26"/>
    <p:sldId id="469" r:id="rId2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A4CA"/>
    <a:srgbClr val="E6F2F9"/>
    <a:srgbClr val="D0E4EE"/>
    <a:srgbClr val="C6DDE8"/>
    <a:srgbClr val="20B9CE"/>
    <a:srgbClr val="E8EEF8"/>
    <a:srgbClr val="0099C5"/>
    <a:srgbClr val="33C7F7"/>
    <a:srgbClr val="E8F7FB"/>
    <a:srgbClr val="E0F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31" autoAdjust="0"/>
    <p:restoredTop sz="99792" autoAdjust="0"/>
  </p:normalViewPr>
  <p:slideViewPr>
    <p:cSldViewPr>
      <p:cViewPr>
        <p:scale>
          <a:sx n="95" d="100"/>
          <a:sy n="95" d="100"/>
        </p:scale>
        <p:origin x="1048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354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1" Type="http://schemas.openxmlformats.org/officeDocument/2006/relationships/tableStyles" Target="tableStyles.xml"/><Relationship Id="rId30" Type="http://schemas.openxmlformats.org/officeDocument/2006/relationships/viewProps" Target="viewProps.xml"/><Relationship Id="rId3" Type="http://schemas.openxmlformats.org/officeDocument/2006/relationships/slide" Target="slides/slide1.xml"/><Relationship Id="rId29" Type="http://schemas.openxmlformats.org/officeDocument/2006/relationships/presProps" Target="presProps.xml"/><Relationship Id="rId28" Type="http://schemas.openxmlformats.org/officeDocument/2006/relationships/handoutMaster" Target="handoutMasters/handoutMaster1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7CEF7-4605-6945-8CCB-2A4A33B69067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067B31-7B08-4242-9025-255156D28581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AFC6F4-2D9D-4BAD-BBB3-80E424B0AB0B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9DF3C3-EBC5-4F21-BFDC-03D02BF0EF5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343A0BC-78C4-4BCA-A729-8F9AD3263B4E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jpeg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1.jpeg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1.jpeg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gradFill>
          <a:gsLst>
            <a:gs pos="0">
              <a:srgbClr val="0070C0"/>
            </a:gs>
            <a:gs pos="100000">
              <a:srgbClr val="5AADCE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占位符 19"/>
          <p:cNvSpPr>
            <a:spLocks noGrp="1"/>
          </p:cNvSpPr>
          <p:nvPr>
            <p:ph type="body" sz="quarter" idx="10" hasCustomPrompt="1"/>
          </p:nvPr>
        </p:nvSpPr>
        <p:spPr>
          <a:xfrm>
            <a:off x="2958306" y="1609468"/>
            <a:ext cx="6275388" cy="3260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0" b="1" i="0">
                <a:solidFill>
                  <a:schemeClr val="bg1">
                    <a:alpha val="10000"/>
                  </a:schemeClr>
                </a:solidFill>
                <a:latin typeface="Avenir Black" panose="02000503020000020003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grpSp>
        <p:nvGrpSpPr>
          <p:cNvPr id="9" name="组合 8"/>
          <p:cNvGrpSpPr/>
          <p:nvPr userDrawn="1"/>
        </p:nvGrpSpPr>
        <p:grpSpPr>
          <a:xfrm>
            <a:off x="-828752" y="-3490338"/>
            <a:ext cx="14020429" cy="13891599"/>
            <a:chOff x="-828752" y="-3490338"/>
            <a:chExt cx="14020429" cy="13891599"/>
          </a:xfrm>
        </p:grpSpPr>
        <p:sp>
          <p:nvSpPr>
            <p:cNvPr id="10" name="月亮 9"/>
            <p:cNvSpPr/>
            <p:nvPr/>
          </p:nvSpPr>
          <p:spPr>
            <a:xfrm rot="18900000" flipV="1">
              <a:off x="-828752" y="-147480"/>
              <a:ext cx="5274371" cy="10548741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" name="月亮 11"/>
            <p:cNvSpPr/>
            <p:nvPr/>
          </p:nvSpPr>
          <p:spPr>
            <a:xfrm rot="8167361" flipV="1">
              <a:off x="7917306" y="-3490338"/>
              <a:ext cx="5274371" cy="10548741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cxnSp>
        <p:nvCxnSpPr>
          <p:cNvPr id="15" name="直线连接符 14"/>
          <p:cNvCxnSpPr/>
          <p:nvPr userDrawn="1"/>
        </p:nvCxnSpPr>
        <p:spPr>
          <a:xfrm flipH="1">
            <a:off x="656440" y="5904129"/>
            <a:ext cx="10879121" cy="0"/>
          </a:xfrm>
          <a:prstGeom prst="line">
            <a:avLst/>
          </a:prstGeom>
          <a:ln w="12700">
            <a:solidFill>
              <a:schemeClr val="bg1">
                <a:alpha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 userDrawn="1"/>
        </p:nvSpPr>
        <p:spPr>
          <a:xfrm>
            <a:off x="656440" y="6130178"/>
            <a:ext cx="132408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NTENGINE</a:t>
            </a:r>
            <a:endParaRPr kumimoji="0" lang="zh-CN" altLang="en-US" sz="1400" b="0" i="0" u="none" strike="noStrike" kern="1200" cap="none" spc="300" normalizeH="0" baseline="0" noProof="0" dirty="0">
              <a:ln>
                <a:noFill/>
              </a:ln>
              <a:solidFill>
                <a:srgbClr val="FFFFFF">
                  <a:alpha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" name="Rectangle 6"/>
          <p:cNvSpPr/>
          <p:nvPr userDrawn="1"/>
        </p:nvSpPr>
        <p:spPr>
          <a:xfrm>
            <a:off x="8864069" y="6130178"/>
            <a:ext cx="267149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让</a:t>
            </a:r>
            <a:r>
              <a:rPr kumimoji="0" lang="en-US" altLang="zh-CN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I</a:t>
            </a:r>
            <a:r>
              <a:rPr kumimoji="0" lang="zh-CN" altLang="en-US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在物联网世界触手可及</a:t>
            </a:r>
            <a:endParaRPr kumimoji="0" lang="zh-CN" altLang="en-US" sz="1400" b="0" i="0" u="none" strike="noStrike" kern="1200" cap="none" spc="300" normalizeH="0" baseline="0" noProof="0" dirty="0">
              <a:ln>
                <a:noFill/>
              </a:ln>
              <a:solidFill>
                <a:srgbClr val="FFFFFF">
                  <a:alpha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标题 1"/>
          <p:cNvSpPr>
            <a:spLocks noGrp="1"/>
          </p:cNvSpPr>
          <p:nvPr>
            <p:ph type="title"/>
          </p:nvPr>
        </p:nvSpPr>
        <p:spPr>
          <a:xfrm>
            <a:off x="2861757" y="3021741"/>
            <a:ext cx="6468486" cy="814518"/>
          </a:xfrm>
          <a:prstGeom prst="rect">
            <a:avLst/>
          </a:prstGeom>
        </p:spPr>
        <p:txBody>
          <a:bodyPr wrap="square" anchor="ctr" anchorCtr="1">
            <a:spAutoFit/>
          </a:bodyPr>
          <a:lstStyle>
            <a:lvl1pPr algn="ctr">
              <a:defRPr lang="zh-CN" altLang="en-US" sz="4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lvl="0" algn="ctr">
              <a:lnSpc>
                <a:spcPct val="130000"/>
              </a:lnSpc>
              <a:spcBef>
                <a:spcPts val="600"/>
              </a:spcBef>
              <a:buClr>
                <a:srgbClr val="FFFFFF"/>
              </a:buClr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bg>
      <p:bgPr>
        <a:gradFill>
          <a:gsLst>
            <a:gs pos="0">
              <a:srgbClr val="0070C0"/>
            </a:gs>
            <a:gs pos="100000">
              <a:srgbClr val="5AADCE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占位符 19"/>
          <p:cNvSpPr>
            <a:spLocks noGrp="1"/>
          </p:cNvSpPr>
          <p:nvPr>
            <p:ph type="body" sz="quarter" idx="10" hasCustomPrompt="1"/>
          </p:nvPr>
        </p:nvSpPr>
        <p:spPr>
          <a:xfrm>
            <a:off x="2958306" y="1609468"/>
            <a:ext cx="6275388" cy="3260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0" b="1" i="0">
                <a:solidFill>
                  <a:schemeClr val="bg1">
                    <a:alpha val="10000"/>
                  </a:schemeClr>
                </a:solidFill>
                <a:latin typeface="Avenir Black" panose="02000503020000020003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grpSp>
        <p:nvGrpSpPr>
          <p:cNvPr id="9" name="组合 8"/>
          <p:cNvGrpSpPr/>
          <p:nvPr userDrawn="1"/>
        </p:nvGrpSpPr>
        <p:grpSpPr>
          <a:xfrm>
            <a:off x="-828752" y="-3490338"/>
            <a:ext cx="14020429" cy="13891599"/>
            <a:chOff x="-828752" y="-3490338"/>
            <a:chExt cx="14020429" cy="13891599"/>
          </a:xfrm>
        </p:grpSpPr>
        <p:sp>
          <p:nvSpPr>
            <p:cNvPr id="10" name="月亮 9"/>
            <p:cNvSpPr/>
            <p:nvPr/>
          </p:nvSpPr>
          <p:spPr>
            <a:xfrm rot="18900000" flipV="1">
              <a:off x="-828752" y="-147480"/>
              <a:ext cx="5274371" cy="10548741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" name="月亮 11"/>
            <p:cNvSpPr/>
            <p:nvPr/>
          </p:nvSpPr>
          <p:spPr>
            <a:xfrm rot="8167361" flipV="1">
              <a:off x="7917306" y="-3490338"/>
              <a:ext cx="5274371" cy="10548741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cxnSp>
        <p:nvCxnSpPr>
          <p:cNvPr id="15" name="直线连接符 14"/>
          <p:cNvCxnSpPr/>
          <p:nvPr userDrawn="1"/>
        </p:nvCxnSpPr>
        <p:spPr>
          <a:xfrm flipH="1">
            <a:off x="656440" y="5904129"/>
            <a:ext cx="10879121" cy="0"/>
          </a:xfrm>
          <a:prstGeom prst="line">
            <a:avLst/>
          </a:prstGeom>
          <a:ln w="12700">
            <a:solidFill>
              <a:schemeClr val="bg1">
                <a:alpha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 userDrawn="1"/>
        </p:nvSpPr>
        <p:spPr>
          <a:xfrm>
            <a:off x="656440" y="6130178"/>
            <a:ext cx="132408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NTENGINE</a:t>
            </a:r>
            <a:endParaRPr kumimoji="0" lang="zh-CN" altLang="en-US" sz="1400" b="0" i="0" u="none" strike="noStrike" kern="1200" cap="none" spc="300" normalizeH="0" baseline="0" noProof="0" dirty="0">
              <a:ln>
                <a:noFill/>
              </a:ln>
              <a:solidFill>
                <a:srgbClr val="FFFFFF">
                  <a:alpha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标题 1"/>
          <p:cNvSpPr>
            <a:spLocks noGrp="1"/>
          </p:cNvSpPr>
          <p:nvPr>
            <p:ph type="title"/>
          </p:nvPr>
        </p:nvSpPr>
        <p:spPr>
          <a:xfrm>
            <a:off x="2861757" y="3021741"/>
            <a:ext cx="6468486" cy="814518"/>
          </a:xfrm>
          <a:prstGeom prst="rect">
            <a:avLst/>
          </a:prstGeom>
        </p:spPr>
        <p:txBody>
          <a:bodyPr wrap="square" anchor="ctr" anchorCtr="1">
            <a:spAutoFit/>
          </a:bodyPr>
          <a:lstStyle>
            <a:lvl1pPr algn="ctr">
              <a:defRPr lang="zh-CN" altLang="en-US" sz="4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lvl="0" algn="ctr">
              <a:lnSpc>
                <a:spcPct val="130000"/>
              </a:lnSpc>
              <a:spcBef>
                <a:spcPts val="600"/>
              </a:spcBef>
              <a:buClr>
                <a:srgbClr val="FFFFFF"/>
              </a:buClr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1" name="Rectangle 6"/>
          <p:cNvSpPr/>
          <p:nvPr userDrawn="1"/>
        </p:nvSpPr>
        <p:spPr>
          <a:xfrm>
            <a:off x="8864069" y="6130178"/>
            <a:ext cx="267149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让</a:t>
            </a:r>
            <a:r>
              <a:rPr kumimoji="0" lang="en-US" altLang="zh-CN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I</a:t>
            </a:r>
            <a:r>
              <a:rPr kumimoji="0" lang="zh-CN" altLang="en-US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在物联网世界触手可及</a:t>
            </a:r>
            <a:endParaRPr kumimoji="0" lang="zh-CN" altLang="en-US" sz="1400" b="0" i="0" u="none" strike="noStrike" kern="1200" cap="none" spc="300" normalizeH="0" baseline="0" noProof="0" dirty="0">
              <a:ln>
                <a:noFill/>
              </a:ln>
              <a:solidFill>
                <a:srgbClr val="FFFFFF">
                  <a:alpha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bg>
      <p:bgPr>
        <a:gradFill>
          <a:gsLst>
            <a:gs pos="0">
              <a:srgbClr val="0070C0"/>
            </a:gs>
            <a:gs pos="100000">
              <a:srgbClr val="5AADCE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占位符 19"/>
          <p:cNvSpPr>
            <a:spLocks noGrp="1"/>
          </p:cNvSpPr>
          <p:nvPr>
            <p:ph type="body" sz="quarter" idx="10" hasCustomPrompt="1"/>
          </p:nvPr>
        </p:nvSpPr>
        <p:spPr>
          <a:xfrm>
            <a:off x="2958306" y="1609468"/>
            <a:ext cx="6275388" cy="32607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0" b="1" i="0">
                <a:solidFill>
                  <a:schemeClr val="bg1">
                    <a:alpha val="10000"/>
                  </a:schemeClr>
                </a:solidFill>
                <a:latin typeface="Avenir Black" panose="02000503020000020003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grpSp>
        <p:nvGrpSpPr>
          <p:cNvPr id="9" name="组合 8"/>
          <p:cNvGrpSpPr/>
          <p:nvPr userDrawn="1"/>
        </p:nvGrpSpPr>
        <p:grpSpPr>
          <a:xfrm>
            <a:off x="-828752" y="-3490338"/>
            <a:ext cx="14020429" cy="13891599"/>
            <a:chOff x="-828752" y="-3490338"/>
            <a:chExt cx="14020429" cy="13891599"/>
          </a:xfrm>
        </p:grpSpPr>
        <p:sp>
          <p:nvSpPr>
            <p:cNvPr id="10" name="月亮 9"/>
            <p:cNvSpPr/>
            <p:nvPr/>
          </p:nvSpPr>
          <p:spPr>
            <a:xfrm rot="18900000" flipV="1">
              <a:off x="-828752" y="-147480"/>
              <a:ext cx="5274371" cy="10548741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" name="月亮 11"/>
            <p:cNvSpPr/>
            <p:nvPr/>
          </p:nvSpPr>
          <p:spPr>
            <a:xfrm rot="8167361" flipV="1">
              <a:off x="7917306" y="-3490338"/>
              <a:ext cx="5274371" cy="10548741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cxnSp>
        <p:nvCxnSpPr>
          <p:cNvPr id="15" name="直线连接符 14"/>
          <p:cNvCxnSpPr/>
          <p:nvPr userDrawn="1"/>
        </p:nvCxnSpPr>
        <p:spPr>
          <a:xfrm flipH="1">
            <a:off x="656440" y="5904129"/>
            <a:ext cx="10879121" cy="0"/>
          </a:xfrm>
          <a:prstGeom prst="line">
            <a:avLst/>
          </a:prstGeom>
          <a:ln w="12700">
            <a:solidFill>
              <a:schemeClr val="bg1">
                <a:alpha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 userDrawn="1"/>
        </p:nvSpPr>
        <p:spPr>
          <a:xfrm>
            <a:off x="656440" y="6130178"/>
            <a:ext cx="132408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NTENGINE</a:t>
            </a:r>
            <a:endParaRPr kumimoji="0" lang="zh-CN" altLang="en-US" sz="1400" b="0" i="0" u="none" strike="noStrike" kern="1200" cap="none" spc="300" normalizeH="0" baseline="0" noProof="0" dirty="0">
              <a:ln>
                <a:noFill/>
              </a:ln>
              <a:solidFill>
                <a:srgbClr val="FFFFFF">
                  <a:alpha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" name="Rectangle 6"/>
          <p:cNvSpPr/>
          <p:nvPr userDrawn="1"/>
        </p:nvSpPr>
        <p:spPr>
          <a:xfrm>
            <a:off x="9573421" y="6130178"/>
            <a:ext cx="1962140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300" normalizeH="0" baseline="0" noProof="0" dirty="0">
                <a:ln>
                  <a:noFill/>
                </a:ln>
                <a:solidFill>
                  <a:srgbClr val="FFFFFF">
                    <a:alpha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探境科技商业计划书</a:t>
            </a:r>
            <a:endParaRPr kumimoji="0" lang="zh-CN" altLang="en-US" sz="1400" b="0" i="0" u="none" strike="noStrike" kern="1200" cap="none" spc="300" normalizeH="0" baseline="0" noProof="0" dirty="0">
              <a:ln>
                <a:noFill/>
              </a:ln>
              <a:solidFill>
                <a:srgbClr val="FFFFFF">
                  <a:alpha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300" normalizeH="0" baseline="0" noProof="0" dirty="0">
              <a:ln>
                <a:noFill/>
              </a:ln>
              <a:solidFill>
                <a:srgbClr val="FFFFFF">
                  <a:alpha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标题 1"/>
          <p:cNvSpPr>
            <a:spLocks noGrp="1"/>
          </p:cNvSpPr>
          <p:nvPr>
            <p:ph type="title"/>
          </p:nvPr>
        </p:nvSpPr>
        <p:spPr>
          <a:xfrm>
            <a:off x="2861757" y="3021741"/>
            <a:ext cx="6468486" cy="814518"/>
          </a:xfrm>
          <a:prstGeom prst="rect">
            <a:avLst/>
          </a:prstGeom>
        </p:spPr>
        <p:txBody>
          <a:bodyPr wrap="square" anchor="ctr" anchorCtr="1">
            <a:spAutoFit/>
          </a:bodyPr>
          <a:lstStyle>
            <a:lvl1pPr algn="ctr">
              <a:defRPr lang="zh-CN" altLang="en-US" sz="4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lvl="0" algn="ctr">
              <a:lnSpc>
                <a:spcPct val="130000"/>
              </a:lnSpc>
              <a:spcBef>
                <a:spcPts val="600"/>
              </a:spcBef>
              <a:buClr>
                <a:srgbClr val="FFFFFF"/>
              </a:buClr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5.bin"/><Relationship Id="rId1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tags" Target="../tags/tag6.xml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audio" Target="../media/audio4.wav"/><Relationship Id="rId8" Type="http://schemas.microsoft.com/office/2007/relationships/media" Target="../media/audio3.wav"/><Relationship Id="rId7" Type="http://schemas.openxmlformats.org/officeDocument/2006/relationships/audio" Target="../media/audio3.wav"/><Relationship Id="rId6" Type="http://schemas.microsoft.com/office/2007/relationships/media" Target="../media/audio2.wav"/><Relationship Id="rId5" Type="http://schemas.openxmlformats.org/officeDocument/2006/relationships/audio" Target="../media/audio2.wav"/><Relationship Id="rId4" Type="http://schemas.openxmlformats.org/officeDocument/2006/relationships/image" Target="../media/image14.png"/><Relationship Id="rId3" Type="http://schemas.microsoft.com/office/2007/relationships/media" Target="../media/audio1.wav"/><Relationship Id="rId2" Type="http://schemas.openxmlformats.org/officeDocument/2006/relationships/audio" Target="../media/audio1.wav"/><Relationship Id="rId11" Type="http://schemas.openxmlformats.org/officeDocument/2006/relationships/slideLayout" Target="../slideLayouts/slideLayout2.xml"/><Relationship Id="rId10" Type="http://schemas.microsoft.com/office/2007/relationships/media" Target="../media/audio4.wav"/><Relationship Id="rId1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4.png"/><Relationship Id="rId1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4.bin"/><Relationship Id="rId1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AADCE">
                <a:alpha val="20000"/>
              </a:srgbClr>
            </a:gs>
            <a:gs pos="100000">
              <a:srgbClr val="5AADCE">
                <a:alpha val="0"/>
              </a:srgb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月亮 13"/>
          <p:cNvSpPr/>
          <p:nvPr/>
        </p:nvSpPr>
        <p:spPr>
          <a:xfrm rot="3696427" flipH="1">
            <a:off x="3692992" y="2522989"/>
            <a:ext cx="5274371" cy="10548741"/>
          </a:xfrm>
          <a:prstGeom prst="moon">
            <a:avLst>
              <a:gd name="adj" fmla="val 46229"/>
            </a:avLst>
          </a:prstGeom>
          <a:gradFill flip="none" rotWithShape="1">
            <a:gsLst>
              <a:gs pos="0">
                <a:srgbClr val="5AADCE">
                  <a:alpha val="20000"/>
                </a:srgbClr>
              </a:gs>
              <a:gs pos="100000">
                <a:srgbClr val="5AADCE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1870512" y="2683940"/>
            <a:ext cx="5664151" cy="8867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方正正粗黑简体" panose="02000000000000000000" charset="-122"/>
                <a:sym typeface="+mn-ea"/>
              </a:rPr>
              <a:t>探境科技</a:t>
            </a:r>
            <a:r>
              <a:rPr lang="zh-CN" altLang="en-US" sz="4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方正正粗黑简体" panose="02000000000000000000" charset="-122"/>
                <a:sym typeface="+mn-ea"/>
              </a:rPr>
              <a:t>产品手册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方正正粗黑简体" panose="02000000000000000000" charset="-122"/>
              <a:sym typeface="+mn-ea"/>
            </a:endParaRPr>
          </a:p>
        </p:txBody>
      </p:sp>
      <p:sp>
        <p:nvSpPr>
          <p:cNvPr id="10" name="TextBox 62"/>
          <p:cNvSpPr txBox="1"/>
          <p:nvPr/>
        </p:nvSpPr>
        <p:spPr>
          <a:xfrm>
            <a:off x="2001421" y="3570721"/>
            <a:ext cx="2145467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000" dirty="0">
                <a:solidFill>
                  <a:srgbClr val="A5A9C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华康俪金黑W8" panose="020B0809000000000000" charset="-122"/>
                <a:sym typeface="+mn-ea"/>
              </a:rPr>
              <a:t>科技推动生活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A5A9C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华康俪金黑W8" panose="020B0809000000000000" charset="-122"/>
              <a:sym typeface="+mn-ea"/>
            </a:endParaRPr>
          </a:p>
        </p:txBody>
      </p:sp>
      <p:cxnSp>
        <p:nvCxnSpPr>
          <p:cNvPr id="11" name="直线连接符 10"/>
          <p:cNvCxnSpPr/>
          <p:nvPr/>
        </p:nvCxnSpPr>
        <p:spPr>
          <a:xfrm>
            <a:off x="1936659" y="4924347"/>
            <a:ext cx="4013980" cy="0"/>
          </a:xfrm>
          <a:prstGeom prst="line">
            <a:avLst/>
          </a:prstGeom>
          <a:ln w="222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矩形 166"/>
          <p:cNvSpPr/>
          <p:nvPr/>
        </p:nvSpPr>
        <p:spPr>
          <a:xfrm>
            <a:off x="1936659" y="1859261"/>
            <a:ext cx="7140096" cy="19020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defRPr/>
            </a:pPr>
            <a:r>
              <a:rPr kumimoji="0" lang="en-US" altLang="zh-CN" sz="9600" b="1" i="0" u="none" strike="noStrike" kern="1200" cap="none" spc="0" normalizeH="0" baseline="0" noProof="0" dirty="0">
                <a:ln>
                  <a:noFill/>
                </a:ln>
                <a:solidFill>
                  <a:srgbClr val="5AADCE">
                    <a:alpha val="8000"/>
                  </a:srgbClr>
                </a:solidFill>
                <a:effectLst/>
                <a:uLnTx/>
                <a:uFillTx/>
                <a:latin typeface="Avenir Black" panose="02000503020000020003" pitchFamily="2" charset="0"/>
                <a:ea typeface="Source Han Sans SC Heavy" panose="020B0500000000000000" pitchFamily="34" charset="-128"/>
                <a:cs typeface="+mn-cs"/>
              </a:rPr>
              <a:t>INTENGINE</a:t>
            </a:r>
            <a:endParaRPr kumimoji="0" lang="zh-CN" altLang="en-US" sz="9600" b="1" i="0" u="none" strike="noStrike" kern="1200" cap="none" spc="0" normalizeH="0" baseline="0" noProof="0" dirty="0">
              <a:ln>
                <a:noFill/>
              </a:ln>
              <a:solidFill>
                <a:srgbClr val="5AADCE">
                  <a:alpha val="8000"/>
                </a:srgbClr>
              </a:solidFill>
              <a:effectLst/>
              <a:uLnTx/>
              <a:uFillTx/>
              <a:latin typeface="Avenir Black" panose="02000503020000020003" pitchFamily="2" charset="0"/>
              <a:ea typeface="Source Han Sans SC Heavy" panose="020B0500000000000000" pitchFamily="34" charset="-128"/>
              <a:cs typeface="+mn-cs"/>
            </a:endParaRPr>
          </a:p>
        </p:txBody>
      </p:sp>
      <p:sp>
        <p:nvSpPr>
          <p:cNvPr id="13" name="月亮 12"/>
          <p:cNvSpPr/>
          <p:nvPr/>
        </p:nvSpPr>
        <p:spPr>
          <a:xfrm rot="401293" flipH="1">
            <a:off x="8144599" y="1582255"/>
            <a:ext cx="4643717" cy="9287434"/>
          </a:xfrm>
          <a:prstGeom prst="moon">
            <a:avLst>
              <a:gd name="adj" fmla="val 46229"/>
            </a:avLst>
          </a:prstGeom>
          <a:gradFill flip="none" rotWithShape="1">
            <a:gsLst>
              <a:gs pos="0">
                <a:srgbClr val="5AADCE">
                  <a:alpha val="20000"/>
                </a:srgbClr>
              </a:gs>
              <a:gs pos="100000">
                <a:srgbClr val="5AADCE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月亮 14"/>
          <p:cNvSpPr/>
          <p:nvPr/>
        </p:nvSpPr>
        <p:spPr>
          <a:xfrm rot="6919506" flipH="1">
            <a:off x="380225" y="-110282"/>
            <a:ext cx="5274371" cy="10548741"/>
          </a:xfrm>
          <a:prstGeom prst="moon">
            <a:avLst>
              <a:gd name="adj" fmla="val 46229"/>
            </a:avLst>
          </a:prstGeom>
          <a:gradFill flip="none" rotWithShape="1">
            <a:gsLst>
              <a:gs pos="0">
                <a:srgbClr val="5AADCE">
                  <a:alpha val="20000"/>
                </a:srgbClr>
              </a:gs>
              <a:gs pos="100000">
                <a:srgbClr val="5AADCE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" name="月亮 15"/>
          <p:cNvSpPr/>
          <p:nvPr/>
        </p:nvSpPr>
        <p:spPr>
          <a:xfrm rot="18437534" flipH="1">
            <a:off x="9005723" y="-2321858"/>
            <a:ext cx="4643717" cy="9287434"/>
          </a:xfrm>
          <a:prstGeom prst="moon">
            <a:avLst>
              <a:gd name="adj" fmla="val 46229"/>
            </a:avLst>
          </a:prstGeom>
          <a:gradFill flip="none" rotWithShape="1">
            <a:gsLst>
              <a:gs pos="0">
                <a:srgbClr val="5AADCE">
                  <a:alpha val="20000"/>
                </a:srgbClr>
              </a:gs>
              <a:gs pos="100000">
                <a:srgbClr val="5AADCE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 rotWithShape="1">
          <a:blip r:embed="rId1" cstate="print"/>
          <a:srcRect t="-1" b="-1182"/>
          <a:stretch>
            <a:fillRect/>
          </a:stretch>
        </p:blipFill>
        <p:spPr bwMode="auto">
          <a:xfrm>
            <a:off x="1936659" y="618210"/>
            <a:ext cx="694120" cy="1064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0" y="389656"/>
            <a:ext cx="12191999" cy="519064"/>
          </a:xfrm>
          <a:prstGeom prst="rect">
            <a:avLst/>
          </a:prstGeom>
        </p:spPr>
        <p:txBody>
          <a:bodyPr/>
          <a:lstStyle/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音旋风二代芯片（</a:t>
            </a:r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VOI721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系统框图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6" name="直线连接符 5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对象 -2147482624"/>
          <p:cNvGraphicFramePr/>
          <p:nvPr/>
        </p:nvGraphicFramePr>
        <p:xfrm>
          <a:off x="1703705" y="1052830"/>
          <a:ext cx="8970645" cy="51892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" name="" r:id="rId2" imgW="6685915" imgH="3628390" progId="Visio.Drawing.15">
                  <p:embed/>
                </p:oleObj>
              </mc:Choice>
              <mc:Fallback>
                <p:oleObj name="" r:id="rId2" imgW="6685915" imgH="3628390" progId="Visio.Drawing.15">
                  <p:embed/>
                  <p:pic>
                    <p:nvPicPr>
                      <p:cNvPr id="0" name="图片 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703705" y="1052830"/>
                        <a:ext cx="8970645" cy="518922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0" y="389656"/>
            <a:ext cx="12192000" cy="519064"/>
          </a:xfrm>
          <a:prstGeom prst="rect">
            <a:avLst/>
          </a:prstGeom>
        </p:spPr>
        <p:txBody>
          <a:bodyPr/>
          <a:lstStyle/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音旋风二代轻量版</a:t>
            </a:r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VOI311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品介绍</a:t>
            </a:r>
            <a:endParaRPr kumimoji="1"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95474" y="5048210"/>
            <a:ext cx="31683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/>
              <a:t>支持语音检测，语音识别</a:t>
            </a:r>
            <a:endParaRPr lang="zh-CN" altLang="en-US" dirty="0"/>
          </a:p>
          <a:p>
            <a:pPr algn="ctr"/>
            <a:r>
              <a:rPr lang="zh-CN" altLang="en-US" dirty="0"/>
              <a:t>单麦语音处理</a:t>
            </a:r>
            <a:endParaRPr lang="en-US" altLang="zh-CN" dirty="0"/>
          </a:p>
        </p:txBody>
      </p:sp>
      <p:grpSp>
        <p:nvGrpSpPr>
          <p:cNvPr id="4" name="组合 3"/>
          <p:cNvGrpSpPr/>
          <p:nvPr/>
        </p:nvGrpSpPr>
        <p:grpSpPr>
          <a:xfrm>
            <a:off x="1199456" y="2132856"/>
            <a:ext cx="2347445" cy="2371874"/>
            <a:chOff x="724219" y="1772816"/>
            <a:chExt cx="3220303" cy="3253816"/>
          </a:xfrm>
        </p:grpSpPr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219" y="1772816"/>
              <a:ext cx="2845283" cy="2845283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31674">
              <a:off x="1099239" y="2181349"/>
              <a:ext cx="2845283" cy="2845283"/>
            </a:xfrm>
            <a:prstGeom prst="rect">
              <a:avLst/>
            </a:prstGeom>
          </p:spPr>
        </p:pic>
      </p:grpSp>
      <p:graphicFrame>
        <p:nvGraphicFramePr>
          <p:cNvPr id="12" name="表格 11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439920" y="1124585"/>
          <a:ext cx="6833870" cy="55772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5350"/>
                <a:gridCol w="4668520"/>
              </a:tblGrid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MCU</a:t>
                      </a:r>
                      <a:endParaRPr lang="da-DK" sz="14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400" u="none" strike="noStrike" dirty="0">
                          <a:effectLst/>
                        </a:rPr>
                        <a:t>32bit RISC-V</a:t>
                      </a:r>
                      <a:r>
                        <a:rPr lang="zh-CN" altLang="en-US" sz="1400" u="none" strike="noStrike" dirty="0">
                          <a:effectLst/>
                        </a:rPr>
                        <a:t>，</a:t>
                      </a:r>
                      <a:r>
                        <a:rPr lang="da-DK" sz="1400" u="none" strike="noStrike" dirty="0">
                          <a:effectLst/>
                        </a:rPr>
                        <a:t>1</a:t>
                      </a:r>
                      <a:r>
                        <a:rPr lang="en-US" altLang="zh-CN" sz="1400" u="none" strike="noStrike" dirty="0">
                          <a:effectLst/>
                        </a:rPr>
                        <a:t>31</a:t>
                      </a:r>
                      <a:r>
                        <a:rPr lang="da-DK" sz="1400" u="none" strike="noStrike" dirty="0">
                          <a:effectLst/>
                        </a:rPr>
                        <a:t>MHz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NPU</a:t>
                      </a:r>
                      <a:endParaRPr lang="da-DK" sz="14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探境</a:t>
                      </a:r>
                      <a:r>
                        <a:rPr lang="da-DK" sz="1400" u="none" strike="noStrike" dirty="0">
                          <a:effectLst/>
                        </a:rPr>
                        <a:t>SFA</a:t>
                      </a:r>
                      <a:r>
                        <a:rPr lang="zh-CN" altLang="en-US" sz="1400" u="none" strike="noStrike" dirty="0">
                          <a:effectLst/>
                        </a:rPr>
                        <a:t>架构</a:t>
                      </a:r>
                      <a:r>
                        <a:rPr lang="da-DK" sz="1400" u="none" strike="noStrike" dirty="0">
                          <a:effectLst/>
                        </a:rPr>
                        <a:t>NPU</a:t>
                      </a:r>
                      <a:r>
                        <a:rPr lang="zh-CN" altLang="en-US" sz="1400" u="none" strike="noStrike" dirty="0">
                          <a:effectLst/>
                        </a:rPr>
                        <a:t>，</a:t>
                      </a:r>
                      <a:r>
                        <a:rPr lang="da-DK" sz="1400" u="none" strike="noStrike" dirty="0">
                          <a:effectLst/>
                        </a:rPr>
                        <a:t>1</a:t>
                      </a:r>
                      <a:r>
                        <a:rPr lang="en-US" altLang="zh-CN" sz="1400" u="none" strike="noStrike" dirty="0">
                          <a:effectLst/>
                        </a:rPr>
                        <a:t>31</a:t>
                      </a:r>
                      <a:r>
                        <a:rPr lang="da-DK" sz="1400" u="none" strike="noStrike" dirty="0">
                          <a:effectLst/>
                        </a:rPr>
                        <a:t>MHz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>
                          <a:effectLst/>
                        </a:rPr>
                        <a:t>硬件加速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支持</a:t>
                      </a:r>
                      <a:r>
                        <a:rPr lang="da-DK" sz="1400" u="none" strike="noStrike" dirty="0">
                          <a:effectLst/>
                        </a:rPr>
                        <a:t>FFT/MFCC</a:t>
                      </a:r>
                      <a:r>
                        <a:rPr lang="zh-CN" altLang="en-US" sz="1400" u="none" strike="noStrike" dirty="0">
                          <a:effectLst/>
                        </a:rPr>
                        <a:t>硬件加速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SRAM</a:t>
                      </a:r>
                      <a:endParaRPr lang="da-DK" sz="14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400" u="none" strike="noStrike" dirty="0">
                          <a:effectLst/>
                        </a:rPr>
                        <a:t>256KB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 dirty="0">
                          <a:effectLst/>
                        </a:rPr>
                        <a:t>F</a:t>
                      </a:r>
                      <a:r>
                        <a:rPr lang="en-US" altLang="zh-CN" sz="1400" b="1" u="none" strike="noStrike" dirty="0">
                          <a:effectLst/>
                        </a:rPr>
                        <a:t>lash</a:t>
                      </a:r>
                      <a:endParaRPr lang="da-DK" sz="1400" b="1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400" u="none" strike="noStrike">
                          <a:effectLst/>
                        </a:rPr>
                        <a:t>2MB</a:t>
                      </a:r>
                      <a:r>
                        <a:rPr lang="zh-CN" altLang="en-US" sz="1400" u="none" strike="noStrike">
                          <a:effectLst/>
                        </a:rPr>
                        <a:t>内置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I2S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入</a:t>
                      </a:r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出，支持</a:t>
                      </a:r>
                      <a:r>
                        <a:rPr lang="en-US" altLang="zh-CN" sz="1400" u="none" strike="noStrike">
                          <a:effectLst/>
                        </a:rPr>
                        <a:t>8</a:t>
                      </a:r>
                      <a:r>
                        <a:rPr lang="da-DK" sz="1400" u="none" strike="noStrike">
                          <a:effectLst/>
                        </a:rPr>
                        <a:t>K，16K，32K，48K，96K</a:t>
                      </a:r>
                      <a:r>
                        <a:rPr lang="zh-CN" altLang="en-US" sz="1400" u="none" strike="noStrike">
                          <a:effectLst/>
                        </a:rPr>
                        <a:t>音频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PDM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入</a:t>
                      </a:r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出，支持</a:t>
                      </a:r>
                      <a:r>
                        <a:rPr lang="en-US" altLang="zh-CN" sz="1400" u="none" strike="noStrike">
                          <a:effectLst/>
                        </a:rPr>
                        <a:t>16</a:t>
                      </a:r>
                      <a:r>
                        <a:rPr lang="da-DK" sz="1400" u="none" strike="noStrike">
                          <a:effectLst/>
                        </a:rPr>
                        <a:t>K</a:t>
                      </a:r>
                      <a:r>
                        <a:rPr lang="zh-CN" altLang="en-US" sz="1400" u="none" strike="noStrike">
                          <a:effectLst/>
                        </a:rPr>
                        <a:t>音频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MIC ADC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入，支持</a:t>
                      </a:r>
                      <a:r>
                        <a:rPr lang="en-US" altLang="zh-CN" sz="1400" u="none" strike="noStrike">
                          <a:effectLst/>
                        </a:rPr>
                        <a:t>8</a:t>
                      </a:r>
                      <a:r>
                        <a:rPr lang="da-DK" sz="1400" u="none" strike="noStrike">
                          <a:effectLst/>
                        </a:rPr>
                        <a:t>K，16K，32K</a:t>
                      </a:r>
                      <a:r>
                        <a:rPr lang="zh-CN" altLang="en-US" sz="1400" u="none" strike="noStrike">
                          <a:effectLst/>
                        </a:rPr>
                        <a:t>音频输入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SPI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个，</a:t>
                      </a:r>
                      <a:r>
                        <a:rPr lang="da-DK" sz="1400">
                          <a:effectLst/>
                          <a:sym typeface="+mn-ea"/>
                        </a:rPr>
                        <a:t>SPI0</a:t>
                      </a:r>
                      <a:r>
                        <a:rPr lang="zh-CN" altLang="en-US" sz="1400">
                          <a:effectLst/>
                          <a:sym typeface="+mn-ea"/>
                        </a:rPr>
                        <a:t>支持</a:t>
                      </a:r>
                      <a:r>
                        <a:rPr lang="da-DK" sz="1400">
                          <a:effectLst/>
                          <a:sym typeface="+mn-ea"/>
                        </a:rPr>
                        <a:t>Master/Slave</a:t>
                      </a:r>
                      <a:r>
                        <a:rPr lang="zh-CN" altLang="en-US" sz="1400">
                          <a:effectLst/>
                          <a:sym typeface="+mn-ea"/>
                        </a:rPr>
                        <a:t>模式，</a:t>
                      </a:r>
                      <a:r>
                        <a:rPr lang="da-DK" sz="1400">
                          <a:effectLst/>
                          <a:sym typeface="+mn-ea"/>
                        </a:rPr>
                        <a:t>SPI1</a:t>
                      </a:r>
                      <a:r>
                        <a:rPr lang="zh-CN" altLang="en-US" sz="1400">
                          <a:effectLst/>
                          <a:sym typeface="+mn-ea"/>
                        </a:rPr>
                        <a:t>只支持</a:t>
                      </a:r>
                      <a:r>
                        <a:rPr lang="da-DK" sz="1400">
                          <a:effectLst/>
                          <a:sym typeface="+mn-ea"/>
                        </a:rPr>
                        <a:t>Master</a:t>
                      </a:r>
                      <a:r>
                        <a:rPr lang="zh-CN" altLang="en-US" sz="1400">
                          <a:effectLst/>
                          <a:sym typeface="+mn-ea"/>
                        </a:rPr>
                        <a:t>模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161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I2C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个，支持</a:t>
                      </a:r>
                      <a:r>
                        <a:rPr lang="da-DK" sz="1400" u="none" strike="noStrike">
                          <a:effectLst/>
                        </a:rPr>
                        <a:t>Master/Slave</a:t>
                      </a:r>
                      <a:r>
                        <a:rPr lang="zh-CN" altLang="en-US" sz="1400" u="none" strike="noStrike">
                          <a:effectLst/>
                        </a:rPr>
                        <a:t>模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UART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个，最高波特率</a:t>
                      </a:r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da-DK" sz="1400" u="none" strike="noStrike">
                          <a:effectLst/>
                        </a:rPr>
                        <a:t>Mbps</a:t>
                      </a:r>
                      <a:endParaRPr lang="da-DK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PWM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4</a:t>
                      </a:r>
                      <a:r>
                        <a:rPr lang="zh-CN" altLang="en-US" sz="1400" u="none" strike="noStrike">
                          <a:effectLst/>
                        </a:rPr>
                        <a:t>个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GPIO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4</a:t>
                      </a:r>
                      <a:r>
                        <a:rPr lang="zh-CN" altLang="en-US" sz="1400" u="none" strike="noStrike">
                          <a:effectLst/>
                        </a:rPr>
                        <a:t>个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8445">
                <a:tc>
                  <a:txBody>
                    <a:bodyPr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SAR</a:t>
                      </a:r>
                      <a:r>
                        <a:rPr lang="en-US" altLang="da-DK" sz="1400" b="1" u="none" strike="noStrike">
                          <a:effectLst/>
                        </a:rPr>
                        <a:t> </a:t>
                      </a:r>
                      <a:r>
                        <a:rPr lang="da-DK" sz="1400" b="1" u="none" strike="noStrike">
                          <a:effectLst/>
                        </a:rPr>
                        <a:t>ADC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4</a:t>
                      </a:r>
                      <a:r>
                        <a:rPr lang="zh-CN" altLang="en-US" sz="1400" u="none" strike="noStrike">
                          <a:effectLst/>
                        </a:rPr>
                        <a:t>路单端模拟量输入或</a:t>
                      </a:r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路差分模拟量输入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TOUCH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 dirty="0">
                          <a:effectLst/>
                        </a:rPr>
                        <a:t>8</a:t>
                      </a:r>
                      <a:r>
                        <a:rPr lang="zh-CN" altLang="en-US" sz="1400" u="none" strike="noStrike" dirty="0">
                          <a:effectLst/>
                        </a:rPr>
                        <a:t>个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JTAG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支持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Watch Dog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 dirty="0">
                          <a:effectLst/>
                        </a:rPr>
                        <a:t>1</a:t>
                      </a:r>
                      <a:r>
                        <a:rPr lang="zh-CN" altLang="en-US" sz="1400" u="none" strike="noStrike" dirty="0">
                          <a:effectLst/>
                        </a:rPr>
                        <a:t>个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EFUSE</a:t>
                      </a:r>
                      <a:endParaRPr lang="da-DK" sz="14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支持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AES</a:t>
                      </a:r>
                      <a:endParaRPr lang="da-DK" sz="14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支持</a:t>
                      </a:r>
                      <a:r>
                        <a:rPr lang="da-DK" sz="1400" u="none" strike="noStrike">
                          <a:effectLst/>
                        </a:rPr>
                        <a:t>AES 128/192/256</a:t>
                      </a:r>
                      <a:r>
                        <a:rPr lang="zh-CN" altLang="en-US" sz="1400" u="none" strike="noStrike">
                          <a:effectLst/>
                        </a:rPr>
                        <a:t>加解密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LDO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集成带掉电检测功能的</a:t>
                      </a:r>
                      <a:r>
                        <a:rPr lang="da-DK" sz="1400" u="none" strike="noStrike">
                          <a:effectLst/>
                        </a:rPr>
                        <a:t>LDO，</a:t>
                      </a:r>
                      <a:r>
                        <a:rPr lang="zh-CN" altLang="en-US" sz="1400" u="none" strike="noStrike">
                          <a:effectLst/>
                        </a:rPr>
                        <a:t>提供</a:t>
                      </a:r>
                      <a:r>
                        <a:rPr lang="en-US" altLang="zh-CN" sz="1400" u="none" strike="noStrike">
                          <a:effectLst/>
                        </a:rPr>
                        <a:t>1.1</a:t>
                      </a:r>
                      <a:r>
                        <a:rPr lang="da-DK" sz="1400" u="none" strike="noStrike">
                          <a:effectLst/>
                        </a:rPr>
                        <a:t>V/1.8V</a:t>
                      </a:r>
                      <a:r>
                        <a:rPr lang="zh-CN" altLang="en-US" sz="1400" u="none" strike="noStrike">
                          <a:effectLst/>
                        </a:rPr>
                        <a:t>电压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PLL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集成低功耗</a:t>
                      </a:r>
                      <a:r>
                        <a:rPr lang="da-DK" sz="1400" u="none" strike="noStrike" dirty="0">
                          <a:effectLst/>
                        </a:rPr>
                        <a:t>PLL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 dirty="0">
                          <a:effectLst/>
                        </a:rPr>
                        <a:t>OSC</a:t>
                      </a:r>
                      <a:endParaRPr lang="da-DK" sz="14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sz="1400" u="none" strike="noStrike">
                          <a:effectLst/>
                        </a:rPr>
                        <a:t>可选内部集成RC振荡器或外接24.576MHz晶体</a:t>
                      </a:r>
                      <a:endParaRPr sz="1400" u="none" strike="noStrike">
                        <a:effectLst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>
                          <a:effectLst/>
                        </a:rPr>
                        <a:t>封装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400" u="none" strike="noStrike">
                          <a:effectLst/>
                        </a:rPr>
                        <a:t>QFN</a:t>
                      </a:r>
                      <a:r>
                        <a:rPr lang="en-US" altLang="da-DK" sz="1400" u="none" strike="noStrike">
                          <a:effectLst/>
                        </a:rPr>
                        <a:t>48</a:t>
                      </a:r>
                      <a:r>
                        <a:rPr lang="da-DK" sz="1400" u="none" strike="noStrike">
                          <a:effectLst/>
                        </a:rPr>
                        <a:t>-</a:t>
                      </a:r>
                      <a:r>
                        <a:rPr lang="en-US" altLang="da-DK" sz="1400" u="none" strike="noStrike">
                          <a:effectLst/>
                        </a:rPr>
                        <a:t>6</a:t>
                      </a:r>
                      <a:r>
                        <a:rPr lang="da-DK" sz="1400" u="none" strike="noStrike">
                          <a:effectLst/>
                        </a:rPr>
                        <a:t>x</a:t>
                      </a:r>
                      <a:r>
                        <a:rPr lang="en-US" altLang="da-DK" sz="1400" u="none" strike="noStrike">
                          <a:effectLst/>
                        </a:rPr>
                        <a:t>6</a:t>
                      </a:r>
                      <a:endParaRPr lang="en-US" altLang="da-DK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986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dirty="0">
                          <a:effectLst/>
                        </a:rPr>
                        <a:t>待机功耗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6m</a:t>
                      </a:r>
                      <a:r>
                        <a:rPr lang="en-US" altLang="zh-CN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W</a:t>
                      </a:r>
                      <a:endParaRPr lang="da-DK" sz="1400" b="0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986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待机唤醒功耗</a:t>
                      </a:r>
                      <a:endParaRPr lang="zh-CN" altLang="en-US" sz="14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mW</a:t>
                      </a:r>
                      <a:endParaRPr lang="da-DK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9" name="直线连接符 8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标题 1"/>
          <p:cNvSpPr txBox="1"/>
          <p:nvPr/>
        </p:nvSpPr>
        <p:spPr>
          <a:xfrm>
            <a:off x="0" y="389656"/>
            <a:ext cx="12192000" cy="5190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音旋风二代升级版</a:t>
            </a:r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VOI621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品介绍</a:t>
            </a:r>
            <a:endParaRPr kumimoji="1"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820748" y="4821481"/>
            <a:ext cx="3048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/>
              <a:t>支持语音检测，语音识别</a:t>
            </a:r>
            <a:endParaRPr lang="zh-CN" altLang="en-US" dirty="0"/>
          </a:p>
          <a:p>
            <a:pPr algn="ctr"/>
            <a:r>
              <a:rPr lang="zh-CN" altLang="en-US" dirty="0"/>
              <a:t>音源定位、噪声抑制</a:t>
            </a:r>
            <a:endParaRPr lang="zh-CN" altLang="en-US" dirty="0"/>
          </a:p>
          <a:p>
            <a:pPr algn="ctr"/>
            <a:r>
              <a:rPr lang="zh-CN" altLang="en-US" dirty="0"/>
              <a:t>单/双麦语音处理</a:t>
            </a:r>
            <a:endParaRPr lang="zh-CN" altLang="en-US" dirty="0"/>
          </a:p>
        </p:txBody>
      </p:sp>
      <p:graphicFrame>
        <p:nvGraphicFramePr>
          <p:cNvPr id="10" name="表格 9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295656" y="1052728"/>
          <a:ext cx="6687185" cy="5577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94003"/>
                <a:gridCol w="4693285"/>
              </a:tblGrid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 dirty="0">
                          <a:effectLst/>
                        </a:rPr>
                        <a:t>MCU</a:t>
                      </a:r>
                      <a:endParaRPr lang="da-DK" sz="1400" b="1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400" u="none" strike="noStrike" dirty="0">
                          <a:effectLst/>
                        </a:rPr>
                        <a:t>32bit RISC-V</a:t>
                      </a:r>
                      <a:r>
                        <a:rPr lang="zh-CN" altLang="en-US" sz="1400" u="none" strike="noStrike" dirty="0">
                          <a:effectLst/>
                        </a:rPr>
                        <a:t>，</a:t>
                      </a:r>
                      <a:r>
                        <a:rPr lang="da-DK" sz="1400" u="none" strike="noStrike" dirty="0">
                          <a:effectLst/>
                        </a:rPr>
                        <a:t>1</a:t>
                      </a:r>
                      <a:r>
                        <a:rPr lang="en-US" altLang="da-DK" sz="1400" u="none" strike="noStrike" dirty="0">
                          <a:effectLst/>
                        </a:rPr>
                        <a:t>31</a:t>
                      </a:r>
                      <a:r>
                        <a:rPr lang="da-DK" sz="1400" u="none" strike="noStrike" dirty="0">
                          <a:effectLst/>
                        </a:rPr>
                        <a:t>MHz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NPU</a:t>
                      </a:r>
                      <a:endParaRPr lang="da-DK" sz="14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探境</a:t>
                      </a:r>
                      <a:r>
                        <a:rPr lang="da-DK" sz="1400" u="none" strike="noStrike" dirty="0">
                          <a:effectLst/>
                        </a:rPr>
                        <a:t>SFA</a:t>
                      </a:r>
                      <a:r>
                        <a:rPr lang="zh-CN" altLang="en-US" sz="1400" u="none" strike="noStrike" dirty="0">
                          <a:effectLst/>
                        </a:rPr>
                        <a:t>架构</a:t>
                      </a:r>
                      <a:r>
                        <a:rPr lang="da-DK" sz="1400" u="none" strike="noStrike" dirty="0">
                          <a:effectLst/>
                        </a:rPr>
                        <a:t>NPU，1</a:t>
                      </a:r>
                      <a:r>
                        <a:rPr lang="en-US" altLang="da-DK" sz="1400" u="none" strike="noStrike" dirty="0">
                          <a:effectLst/>
                        </a:rPr>
                        <a:t>31</a:t>
                      </a:r>
                      <a:r>
                        <a:rPr lang="da-DK" sz="1400" u="none" strike="noStrike" dirty="0">
                          <a:effectLst/>
                        </a:rPr>
                        <a:t>MHz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>
                          <a:effectLst/>
                        </a:rPr>
                        <a:t>硬件加速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支持</a:t>
                      </a:r>
                      <a:r>
                        <a:rPr lang="da-DK" sz="1400" u="none" strike="noStrike" dirty="0">
                          <a:effectLst/>
                        </a:rPr>
                        <a:t>FFT/MFCC</a:t>
                      </a:r>
                      <a:r>
                        <a:rPr lang="zh-CN" altLang="en-US" sz="1400" u="none" strike="noStrike" dirty="0">
                          <a:effectLst/>
                        </a:rPr>
                        <a:t>硬件加速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SRAM</a:t>
                      </a:r>
                      <a:endParaRPr lang="da-DK" sz="14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400" u="none" strike="noStrike" dirty="0">
                          <a:effectLst/>
                        </a:rPr>
                        <a:t>256KB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F</a:t>
                      </a:r>
                      <a:r>
                        <a:rPr lang="en-US" altLang="zh-CN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lash</a:t>
                      </a:r>
                      <a:endParaRPr lang="da-DK" sz="14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r>
                        <a:rPr lang="da-DK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MB</a:t>
                      </a:r>
                      <a:r>
                        <a:rPr lang="zh-CN" altLang="en-US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内置</a:t>
                      </a:r>
                      <a:endParaRPr lang="zh-CN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I2S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 dirty="0">
                          <a:effectLst/>
                        </a:rPr>
                        <a:t>2</a:t>
                      </a:r>
                      <a:r>
                        <a:rPr lang="zh-CN" altLang="en-US" sz="1400" u="none" strike="noStrike" dirty="0">
                          <a:effectLst/>
                        </a:rPr>
                        <a:t>入</a:t>
                      </a:r>
                      <a:r>
                        <a:rPr lang="en-US" altLang="zh-CN" sz="1400" u="none" strike="noStrike" dirty="0">
                          <a:effectLst/>
                        </a:rPr>
                        <a:t>2</a:t>
                      </a:r>
                      <a:r>
                        <a:rPr lang="zh-CN" altLang="en-US" sz="1400" u="none" strike="noStrike" dirty="0">
                          <a:effectLst/>
                        </a:rPr>
                        <a:t>出，支持</a:t>
                      </a:r>
                      <a:r>
                        <a:rPr lang="en-US" altLang="zh-CN" sz="1400" u="none" strike="noStrike" dirty="0">
                          <a:effectLst/>
                        </a:rPr>
                        <a:t>8</a:t>
                      </a:r>
                      <a:r>
                        <a:rPr lang="da-DK" sz="1400" u="none" strike="noStrike" dirty="0">
                          <a:effectLst/>
                        </a:rPr>
                        <a:t>K，16K，32K，48K，96K</a:t>
                      </a:r>
                      <a:r>
                        <a:rPr lang="zh-CN" altLang="en-US" sz="1400" u="none" strike="noStrike" dirty="0">
                          <a:effectLst/>
                        </a:rPr>
                        <a:t>音频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PDM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入</a:t>
                      </a:r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出，支持</a:t>
                      </a:r>
                      <a:r>
                        <a:rPr lang="en-US" altLang="zh-CN" sz="1400" u="none" strike="noStrike">
                          <a:effectLst/>
                        </a:rPr>
                        <a:t>16</a:t>
                      </a:r>
                      <a:r>
                        <a:rPr lang="da-DK" sz="1400" u="none" strike="noStrike">
                          <a:effectLst/>
                        </a:rPr>
                        <a:t>K</a:t>
                      </a:r>
                      <a:r>
                        <a:rPr lang="zh-CN" altLang="en-US" sz="1400" u="none" strike="noStrike">
                          <a:effectLst/>
                        </a:rPr>
                        <a:t>音频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MIC ADC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入，支持</a:t>
                      </a:r>
                      <a:r>
                        <a:rPr lang="en-US" altLang="zh-CN" sz="1400" u="none" strike="noStrike">
                          <a:effectLst/>
                        </a:rPr>
                        <a:t>8</a:t>
                      </a:r>
                      <a:r>
                        <a:rPr lang="da-DK" sz="1400" u="none" strike="noStrike">
                          <a:effectLst/>
                        </a:rPr>
                        <a:t>K，16K，32K</a:t>
                      </a:r>
                      <a:r>
                        <a:rPr lang="zh-CN" altLang="en-US" sz="1400" u="none" strike="noStrike">
                          <a:effectLst/>
                        </a:rPr>
                        <a:t>音频输入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 dirty="0">
                          <a:effectLst/>
                        </a:rPr>
                        <a:t>SPI</a:t>
                      </a:r>
                      <a:endParaRPr lang="da-DK" sz="14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个，</a:t>
                      </a:r>
                      <a:r>
                        <a:rPr lang="da-DK" sz="1400">
                          <a:effectLst/>
                          <a:sym typeface="+mn-ea"/>
                        </a:rPr>
                        <a:t>SPI0</a:t>
                      </a:r>
                      <a:r>
                        <a:rPr lang="zh-CN" altLang="en-US" sz="1400">
                          <a:effectLst/>
                          <a:sym typeface="+mn-ea"/>
                        </a:rPr>
                        <a:t>支持</a:t>
                      </a:r>
                      <a:r>
                        <a:rPr lang="da-DK" sz="1400">
                          <a:effectLst/>
                          <a:sym typeface="+mn-ea"/>
                        </a:rPr>
                        <a:t>Master/Slave</a:t>
                      </a:r>
                      <a:r>
                        <a:rPr lang="zh-CN" altLang="en-US" sz="1400">
                          <a:effectLst/>
                          <a:sym typeface="+mn-ea"/>
                        </a:rPr>
                        <a:t>模式，</a:t>
                      </a:r>
                      <a:r>
                        <a:rPr lang="da-DK" sz="1400">
                          <a:effectLst/>
                          <a:sym typeface="+mn-ea"/>
                        </a:rPr>
                        <a:t>SPI1</a:t>
                      </a:r>
                      <a:r>
                        <a:rPr lang="zh-CN" altLang="en-US" sz="1400">
                          <a:effectLst/>
                          <a:sym typeface="+mn-ea"/>
                        </a:rPr>
                        <a:t>只支持</a:t>
                      </a:r>
                      <a:r>
                        <a:rPr lang="da-DK" sz="1400">
                          <a:effectLst/>
                          <a:sym typeface="+mn-ea"/>
                        </a:rPr>
                        <a:t>Master</a:t>
                      </a:r>
                      <a:r>
                        <a:rPr lang="zh-CN" altLang="en-US" sz="1400">
                          <a:effectLst/>
                          <a:sym typeface="+mn-ea"/>
                        </a:rPr>
                        <a:t>模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I2C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 dirty="0">
                          <a:effectLst/>
                        </a:rPr>
                        <a:t>2</a:t>
                      </a:r>
                      <a:r>
                        <a:rPr lang="zh-CN" altLang="en-US" sz="1400" u="none" strike="noStrike" dirty="0">
                          <a:effectLst/>
                        </a:rPr>
                        <a:t>个，支持</a:t>
                      </a:r>
                      <a:r>
                        <a:rPr lang="da-DK" sz="1400" u="none" strike="noStrike" dirty="0">
                          <a:effectLst/>
                        </a:rPr>
                        <a:t>Master/Slave</a:t>
                      </a:r>
                      <a:r>
                        <a:rPr lang="zh-CN" altLang="en-US" sz="1400" u="none" strike="noStrike" dirty="0">
                          <a:effectLst/>
                        </a:rPr>
                        <a:t>模式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UART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个，最高波特率</a:t>
                      </a:r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da-DK" sz="1400" u="none" strike="noStrike">
                          <a:effectLst/>
                        </a:rPr>
                        <a:t>Mbps</a:t>
                      </a:r>
                      <a:endParaRPr lang="da-DK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PWM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4</a:t>
                      </a:r>
                      <a:r>
                        <a:rPr lang="zh-CN" altLang="en-US" sz="1400" u="none" strike="noStrike">
                          <a:effectLst/>
                        </a:rPr>
                        <a:t>个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GPIO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4</a:t>
                      </a:r>
                      <a:r>
                        <a:rPr lang="zh-CN" altLang="en-US" sz="1400" u="none" strike="noStrike">
                          <a:effectLst/>
                        </a:rPr>
                        <a:t>个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9080">
                <a:tc>
                  <a:txBody>
                    <a:bodyPr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SAR</a:t>
                      </a:r>
                      <a:r>
                        <a:rPr lang="en-US" altLang="da-DK" sz="1400" b="1" u="none" strike="noStrike">
                          <a:effectLst/>
                        </a:rPr>
                        <a:t> </a:t>
                      </a:r>
                      <a:r>
                        <a:rPr lang="da-DK" sz="1400" b="1" u="none" strike="noStrike">
                          <a:effectLst/>
                        </a:rPr>
                        <a:t>ADC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4</a:t>
                      </a:r>
                      <a:r>
                        <a:rPr lang="zh-CN" altLang="en-US" sz="1400" u="none" strike="noStrike">
                          <a:effectLst/>
                        </a:rPr>
                        <a:t>路单端模拟量输入或</a:t>
                      </a:r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effectLst/>
                        </a:rPr>
                        <a:t>路差分模拟量输入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TOUCH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 dirty="0">
                          <a:effectLst/>
                        </a:rPr>
                        <a:t>8</a:t>
                      </a:r>
                      <a:r>
                        <a:rPr lang="zh-CN" altLang="en-US" sz="1400" u="none" strike="noStrike" dirty="0">
                          <a:effectLst/>
                        </a:rPr>
                        <a:t>个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JTAG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支持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Watch Dog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 dirty="0">
                          <a:effectLst/>
                        </a:rPr>
                        <a:t>1</a:t>
                      </a:r>
                      <a:r>
                        <a:rPr lang="zh-CN" altLang="en-US" sz="1400" u="none" strike="noStrike" dirty="0">
                          <a:effectLst/>
                        </a:rPr>
                        <a:t>个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EFUSE</a:t>
                      </a:r>
                      <a:endParaRPr lang="da-DK" sz="14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支持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AES</a:t>
                      </a:r>
                      <a:endParaRPr lang="da-DK" sz="14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支持</a:t>
                      </a:r>
                      <a:r>
                        <a:rPr lang="da-DK" sz="1400" u="none" strike="noStrike">
                          <a:effectLst/>
                        </a:rPr>
                        <a:t>AES 128/192/256</a:t>
                      </a:r>
                      <a:r>
                        <a:rPr lang="zh-CN" altLang="en-US" sz="1400" u="none" strike="noStrike">
                          <a:effectLst/>
                        </a:rPr>
                        <a:t>加解密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LDO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集成带掉电检测功能的</a:t>
                      </a:r>
                      <a:r>
                        <a:rPr lang="da-DK" sz="1400" u="none" strike="noStrike" dirty="0">
                          <a:effectLst/>
                        </a:rPr>
                        <a:t>LDO，</a:t>
                      </a:r>
                      <a:r>
                        <a:rPr lang="zh-CN" altLang="en-US" sz="1400" u="none" strike="noStrike" dirty="0">
                          <a:effectLst/>
                        </a:rPr>
                        <a:t>提供</a:t>
                      </a:r>
                      <a:r>
                        <a:rPr lang="en-US" altLang="zh-CN" sz="1400" u="none" strike="noStrike" dirty="0">
                          <a:effectLst/>
                        </a:rPr>
                        <a:t>1.1</a:t>
                      </a:r>
                      <a:r>
                        <a:rPr lang="da-DK" sz="1400" u="none" strike="noStrike" dirty="0">
                          <a:effectLst/>
                        </a:rPr>
                        <a:t>V/1.8V</a:t>
                      </a:r>
                      <a:r>
                        <a:rPr lang="zh-CN" altLang="en-US" sz="1400" u="none" strike="noStrike" dirty="0">
                          <a:effectLst/>
                        </a:rPr>
                        <a:t>电压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effectLst/>
                        </a:rPr>
                        <a:t>PLL</a:t>
                      </a:r>
                      <a:endParaRPr lang="da-DK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集成低功耗</a:t>
                      </a:r>
                      <a:r>
                        <a:rPr lang="da-DK" sz="1400" u="none" strike="noStrike" dirty="0">
                          <a:effectLst/>
                        </a:rPr>
                        <a:t>PLL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 dirty="0">
                          <a:effectLst/>
                        </a:rPr>
                        <a:t>OSC</a:t>
                      </a:r>
                      <a:endParaRPr lang="da-DK" sz="14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sz="1400">
                          <a:effectLst/>
                          <a:sym typeface="+mn-ea"/>
                        </a:rPr>
                        <a:t>可选内部集成RC振荡器或外接24.576MHz晶体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68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>
                          <a:effectLst/>
                        </a:rPr>
                        <a:t>封装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400" u="none" strike="noStrike">
                          <a:effectLst/>
                        </a:rPr>
                        <a:t>QFN</a:t>
                      </a:r>
                      <a:r>
                        <a:rPr lang="en-US" altLang="da-DK" sz="1400" u="none" strike="noStrike">
                          <a:effectLst/>
                        </a:rPr>
                        <a:t>48</a:t>
                      </a:r>
                      <a:r>
                        <a:rPr lang="da-DK" sz="1400" u="none" strike="noStrike">
                          <a:effectLst/>
                        </a:rPr>
                        <a:t>-</a:t>
                      </a:r>
                      <a:r>
                        <a:rPr lang="en-US" altLang="da-DK" sz="1400" u="none" strike="noStrike">
                          <a:effectLst/>
                        </a:rPr>
                        <a:t>6</a:t>
                      </a:r>
                      <a:r>
                        <a:rPr lang="da-DK" sz="1400" u="none" strike="noStrike">
                          <a:effectLst/>
                        </a:rPr>
                        <a:t>x</a:t>
                      </a:r>
                      <a:r>
                        <a:rPr lang="en-US" altLang="da-DK" sz="1400" u="none" strike="noStrike">
                          <a:effectLst/>
                        </a:rPr>
                        <a:t>6</a:t>
                      </a:r>
                      <a:endParaRPr lang="en-US" altLang="da-DK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986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dirty="0">
                          <a:effectLst/>
                        </a:rPr>
                        <a:t>待机功耗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6m</a:t>
                      </a:r>
                      <a:r>
                        <a:rPr lang="en-US" altLang="zh-CN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W</a:t>
                      </a:r>
                      <a:endParaRPr lang="da-DK" sz="1400" b="0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986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u="none" strike="noStrike" dirty="0">
                          <a:effectLst/>
                        </a:rPr>
                        <a:t>待机唤醒功耗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mW</a:t>
                      </a:r>
                      <a:endParaRPr lang="da-DK" altLang="zh-CN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40" marR="7940" marT="794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7" name="组合 16"/>
          <p:cNvGrpSpPr/>
          <p:nvPr/>
        </p:nvGrpSpPr>
        <p:grpSpPr>
          <a:xfrm>
            <a:off x="1175026" y="2123421"/>
            <a:ext cx="2328686" cy="2335253"/>
            <a:chOff x="879448" y="1556792"/>
            <a:chExt cx="3341642" cy="3351065"/>
          </a:xfrm>
        </p:grpSpPr>
        <p:pic>
          <p:nvPicPr>
            <p:cNvPr id="18" name="图片 1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9448" y="1556792"/>
              <a:ext cx="2989300" cy="2989300"/>
            </a:xfrm>
            <a:prstGeom prst="rect">
              <a:avLst/>
            </a:prstGeom>
          </p:spPr>
        </p:pic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985953">
              <a:off x="1231790" y="1918557"/>
              <a:ext cx="2989300" cy="2989300"/>
            </a:xfrm>
            <a:prstGeom prst="rect">
              <a:avLst/>
            </a:prstGeom>
          </p:spPr>
        </p:pic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9" name="直线连接符 8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 txBox="1"/>
          <p:nvPr/>
        </p:nvSpPr>
        <p:spPr>
          <a:xfrm>
            <a:off x="0" y="389656"/>
            <a:ext cx="12192000" cy="5190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音旋风二代增强版</a:t>
            </a:r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VOI721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品介绍</a:t>
            </a:r>
            <a:endParaRPr kumimoji="1"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158057" y="4844940"/>
            <a:ext cx="243747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语音检测，语音识别音源定位、噪声抑制单/双麦语音处理</a:t>
            </a:r>
            <a:endParaRPr lang="zh-CN" altLang="en-US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485470" y="1196752"/>
          <a:ext cx="5110436" cy="53184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0280"/>
                <a:gridCol w="4140156"/>
              </a:tblGrid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MCU</a:t>
                      </a:r>
                      <a:endParaRPr lang="da-DK" sz="12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>
                          <a:effectLst/>
                        </a:rPr>
                        <a:t>32bit RISC-V,196MHz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DSP</a:t>
                      </a:r>
                      <a:endParaRPr lang="da-DK" sz="12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da-DK" sz="1200" u="none" strike="noStrike" dirty="0">
                          <a:effectLst/>
                        </a:rPr>
                        <a:t>HiFi4</a:t>
                      </a:r>
                      <a:r>
                        <a:rPr lang="da-DK" sz="1200" u="none" strike="noStrike" dirty="0">
                          <a:effectLst/>
                        </a:rPr>
                        <a:t>,196MHz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NPU</a:t>
                      </a:r>
                      <a:endParaRPr lang="da-DK" sz="12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探境</a:t>
                      </a:r>
                      <a:r>
                        <a:rPr lang="da-DK" sz="1200" u="none" strike="noStrike">
                          <a:effectLst/>
                        </a:rPr>
                        <a:t>SFA</a:t>
                      </a:r>
                      <a:r>
                        <a:rPr lang="zh-CN" altLang="en-US" sz="1200" u="none" strike="noStrike">
                          <a:effectLst/>
                        </a:rPr>
                        <a:t>架构</a:t>
                      </a:r>
                      <a:r>
                        <a:rPr lang="da-DK" sz="1200" u="none" strike="noStrike">
                          <a:effectLst/>
                        </a:rPr>
                        <a:t>NPU，196MHz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>
                          <a:effectLst/>
                        </a:rPr>
                        <a:t>硬件加速</a:t>
                      </a:r>
                      <a:endParaRPr lang="zh-CN" altLang="en-US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支持</a:t>
                      </a:r>
                      <a:r>
                        <a:rPr lang="da-DK" sz="1200" u="none" strike="noStrike" dirty="0">
                          <a:effectLst/>
                        </a:rPr>
                        <a:t>FFT/MFCC/AEC</a:t>
                      </a:r>
                      <a:r>
                        <a:rPr lang="zh-CN" altLang="en-US" sz="1200" u="none" strike="noStrike" dirty="0">
                          <a:effectLst/>
                        </a:rPr>
                        <a:t>硬件加速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 dirty="0">
                          <a:effectLst/>
                        </a:rPr>
                        <a:t>SRAM</a:t>
                      </a:r>
                      <a:endParaRPr lang="da-DK" sz="1200" b="1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256KB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PSRAM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2/4MB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 dirty="0">
                          <a:effectLst/>
                        </a:rPr>
                        <a:t>Flash</a:t>
                      </a:r>
                      <a:endParaRPr lang="da-DK" sz="1200" b="1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>
                          <a:ln>
                            <a:noFill/>
                          </a:ln>
                          <a:effectLst/>
                          <a:sym typeface="+mn-ea"/>
                        </a:rPr>
                        <a:t>外置</a:t>
                      </a:r>
                      <a:r>
                        <a:rPr lang="da-DK" sz="1200">
                          <a:ln>
                            <a:noFill/>
                          </a:ln>
                          <a:effectLst/>
                          <a:sym typeface="+mn-ea"/>
                        </a:rPr>
                        <a:t>QSPI Flash</a:t>
                      </a:r>
                      <a:r>
                        <a:rPr lang="zh-CN" altLang="en-US" sz="1200">
                          <a:ln>
                            <a:noFill/>
                          </a:ln>
                          <a:effectLst/>
                          <a:sym typeface="+mn-ea"/>
                        </a:rPr>
                        <a:t>存储固件，</a:t>
                      </a:r>
                      <a:r>
                        <a:rPr lang="zh-CN" altLang="en-US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最大支持</a:t>
                      </a:r>
                      <a:r>
                        <a:rPr lang="en-US" altLang="zh-CN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r>
                        <a:rPr lang="da-DK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MB SPI NOR Flash</a:t>
                      </a:r>
                      <a:endParaRPr lang="da-DK" sz="1200" b="0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I2S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 dirty="0">
                          <a:effectLst/>
                        </a:rPr>
                        <a:t>2</a:t>
                      </a:r>
                      <a:r>
                        <a:rPr lang="zh-CN" altLang="en-US" sz="1200" u="none" strike="noStrike" dirty="0">
                          <a:effectLst/>
                        </a:rPr>
                        <a:t>入</a:t>
                      </a:r>
                      <a:r>
                        <a:rPr lang="en-US" altLang="zh-CN" sz="1200" u="none" strike="noStrike" dirty="0">
                          <a:effectLst/>
                        </a:rPr>
                        <a:t>2</a:t>
                      </a:r>
                      <a:r>
                        <a:rPr lang="zh-CN" altLang="en-US" sz="1200" u="none" strike="noStrike" dirty="0">
                          <a:effectLst/>
                        </a:rPr>
                        <a:t>出，支持</a:t>
                      </a:r>
                      <a:r>
                        <a:rPr lang="en-US" altLang="zh-CN" sz="1200" u="none" strike="noStrike" dirty="0">
                          <a:effectLst/>
                        </a:rPr>
                        <a:t>8</a:t>
                      </a:r>
                      <a:r>
                        <a:rPr lang="da-DK" sz="1200" u="none" strike="noStrike" dirty="0">
                          <a:effectLst/>
                        </a:rPr>
                        <a:t>K，16K，32K，48K，96K</a:t>
                      </a:r>
                      <a:r>
                        <a:rPr lang="zh-CN" altLang="en-US" sz="1200" u="none" strike="noStrike" dirty="0">
                          <a:effectLst/>
                        </a:rPr>
                        <a:t>音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PDM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r>
                        <a:rPr lang="zh-CN" altLang="en-US" sz="1200" u="none" strike="noStrike">
                          <a:effectLst/>
                        </a:rPr>
                        <a:t>入</a:t>
                      </a:r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r>
                        <a:rPr lang="zh-CN" altLang="en-US" sz="1200" u="none" strike="noStrike">
                          <a:effectLst/>
                        </a:rPr>
                        <a:t>出，支持</a:t>
                      </a:r>
                      <a:r>
                        <a:rPr lang="en-US" altLang="zh-CN" sz="1200" u="none" strike="noStrike">
                          <a:effectLst/>
                        </a:rPr>
                        <a:t>16</a:t>
                      </a:r>
                      <a:r>
                        <a:rPr lang="da-DK" sz="1200" u="none" strike="noStrike">
                          <a:effectLst/>
                        </a:rPr>
                        <a:t>K</a:t>
                      </a:r>
                      <a:r>
                        <a:rPr lang="zh-CN" altLang="en-US" sz="1200" u="none" strike="noStrike">
                          <a:effectLst/>
                        </a:rPr>
                        <a:t>音频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MIC ADC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r>
                        <a:rPr lang="zh-CN" altLang="en-US" sz="1200" u="none" strike="noStrike">
                          <a:effectLst/>
                        </a:rPr>
                        <a:t>入，支持</a:t>
                      </a:r>
                      <a:r>
                        <a:rPr lang="en-US" altLang="zh-CN" sz="1200" u="none" strike="noStrike">
                          <a:effectLst/>
                        </a:rPr>
                        <a:t>8</a:t>
                      </a:r>
                      <a:r>
                        <a:rPr lang="da-DK" sz="1200" u="none" strike="noStrike">
                          <a:effectLst/>
                        </a:rPr>
                        <a:t>K，16K，32K</a:t>
                      </a:r>
                      <a:r>
                        <a:rPr lang="zh-CN" altLang="en-US" sz="1200" u="none" strike="noStrike">
                          <a:effectLst/>
                        </a:rPr>
                        <a:t>音频输入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SPI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r>
                        <a:rPr lang="zh-CN" altLang="en-US" sz="1200" u="none" strike="noStrike">
                          <a:effectLst/>
                        </a:rPr>
                        <a:t>个，</a:t>
                      </a:r>
                      <a:r>
                        <a:rPr lang="da-DK" sz="1200" u="none" strike="noStrike">
                          <a:effectLst/>
                        </a:rPr>
                        <a:t>SPI0</a:t>
                      </a:r>
                      <a:r>
                        <a:rPr lang="zh-CN" altLang="en-US" sz="1200" u="none" strike="noStrike">
                          <a:effectLst/>
                        </a:rPr>
                        <a:t>支持</a:t>
                      </a:r>
                      <a:r>
                        <a:rPr lang="da-DK" sz="1200" u="none" strike="noStrike">
                          <a:effectLst/>
                        </a:rPr>
                        <a:t>Master/Slave</a:t>
                      </a:r>
                      <a:r>
                        <a:rPr lang="zh-CN" altLang="en-US" sz="1200" u="none" strike="noStrike">
                          <a:effectLst/>
                        </a:rPr>
                        <a:t>模式，</a:t>
                      </a:r>
                      <a:r>
                        <a:rPr lang="da-DK" sz="1200" u="none" strike="noStrike">
                          <a:effectLst/>
                        </a:rPr>
                        <a:t>SPI1</a:t>
                      </a:r>
                      <a:r>
                        <a:rPr lang="zh-CN" altLang="en-US" sz="1200" u="none" strike="noStrike">
                          <a:effectLst/>
                        </a:rPr>
                        <a:t>只支持</a:t>
                      </a:r>
                      <a:r>
                        <a:rPr lang="da-DK" sz="1200" u="none" strike="noStrike">
                          <a:effectLst/>
                        </a:rPr>
                        <a:t>Master</a:t>
                      </a:r>
                      <a:r>
                        <a:rPr lang="zh-CN" altLang="en-US" sz="1200" u="none" strike="noStrike">
                          <a:effectLst/>
                        </a:rPr>
                        <a:t>模式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I2C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r>
                        <a:rPr lang="zh-CN" altLang="en-US" sz="1200" u="none" strike="noStrike">
                          <a:effectLst/>
                        </a:rPr>
                        <a:t>个，支持</a:t>
                      </a:r>
                      <a:r>
                        <a:rPr lang="da-DK" sz="1200" u="none" strike="noStrike">
                          <a:effectLst/>
                        </a:rPr>
                        <a:t>Master/Slave</a:t>
                      </a:r>
                      <a:r>
                        <a:rPr lang="zh-CN" altLang="en-US" sz="1200" u="none" strike="noStrike">
                          <a:effectLst/>
                        </a:rPr>
                        <a:t>模式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 dirty="0">
                          <a:effectLst/>
                        </a:rPr>
                        <a:t>UART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r>
                        <a:rPr lang="zh-CN" altLang="en-US" sz="1200" u="none" strike="noStrike">
                          <a:effectLst/>
                        </a:rPr>
                        <a:t>个，最高波特率</a:t>
                      </a:r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r>
                        <a:rPr lang="da-DK" sz="1200" u="none" strike="noStrike">
                          <a:effectLst/>
                        </a:rPr>
                        <a:t>Mbps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PWM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22</a:t>
                      </a:r>
                      <a:r>
                        <a:rPr lang="zh-CN" altLang="en-US" sz="1200" u="none" strike="noStrike">
                          <a:effectLst/>
                        </a:rPr>
                        <a:t>个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GPIO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22</a:t>
                      </a:r>
                      <a:r>
                        <a:rPr lang="zh-CN" altLang="en-US" sz="1200" u="none" strike="noStrike">
                          <a:effectLst/>
                        </a:rPr>
                        <a:t>个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SAR</a:t>
                      </a:r>
                      <a:r>
                        <a:rPr lang="en-US" altLang="da-DK" sz="1200" b="1" u="none" strike="noStrike">
                          <a:effectLst/>
                        </a:rPr>
                        <a:t> </a:t>
                      </a:r>
                      <a:r>
                        <a:rPr lang="da-DK" sz="1200" b="1" u="none" strike="noStrike">
                          <a:effectLst/>
                        </a:rPr>
                        <a:t>ADC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4</a:t>
                      </a:r>
                      <a:r>
                        <a:rPr lang="zh-CN" altLang="en-US" sz="1200" u="none" strike="noStrike">
                          <a:effectLst/>
                        </a:rPr>
                        <a:t>路单端模拟量输入或</a:t>
                      </a:r>
                      <a:r>
                        <a:rPr lang="en-US" altLang="zh-CN" sz="1200" u="none" strike="noStrike">
                          <a:effectLst/>
                        </a:rPr>
                        <a:t>2</a:t>
                      </a:r>
                      <a:r>
                        <a:rPr lang="zh-CN" altLang="en-US" sz="1200" u="none" strike="noStrike">
                          <a:effectLst/>
                        </a:rPr>
                        <a:t>路差分模拟量输入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TOUCH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8</a:t>
                      </a:r>
                      <a:r>
                        <a:rPr lang="zh-CN" altLang="en-US" sz="1200" u="none" strike="noStrike">
                          <a:effectLst/>
                        </a:rPr>
                        <a:t>个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JTAG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支持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Watch Dog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u="none" strike="noStrike">
                          <a:effectLst/>
                        </a:rPr>
                        <a:t>1</a:t>
                      </a:r>
                      <a:r>
                        <a:rPr lang="zh-CN" altLang="en-US" sz="1200" u="none" strike="noStrike">
                          <a:effectLst/>
                        </a:rPr>
                        <a:t>个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EFUSE</a:t>
                      </a:r>
                      <a:endParaRPr lang="da-DK" sz="1200" b="1" i="0" u="none" strike="noStrike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支持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 dirty="0">
                          <a:effectLst/>
                        </a:rPr>
                        <a:t>AES</a:t>
                      </a:r>
                      <a:endParaRPr lang="da-DK" sz="1200" b="1" i="0" u="none" strike="noStrike" dirty="0">
                        <a:solidFill>
                          <a:srgbClr val="FF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>
                          <a:effectLst/>
                        </a:rPr>
                        <a:t>支持</a:t>
                      </a:r>
                      <a:r>
                        <a:rPr lang="da-DK" sz="1200" u="none" strike="noStrike">
                          <a:effectLst/>
                        </a:rPr>
                        <a:t>AES 128/192/256</a:t>
                      </a:r>
                      <a:r>
                        <a:rPr lang="zh-CN" altLang="en-US" sz="1200" u="none" strike="noStrike">
                          <a:effectLst/>
                        </a:rPr>
                        <a:t>加解密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LDO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集成带掉电检测功能的</a:t>
                      </a:r>
                      <a:r>
                        <a:rPr lang="da-DK" sz="120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LDO，</a:t>
                      </a:r>
                      <a:r>
                        <a:rPr lang="zh-CN" altLang="en-US" sz="120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提供</a:t>
                      </a:r>
                      <a:r>
                        <a:rPr lang="en-US" altLang="zh-CN" sz="120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1.1</a:t>
                      </a:r>
                      <a:r>
                        <a:rPr lang="da-DK" sz="120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V/1.8V</a:t>
                      </a:r>
                      <a:r>
                        <a:rPr lang="zh-CN" altLang="en-US" sz="120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电压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>
                          <a:effectLst/>
                        </a:rPr>
                        <a:t>PLL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u="none" strike="noStrike" dirty="0">
                          <a:effectLst/>
                        </a:rPr>
                        <a:t>集成低功耗</a:t>
                      </a:r>
                      <a:r>
                        <a:rPr lang="da-DK" sz="1200" u="none" strike="noStrike" dirty="0">
                          <a:effectLst/>
                        </a:rPr>
                        <a:t>PLL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200" b="1" u="none" strike="noStrike" dirty="0">
                          <a:effectLst/>
                        </a:rPr>
                        <a:t>OSC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sz="1200">
                          <a:effectLst/>
                          <a:sym typeface="+mn-ea"/>
                        </a:rPr>
                        <a:t>可选内部集成RC振荡器或外接24.576MHz晶体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>
                          <a:effectLst/>
                        </a:rPr>
                        <a:t>封装</a:t>
                      </a:r>
                      <a:endParaRPr lang="zh-CN" altLang="en-US" sz="1200" b="1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>
                          <a:effectLst/>
                        </a:rPr>
                        <a:t>QFN48-6x6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</a:rPr>
                        <a:t>待机功耗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6m</a:t>
                      </a:r>
                      <a:r>
                        <a:rPr lang="en-US" altLang="zh-CN" sz="1200" u="none" strike="noStrike" dirty="0">
                          <a:effectLst/>
                        </a:rPr>
                        <a:t>W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05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u="none" strike="noStrike" dirty="0">
                          <a:effectLst/>
                        </a:rPr>
                        <a:t>待机唤醒功耗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mW</a:t>
                      </a:r>
                      <a:endParaRPr lang="da-DK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4" marR="7064" marT="706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8" name="图片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9" name="直线连接符 8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670" y="2257443"/>
            <a:ext cx="1747621" cy="1747621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6298">
            <a:off x="1567951" y="2577161"/>
            <a:ext cx="1747621" cy="1747621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47625" y="44216"/>
            <a:ext cx="12192000" cy="519064"/>
          </a:xfrm>
          <a:prstGeom prst="rect">
            <a:avLst/>
          </a:prstGeom>
        </p:spPr>
        <p:txBody>
          <a:bodyPr/>
          <a:lstStyle/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音旋风芯片系列主要参数对比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200215" y="548675"/>
          <a:ext cx="9939020" cy="6151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5990"/>
                <a:gridCol w="1809750"/>
                <a:gridCol w="2327275"/>
                <a:gridCol w="2348443"/>
                <a:gridCol w="2517775"/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　</a:t>
                      </a:r>
                      <a:endParaRPr lang="zh-CN" altLang="en-US" sz="1100" b="1" i="0" u="none" strike="noStrike">
                        <a:solidFill>
                          <a:srgbClr val="2AA4CA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VOI611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VOI311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VOI621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 dirty="0">
                          <a:solidFill>
                            <a:srgbClr val="2AA4CA"/>
                          </a:solidFill>
                          <a:effectLst/>
                        </a:rPr>
                        <a:t>VOI721</a:t>
                      </a:r>
                      <a:endParaRPr lang="da-DK" sz="1100" b="1" i="0" u="none" strike="noStrike" dirty="0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</a:tr>
              <a:tr h="156210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 dirty="0">
                          <a:solidFill>
                            <a:srgbClr val="2AA4CA"/>
                          </a:solidFill>
                          <a:effectLst/>
                        </a:rPr>
                        <a:t>NPU</a:t>
                      </a:r>
                      <a:endParaRPr lang="da-DK" sz="1100" b="1" i="0" u="none" strike="noStrike" dirty="0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>
                          <a:effectLst/>
                          <a:sym typeface="+mn-ea"/>
                        </a:rPr>
                        <a:t>探境</a:t>
                      </a:r>
                      <a:r>
                        <a:rPr lang="da-DK" sz="1000">
                          <a:effectLst/>
                          <a:sym typeface="+mn-ea"/>
                        </a:rPr>
                        <a:t>SFA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架构</a:t>
                      </a:r>
                      <a:r>
                        <a:rPr lang="da-DK" sz="1000">
                          <a:effectLst/>
                          <a:sym typeface="+mn-ea"/>
                        </a:rPr>
                        <a:t>NPU，1</a:t>
                      </a:r>
                      <a:r>
                        <a:rPr lang="en-US" altLang="da-DK" sz="1000">
                          <a:effectLst/>
                          <a:sym typeface="+mn-ea"/>
                        </a:rPr>
                        <a:t>31</a:t>
                      </a:r>
                      <a:r>
                        <a:rPr lang="da-DK" sz="1000">
                          <a:effectLst/>
                          <a:sym typeface="+mn-ea"/>
                        </a:rPr>
                        <a:t>MHz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>
                          <a:effectLst/>
                          <a:sym typeface="+mn-ea"/>
                        </a:rPr>
                        <a:t>探境</a:t>
                      </a:r>
                      <a:r>
                        <a:rPr lang="da-DK" sz="1000">
                          <a:effectLst/>
                          <a:sym typeface="+mn-ea"/>
                        </a:rPr>
                        <a:t>SFA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架构</a:t>
                      </a:r>
                      <a:r>
                        <a:rPr lang="da-DK" sz="1000">
                          <a:effectLst/>
                          <a:sym typeface="+mn-ea"/>
                        </a:rPr>
                        <a:t>NPU，1</a:t>
                      </a:r>
                      <a:r>
                        <a:rPr lang="en-US" altLang="da-DK" sz="1000">
                          <a:effectLst/>
                          <a:sym typeface="+mn-ea"/>
                        </a:rPr>
                        <a:t>31</a:t>
                      </a:r>
                      <a:r>
                        <a:rPr lang="da-DK" sz="1000">
                          <a:effectLst/>
                          <a:sym typeface="+mn-ea"/>
                        </a:rPr>
                        <a:t>MHz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>
                          <a:effectLst/>
                          <a:sym typeface="+mn-ea"/>
                        </a:rPr>
                        <a:t>探境</a:t>
                      </a:r>
                      <a:r>
                        <a:rPr lang="da-DK" sz="1000">
                          <a:effectLst/>
                          <a:sym typeface="+mn-ea"/>
                        </a:rPr>
                        <a:t>SFA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架构</a:t>
                      </a:r>
                      <a:r>
                        <a:rPr lang="da-DK" sz="1000">
                          <a:effectLst/>
                          <a:sym typeface="+mn-ea"/>
                        </a:rPr>
                        <a:t>NPU，1</a:t>
                      </a:r>
                      <a:r>
                        <a:rPr lang="en-US" altLang="da-DK" sz="1000">
                          <a:effectLst/>
                          <a:sym typeface="+mn-ea"/>
                        </a:rPr>
                        <a:t>31</a:t>
                      </a:r>
                      <a:r>
                        <a:rPr lang="da-DK" sz="1000">
                          <a:effectLst/>
                          <a:sym typeface="+mn-ea"/>
                        </a:rPr>
                        <a:t>MHz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>
                          <a:effectLst/>
                          <a:sym typeface="+mn-ea"/>
                        </a:rPr>
                        <a:t>探境</a:t>
                      </a:r>
                      <a:r>
                        <a:rPr lang="da-DK" sz="1000">
                          <a:effectLst/>
                          <a:sym typeface="+mn-ea"/>
                        </a:rPr>
                        <a:t>SFA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架构</a:t>
                      </a:r>
                      <a:r>
                        <a:rPr lang="da-DK" sz="1000">
                          <a:effectLst/>
                          <a:sym typeface="+mn-ea"/>
                        </a:rPr>
                        <a:t>NPU，1</a:t>
                      </a:r>
                      <a:r>
                        <a:rPr lang="en-US" altLang="da-DK" sz="1000">
                          <a:effectLst/>
                          <a:sym typeface="+mn-ea"/>
                        </a:rPr>
                        <a:t>96</a:t>
                      </a:r>
                      <a:r>
                        <a:rPr lang="da-DK" sz="1000">
                          <a:effectLst/>
                          <a:sym typeface="+mn-ea"/>
                        </a:rPr>
                        <a:t>MHz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56210">
                <a:tc vMerge="1"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单</a:t>
                      </a:r>
                      <a:r>
                        <a:rPr lang="en-US" altLang="zh-CN" sz="1000" u="none" strike="noStrike" dirty="0">
                          <a:effectLst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</a:rPr>
                        <a:t>双麦语音处理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单</a:t>
                      </a:r>
                      <a:r>
                        <a:rPr lang="en-US" altLang="zh-CN" sz="1000" u="none" strike="noStrike" dirty="0">
                          <a:effectLst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</a:rPr>
                        <a:t>双麦语音处理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单</a:t>
                      </a:r>
                      <a:r>
                        <a:rPr lang="en-US" altLang="zh-CN" sz="1000" u="none" strike="noStrike" dirty="0">
                          <a:effectLst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</a:rPr>
                        <a:t>双麦语音处理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>
                          <a:effectLst/>
                          <a:sym typeface="+mn-ea"/>
                        </a:rPr>
                        <a:t>单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/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双麦语音处理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0655">
                <a:tc vMerge="1"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dirty="0">
                          <a:effectLst/>
                          <a:sym typeface="+mn-ea"/>
                        </a:rPr>
                        <a:t>语音检测、语音识别</a:t>
                      </a:r>
                      <a:r>
                        <a:rPr lang="zh-CN" altLang="en-US" sz="1000" u="none" strike="noStrike" dirty="0">
                          <a:effectLst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dirty="0">
                          <a:effectLst/>
                          <a:sym typeface="+mn-ea"/>
                        </a:rPr>
                        <a:t>语音检测、语音识别</a:t>
                      </a:r>
                      <a:r>
                        <a:rPr lang="zh-CN" altLang="en-US" sz="1000" u="none" strike="noStrike" dirty="0">
                          <a:effectLst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dirty="0">
                          <a:effectLst/>
                          <a:sym typeface="+mn-ea"/>
                        </a:rPr>
                        <a:t>语音检测、语音识别</a:t>
                      </a:r>
                      <a:r>
                        <a:rPr lang="zh-CN" altLang="en-US" sz="1000" u="none" strike="noStrike" dirty="0">
                          <a:effectLst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>
                          <a:effectLst/>
                          <a:sym typeface="+mn-ea"/>
                        </a:rPr>
                        <a:t>语音检测、语音识别、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音源定位、噪声抑制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9390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MCU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32bit Cortex-M3,131MHz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32bit RISC-V,131MHz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32bit RISC-V,1</a:t>
                      </a:r>
                      <a:r>
                        <a:rPr lang="en-US" altLang="da-DK" sz="1000" u="none" strike="noStrike">
                          <a:effectLst/>
                        </a:rPr>
                        <a:t>31</a:t>
                      </a:r>
                      <a:r>
                        <a:rPr lang="da-DK" sz="1000" u="none" strike="noStrike">
                          <a:effectLst/>
                        </a:rPr>
                        <a:t>MHz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32bit RISC-V,196MHz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9364">
                <a:tc>
                  <a:txBody>
                    <a:bodyPr/>
                    <a:p>
                      <a:pPr algn="ctr" rtl="0" fontAlgn="ctr">
                        <a:buNone/>
                      </a:pPr>
                      <a:r>
                        <a:rPr lang="en-US" altLang="da-DK" sz="1100" b="1" i="0" u="none" strike="noStrike">
                          <a:solidFill>
                            <a:srgbClr val="2AA4CA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SP</a:t>
                      </a:r>
                      <a:endParaRPr lang="en-US" alt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zh-CN" altLang="da-DK" sz="1000" b="0" i="0" u="none" strike="noStrike">
                          <a:solidFill>
                            <a:srgbClr val="262626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无</a:t>
                      </a:r>
                      <a:endParaRPr lang="zh-CN" alt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zh-CN" altLang="da-DK" sz="1000" b="0" i="0" u="none" strike="noStrike">
                          <a:solidFill>
                            <a:srgbClr val="262626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无</a:t>
                      </a:r>
                      <a:endParaRPr lang="zh-CN" alt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zh-CN" altLang="da-DK" sz="1000" b="0" i="0" u="none" strike="noStrike">
                          <a:solidFill>
                            <a:srgbClr val="262626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无</a:t>
                      </a:r>
                      <a:endParaRPr lang="zh-CN" alt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da-DK" altLang="en-US" sz="1000" b="0" i="0" u="none" strike="noStrike">
                          <a:solidFill>
                            <a:srgbClr val="262626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HiFi4处理器</a:t>
                      </a:r>
                      <a:r>
                        <a:rPr lang="en-US" altLang="da-DK" sz="1000" b="0" i="0" u="none" strike="noStrike">
                          <a:solidFill>
                            <a:srgbClr val="262626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,</a:t>
                      </a:r>
                      <a:r>
                        <a:rPr lang="da-DK" altLang="en-US" sz="1000" b="0" i="0" u="none" strike="noStrike">
                          <a:solidFill>
                            <a:srgbClr val="262626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96MHz</a:t>
                      </a:r>
                      <a:endParaRPr lang="da-DK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209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硬件加速</a:t>
                      </a:r>
                      <a:endParaRPr lang="zh-CN" altLang="en-US" sz="1100" b="1" i="0" u="none" strike="noStrike">
                        <a:solidFill>
                          <a:srgbClr val="2AA4CA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无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支持</a:t>
                      </a:r>
                      <a:r>
                        <a:rPr lang="da-DK" sz="1000" u="none" strike="noStrike">
                          <a:effectLst/>
                        </a:rPr>
                        <a:t>FFT/MFCC</a:t>
                      </a:r>
                      <a:r>
                        <a:rPr lang="zh-CN" altLang="en-US" sz="1000" u="none" strike="noStrike">
                          <a:effectLst/>
                        </a:rPr>
                        <a:t>硬件加速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支持</a:t>
                      </a:r>
                      <a:r>
                        <a:rPr lang="da-DK" sz="1000" u="none" strike="noStrike">
                          <a:effectLst/>
                        </a:rPr>
                        <a:t>FFT/MFCC</a:t>
                      </a:r>
                      <a:r>
                        <a:rPr lang="zh-CN" altLang="en-US" sz="1000" u="none" strike="noStrike">
                          <a:effectLst/>
                        </a:rPr>
                        <a:t>硬件加速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支持</a:t>
                      </a:r>
                      <a:r>
                        <a:rPr lang="da-DK" sz="1000" u="none" strike="noStrike">
                          <a:effectLst/>
                        </a:rPr>
                        <a:t>FFT/MFCC/AEC</a:t>
                      </a:r>
                      <a:r>
                        <a:rPr lang="zh-CN" altLang="en-US" sz="1000" u="none" strike="noStrike">
                          <a:effectLst/>
                        </a:rPr>
                        <a:t>硬件加速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SRAM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 dirty="0">
                          <a:effectLst/>
                        </a:rPr>
                        <a:t>512KB</a:t>
                      </a:r>
                      <a:endParaRPr 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256KB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256KB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256KB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1140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FLASH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外置</a:t>
                      </a:r>
                      <a:r>
                        <a:rPr lang="da-DK" sz="1000" u="none" strike="noStrike">
                          <a:effectLst/>
                        </a:rPr>
                        <a:t>QSPI Flash</a:t>
                      </a:r>
                      <a:r>
                        <a:rPr lang="zh-CN" altLang="en-US" sz="1000" u="none" strike="noStrike">
                          <a:effectLst/>
                        </a:rPr>
                        <a:t>存储固件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 dirty="0">
                          <a:effectLst/>
                        </a:rPr>
                        <a:t>2MB</a:t>
                      </a:r>
                      <a:r>
                        <a:rPr lang="zh-CN" altLang="en-US" sz="1000" u="none" strike="noStrike" dirty="0">
                          <a:effectLst/>
                        </a:rPr>
                        <a:t>内置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4MB</a:t>
                      </a:r>
                      <a:r>
                        <a:rPr lang="zh-CN" altLang="en-US" sz="1000" u="none" strike="noStrike">
                          <a:effectLst/>
                        </a:rPr>
                        <a:t>内置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外置</a:t>
                      </a:r>
                      <a:r>
                        <a:rPr lang="da-DK" sz="1000" u="none" strike="noStrike">
                          <a:effectLst/>
                        </a:rPr>
                        <a:t>QSPI Flash</a:t>
                      </a:r>
                      <a:r>
                        <a:rPr lang="zh-CN" altLang="en-US" sz="1000" u="none" strike="noStrike">
                          <a:effectLst/>
                        </a:rPr>
                        <a:t>存储固件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2366">
                <a:tc>
                  <a:txBody>
                    <a:bodyPr/>
                    <a:p>
                      <a:pPr algn="ctr" rtl="0" fontAlgn="ctr"/>
                      <a:r>
                        <a:rPr lang="en-US" alt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P</a:t>
                      </a:r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SRAM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p>
                      <a:pPr algn="l" rtl="0" fontAlgn="ctr"/>
                      <a:r>
                        <a:rPr lang="zh-CN" altLang="da-DK" sz="1000" b="0" i="0" u="none" strike="noStrike" dirty="0">
                          <a:solidFill>
                            <a:srgbClr val="262626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无</a:t>
                      </a:r>
                      <a:endParaRPr lang="zh-CN" alt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/>
                      <a:r>
                        <a:rPr lang="zh-CN" altLang="da-DK" sz="1000" u="none" strike="noStrike">
                          <a:effectLst/>
                        </a:rPr>
                        <a:t>无</a:t>
                      </a:r>
                      <a:endParaRPr lang="zh-CN" altLang="da-DK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/>
                      <a:r>
                        <a:rPr lang="zh-CN" altLang="da-DK" sz="1000" u="none" strike="noStrike">
                          <a:effectLst/>
                        </a:rPr>
                        <a:t>无</a:t>
                      </a:r>
                      <a:endParaRPr lang="zh-CN" altLang="da-DK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/>
                      <a:r>
                        <a:rPr lang="en-US" altLang="da-DK" sz="1000" u="none" strike="noStrike">
                          <a:effectLst/>
                        </a:rPr>
                        <a:t>2/4MB</a:t>
                      </a:r>
                      <a:r>
                        <a:rPr lang="zh-CN" altLang="en-US" sz="1000" u="none" strike="noStrike">
                          <a:effectLst/>
                        </a:rPr>
                        <a:t>内置</a:t>
                      </a:r>
                      <a:endParaRPr lang="zh-CN" altLang="en-US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2366">
                <a:tc>
                  <a:txBody>
                    <a:bodyPr/>
                    <a:p>
                      <a:pPr algn="ctr" rtl="0" fontAlgn="ctr">
                        <a:buNone/>
                      </a:pPr>
                      <a:r>
                        <a:rPr lang="en-US" altLang="da-DK" sz="1100" b="1" i="0" u="none" strike="noStrike">
                          <a:solidFill>
                            <a:srgbClr val="2AA4CA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MIC </a:t>
                      </a:r>
                      <a:r>
                        <a:rPr lang="en-US" altLang="da-DK" sz="1100" b="1" i="0" u="none" strike="noStrike">
                          <a:solidFill>
                            <a:srgbClr val="2AA4CA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ADC</a:t>
                      </a:r>
                      <a:endParaRPr lang="en-US" alt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入，支持8K，16K音频输入</a:t>
                      </a:r>
                      <a:endParaRPr lang="zh-CN" alt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</a:rPr>
                        <a:t>入，支持8K，16K，32K音频输入</a:t>
                      </a:r>
                      <a:endParaRPr lang="zh-CN" altLang="en-US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入，支持8K，16K，32K音频输入</a:t>
                      </a:r>
                      <a:endParaRPr lang="zh-CN" altLang="da-DK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入，支持8K，16K，32K音频输入</a:t>
                      </a:r>
                      <a:endParaRPr lang="zh-CN" altLang="en-US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2366">
                <a:tc>
                  <a:txBody>
                    <a:bodyPr/>
                    <a:p>
                      <a:pPr algn="ctr" rtl="0" fontAlgn="ctr">
                        <a:buNone/>
                      </a:pPr>
                      <a:r>
                        <a:rPr lang="en-US" altLang="da-DK" sz="1100" b="1" i="0" u="none" strike="noStrike">
                          <a:solidFill>
                            <a:srgbClr val="2AA4CA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AC</a:t>
                      </a:r>
                      <a:endParaRPr lang="en-US" alt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ln>
                            <a:noFill/>
                          </a:ln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ln>
                            <a:noFill/>
                          </a:ln>
                          <a:effectLst/>
                          <a:sym typeface="+mn-ea"/>
                        </a:rPr>
                        <a:t>出，支持</a:t>
                      </a:r>
                      <a:r>
                        <a:rPr lang="en-US" altLang="zh-CN" sz="1000">
                          <a:ln>
                            <a:noFill/>
                          </a:ln>
                          <a:effectLst/>
                          <a:sym typeface="+mn-ea"/>
                        </a:rPr>
                        <a:t>16</a:t>
                      </a:r>
                      <a:r>
                        <a:rPr lang="da-DK" sz="1000">
                          <a:ln>
                            <a:noFill/>
                          </a:ln>
                          <a:effectLst/>
                          <a:sym typeface="+mn-ea"/>
                        </a:rPr>
                        <a:t>K</a:t>
                      </a:r>
                      <a:r>
                        <a:rPr lang="zh-CN" altLang="en-US" sz="1000">
                          <a:ln>
                            <a:noFill/>
                          </a:ln>
                          <a:effectLst/>
                          <a:sym typeface="+mn-ea"/>
                        </a:rPr>
                        <a:t>音频</a:t>
                      </a:r>
                      <a:endParaRPr lang="zh-CN" alt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zh-CN" altLang="en-US" sz="1000" u="none" strike="noStrike">
                          <a:effectLst/>
                        </a:rPr>
                        <a:t>无</a:t>
                      </a:r>
                      <a:endParaRPr lang="zh-CN" altLang="en-US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zh-CN" altLang="da-DK" sz="1000" u="none" strike="noStrike">
                          <a:effectLst/>
                        </a:rPr>
                        <a:t>无</a:t>
                      </a:r>
                      <a:endParaRPr lang="zh-CN" altLang="da-DK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zh-CN" altLang="en-US" sz="1000" u="none" strike="noStrike">
                          <a:effectLst/>
                        </a:rPr>
                        <a:t>无</a:t>
                      </a:r>
                      <a:endParaRPr lang="zh-CN" altLang="en-US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2366">
                <a:tc>
                  <a:txBody>
                    <a:bodyPr/>
                    <a:p>
                      <a:pPr algn="ctr" rtl="0" fontAlgn="ctr">
                        <a:buNone/>
                      </a:pPr>
                      <a:r>
                        <a:rPr lang="en-US" altLang="da-DK" sz="1100" b="1" i="0" u="none" strike="noStrike">
                          <a:solidFill>
                            <a:srgbClr val="2AA4CA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PDM</a:t>
                      </a:r>
                      <a:endParaRPr lang="en-US" alt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ln>
                            <a:noFill/>
                          </a:ln>
                          <a:effectLst/>
                          <a:sym typeface="+mn-ea"/>
                        </a:rPr>
                        <a:t>1</a:t>
                      </a:r>
                      <a:r>
                        <a:rPr lang="zh-CN" altLang="en-US" sz="1000">
                          <a:ln>
                            <a:noFill/>
                          </a:ln>
                          <a:effectLst/>
                          <a:sym typeface="+mn-ea"/>
                        </a:rPr>
                        <a:t>入，支持</a:t>
                      </a:r>
                      <a:r>
                        <a:rPr lang="en-US" altLang="zh-CN" sz="1000">
                          <a:ln>
                            <a:noFill/>
                          </a:ln>
                          <a:effectLst/>
                          <a:sym typeface="+mn-ea"/>
                        </a:rPr>
                        <a:t>16</a:t>
                      </a:r>
                      <a:r>
                        <a:rPr lang="da-DK" sz="1000">
                          <a:ln>
                            <a:noFill/>
                          </a:ln>
                          <a:effectLst/>
                          <a:sym typeface="+mn-ea"/>
                        </a:rPr>
                        <a:t>K</a:t>
                      </a:r>
                      <a:r>
                        <a:rPr lang="zh-CN" altLang="en-US" sz="1000">
                          <a:ln>
                            <a:noFill/>
                          </a:ln>
                          <a:effectLst/>
                          <a:sym typeface="+mn-ea"/>
                        </a:rPr>
                        <a:t>音频</a:t>
                      </a:r>
                      <a:endParaRPr lang="zh-CN" alt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入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出，支持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16</a:t>
                      </a:r>
                      <a:r>
                        <a:rPr lang="da-DK" sz="1000">
                          <a:effectLst/>
                          <a:sym typeface="+mn-ea"/>
                        </a:rPr>
                        <a:t>K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音频</a:t>
                      </a:r>
                      <a:endParaRPr lang="zh-CN" altLang="en-US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入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出，支持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16</a:t>
                      </a:r>
                      <a:r>
                        <a:rPr lang="da-DK" sz="1000">
                          <a:effectLst/>
                          <a:sym typeface="+mn-ea"/>
                        </a:rPr>
                        <a:t>K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音频</a:t>
                      </a:r>
                      <a:endParaRPr lang="zh-CN" altLang="da-DK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入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出，支持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16</a:t>
                      </a:r>
                      <a:r>
                        <a:rPr lang="da-DK" sz="1000">
                          <a:effectLst/>
                          <a:sym typeface="+mn-ea"/>
                        </a:rPr>
                        <a:t>K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音频</a:t>
                      </a:r>
                      <a:endParaRPr lang="zh-CN" altLang="en-US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6865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I2S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1</a:t>
                      </a:r>
                      <a:r>
                        <a:rPr lang="zh-CN" altLang="en-US" sz="1000" u="none" strike="noStrike" dirty="0">
                          <a:effectLst/>
                        </a:rPr>
                        <a:t>入</a:t>
                      </a:r>
                      <a:r>
                        <a:rPr lang="en-US" altLang="zh-CN" sz="1000" u="none" strike="noStrike" dirty="0">
                          <a:effectLst/>
                        </a:rPr>
                        <a:t>1</a:t>
                      </a:r>
                      <a:r>
                        <a:rPr lang="zh-CN" altLang="en-US" sz="1000" u="none" strike="noStrike" dirty="0">
                          <a:effectLst/>
                        </a:rPr>
                        <a:t>出，支持</a:t>
                      </a:r>
                      <a:r>
                        <a:rPr lang="en-US" altLang="zh-CN" sz="1000" u="none" strike="noStrike" dirty="0">
                          <a:effectLst/>
                        </a:rPr>
                        <a:t>16</a:t>
                      </a:r>
                      <a:r>
                        <a:rPr lang="da-DK" sz="1000" u="none" strike="noStrike" dirty="0">
                          <a:effectLst/>
                        </a:rPr>
                        <a:t>K</a:t>
                      </a:r>
                      <a:r>
                        <a:rPr lang="zh-CN" altLang="en-US" sz="1000" u="none" strike="noStrike" dirty="0">
                          <a:effectLst/>
                        </a:rPr>
                        <a:t>音频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入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出，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支持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8</a:t>
                      </a:r>
                      <a:r>
                        <a:rPr lang="da-DK" sz="1000">
                          <a:effectLst/>
                          <a:sym typeface="+mn-ea"/>
                        </a:rPr>
                        <a:t>K，16K，32K，48K，96K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音频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dirty="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 dirty="0">
                          <a:effectLst/>
                          <a:sym typeface="+mn-ea"/>
                        </a:rPr>
                        <a:t>入</a:t>
                      </a:r>
                      <a:r>
                        <a:rPr lang="en-US" altLang="zh-CN" sz="1000" dirty="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 dirty="0">
                          <a:effectLst/>
                          <a:sym typeface="+mn-ea"/>
                        </a:rPr>
                        <a:t>出，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支持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8</a:t>
                      </a:r>
                      <a:r>
                        <a:rPr lang="da-DK" sz="1000">
                          <a:effectLst/>
                          <a:sym typeface="+mn-ea"/>
                        </a:rPr>
                        <a:t>K，16K，32K，48K，96K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音频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dirty="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 dirty="0">
                          <a:effectLst/>
                          <a:sym typeface="+mn-ea"/>
                        </a:rPr>
                        <a:t>入</a:t>
                      </a:r>
                      <a:r>
                        <a:rPr lang="en-US" altLang="zh-CN" sz="1000" dirty="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 dirty="0">
                          <a:effectLst/>
                          <a:sym typeface="+mn-ea"/>
                        </a:rPr>
                        <a:t>出，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支持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8</a:t>
                      </a:r>
                      <a:r>
                        <a:rPr lang="da-DK" sz="1000">
                          <a:effectLst/>
                          <a:sym typeface="+mn-ea"/>
                        </a:rPr>
                        <a:t>K，16K，32K，48K，96K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音频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SPI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1</a:t>
                      </a:r>
                      <a:r>
                        <a:rPr lang="zh-CN" altLang="en-US" sz="1000" u="none" strike="noStrike" dirty="0">
                          <a:effectLst/>
                        </a:rPr>
                        <a:t>个，支持</a:t>
                      </a:r>
                      <a:r>
                        <a:rPr lang="da-DK" sz="1000" u="none" strike="noStrike" dirty="0">
                          <a:effectLst/>
                        </a:rPr>
                        <a:t>Master</a:t>
                      </a:r>
                      <a:r>
                        <a:rPr lang="zh-CN" altLang="en-US" sz="1000" u="none" strike="noStrike" dirty="0">
                          <a:effectLst/>
                        </a:rPr>
                        <a:t>模式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个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个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</a:rPr>
                        <a:t>个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1034">
                <a:tc vMerge="1">
                  <a:tcPr/>
                </a:tc>
                <a:tc vMerge="1"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da-DK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I0</a:t>
                      </a:r>
                      <a:r>
                        <a:rPr lang="zh-CN" alt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支持</a:t>
                      </a:r>
                      <a:r>
                        <a:rPr lang="da-DK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ter/Slave</a:t>
                      </a:r>
                      <a:r>
                        <a:rPr lang="zh-CN" alt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模式</a:t>
                      </a:r>
                      <a:endParaRPr lang="zh-CN" alt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da-DK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I0</a:t>
                      </a:r>
                      <a:r>
                        <a:rPr lang="zh-CN" alt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支持</a:t>
                      </a:r>
                      <a:r>
                        <a:rPr lang="da-DK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ter/Slave</a:t>
                      </a:r>
                      <a:r>
                        <a:rPr lang="zh-CN" alt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模式</a:t>
                      </a:r>
                      <a:endParaRPr lang="zh-CN" alt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SPI0</a:t>
                      </a:r>
                      <a:r>
                        <a:rPr lang="zh-CN" altLang="en-US" sz="1000" u="none" strike="noStrike">
                          <a:effectLst/>
                        </a:rPr>
                        <a:t>支持</a:t>
                      </a:r>
                      <a:r>
                        <a:rPr lang="da-DK" sz="1000" u="none" strike="noStrike">
                          <a:effectLst/>
                        </a:rPr>
                        <a:t>Master/Slave</a:t>
                      </a:r>
                      <a:r>
                        <a:rPr lang="zh-CN" altLang="en-US" sz="1000" u="none" strike="noStrike">
                          <a:effectLst/>
                        </a:rPr>
                        <a:t>模式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0358">
                <a:tc vMerge="1">
                  <a:tcPr/>
                </a:tc>
                <a:tc vMerge="1"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da-DK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I1</a:t>
                      </a:r>
                      <a:r>
                        <a:rPr lang="zh-CN" alt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只支持</a:t>
                      </a:r>
                      <a:r>
                        <a:rPr lang="da-DK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ter</a:t>
                      </a:r>
                      <a:r>
                        <a:rPr lang="zh-CN" alt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模式</a:t>
                      </a:r>
                      <a:endParaRPr lang="zh-CN" alt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da-DK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I1</a:t>
                      </a:r>
                      <a:r>
                        <a:rPr lang="zh-CN" alt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只支持</a:t>
                      </a:r>
                      <a:r>
                        <a:rPr lang="da-DK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ter</a:t>
                      </a:r>
                      <a:r>
                        <a:rPr lang="zh-CN" alt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模式</a:t>
                      </a:r>
                      <a:endParaRPr lang="zh-CN" alt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 dirty="0">
                          <a:effectLst/>
                        </a:rPr>
                        <a:t>SPI1</a:t>
                      </a:r>
                      <a:r>
                        <a:rPr lang="zh-CN" altLang="en-US" sz="1000" u="none" strike="noStrike" dirty="0">
                          <a:effectLst/>
                        </a:rPr>
                        <a:t>只支持</a:t>
                      </a:r>
                      <a:r>
                        <a:rPr lang="da-DK" sz="1000" u="none" strike="noStrike" dirty="0">
                          <a:effectLst/>
                        </a:rPr>
                        <a:t>Master</a:t>
                      </a:r>
                      <a:r>
                        <a:rPr lang="zh-CN" altLang="en-US" sz="1000" u="none" strike="noStrike" dirty="0">
                          <a:effectLst/>
                        </a:rPr>
                        <a:t>模式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5368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I2C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1</a:t>
                      </a:r>
                      <a:r>
                        <a:rPr lang="zh-CN" altLang="en-US" sz="1000" u="none" strike="noStrike">
                          <a:effectLst/>
                        </a:rPr>
                        <a:t>个，支持</a:t>
                      </a:r>
                      <a:r>
                        <a:rPr lang="da-DK" sz="1000" u="none" strike="noStrike">
                          <a:effectLst/>
                        </a:rPr>
                        <a:t>Master</a:t>
                      </a:r>
                      <a:r>
                        <a:rPr lang="zh-CN" altLang="en-US" sz="1000" u="none" strike="noStrike">
                          <a:effectLst/>
                        </a:rPr>
                        <a:t>模式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个，支持</a:t>
                      </a:r>
                      <a:r>
                        <a:rPr lang="da-DK" sz="1000" u="none" strike="noStrike" dirty="0">
                          <a:effectLst/>
                        </a:rPr>
                        <a:t>Master/Slave</a:t>
                      </a:r>
                      <a:r>
                        <a:rPr lang="zh-CN" altLang="en-US" sz="1000" u="none" strike="noStrike" dirty="0">
                          <a:effectLst/>
                        </a:rPr>
                        <a:t>模式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个，支持</a:t>
                      </a:r>
                      <a:r>
                        <a:rPr lang="da-DK" sz="1000" u="none" strike="noStrike" dirty="0">
                          <a:effectLst/>
                        </a:rPr>
                        <a:t>Master/Slave</a:t>
                      </a:r>
                      <a:r>
                        <a:rPr lang="zh-CN" altLang="en-US" sz="1000" u="none" strike="noStrike" dirty="0">
                          <a:effectLst/>
                        </a:rPr>
                        <a:t>模式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</a:rPr>
                        <a:t>个，支持</a:t>
                      </a:r>
                      <a:r>
                        <a:rPr lang="da-DK" sz="1000" u="none" strike="noStrike">
                          <a:effectLst/>
                        </a:rPr>
                        <a:t>Master/Slave</a:t>
                      </a:r>
                      <a:r>
                        <a:rPr lang="zh-CN" altLang="en-US" sz="1000" u="none" strike="noStrike">
                          <a:effectLst/>
                        </a:rPr>
                        <a:t>模式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4790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UART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</a:rPr>
                        <a:t>个，最高波特率</a:t>
                      </a:r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da-DK" sz="1000" u="none" strike="noStrike">
                          <a:effectLst/>
                        </a:rPr>
                        <a:t>Mbps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</a:rPr>
                        <a:t>个，最高波特率</a:t>
                      </a:r>
                      <a:r>
                        <a:rPr lang="en-US" altLang="zh-CN" sz="1000" u="none" strike="noStrike" dirty="0">
                          <a:effectLst/>
                        </a:rPr>
                        <a:t>2</a:t>
                      </a:r>
                      <a:r>
                        <a:rPr lang="da-DK" sz="1000" u="none" strike="noStrike" dirty="0" err="1">
                          <a:effectLst/>
                        </a:rPr>
                        <a:t>Mbps</a:t>
                      </a:r>
                      <a:endParaRPr 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</a:rPr>
                        <a:t>个，最高波特率</a:t>
                      </a:r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da-DK" sz="1000" u="none" strike="noStrike">
                          <a:effectLst/>
                        </a:rPr>
                        <a:t>Mbps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</a:rPr>
                        <a:t>个，最高波特率</a:t>
                      </a:r>
                      <a:r>
                        <a:rPr lang="en-US" altLang="zh-CN" sz="1000" u="none" strike="noStrike">
                          <a:effectLst/>
                        </a:rPr>
                        <a:t>2</a:t>
                      </a:r>
                      <a:r>
                        <a:rPr lang="da-DK" sz="1000" u="none" strike="noStrike">
                          <a:effectLst/>
                        </a:rPr>
                        <a:t>Mbps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PWM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4</a:t>
                      </a:r>
                      <a:r>
                        <a:rPr lang="zh-CN" altLang="en-US" sz="1000" u="none" strike="noStrike">
                          <a:effectLst/>
                        </a:rPr>
                        <a:t>个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4</a:t>
                      </a:r>
                      <a:r>
                        <a:rPr lang="zh-CN" altLang="en-US" sz="1000" u="none" strike="noStrike" dirty="0">
                          <a:effectLst/>
                        </a:rPr>
                        <a:t>个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4</a:t>
                      </a:r>
                      <a:r>
                        <a:rPr lang="zh-CN" altLang="en-US" sz="1000" u="none" strike="noStrike" dirty="0">
                          <a:effectLst/>
                        </a:rPr>
                        <a:t>个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22</a:t>
                      </a:r>
                      <a:r>
                        <a:rPr lang="zh-CN" altLang="en-US" sz="1000" u="none" strike="noStrike">
                          <a:effectLst/>
                        </a:rPr>
                        <a:t>个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GPIO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16</a:t>
                      </a:r>
                      <a:r>
                        <a:rPr lang="zh-CN" altLang="en-US" sz="1000" u="none" strike="noStrike">
                          <a:effectLst/>
                        </a:rPr>
                        <a:t>个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4</a:t>
                      </a:r>
                      <a:r>
                        <a:rPr lang="zh-CN" altLang="en-US" sz="1000" u="none" strike="noStrike" dirty="0">
                          <a:effectLst/>
                        </a:rPr>
                        <a:t>个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4</a:t>
                      </a:r>
                      <a:r>
                        <a:rPr lang="zh-CN" altLang="en-US" sz="1000" u="none" strike="noStrike" dirty="0">
                          <a:effectLst/>
                        </a:rPr>
                        <a:t>个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22</a:t>
                      </a:r>
                      <a:r>
                        <a:rPr lang="zh-CN" altLang="en-US" sz="1000" u="none" strike="noStrike" dirty="0">
                          <a:effectLst/>
                        </a:rPr>
                        <a:t>个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TOUCH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无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</a:rPr>
                        <a:t>8</a:t>
                      </a:r>
                      <a:r>
                        <a:rPr lang="zh-CN" altLang="en-US" sz="1000" u="none" strike="noStrike">
                          <a:effectLst/>
                        </a:rPr>
                        <a:t>个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8</a:t>
                      </a:r>
                      <a:r>
                        <a:rPr lang="zh-CN" altLang="en-US" sz="1000" u="none" strike="noStrike" dirty="0">
                          <a:effectLst/>
                        </a:rPr>
                        <a:t>个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8</a:t>
                      </a:r>
                      <a:r>
                        <a:rPr lang="zh-CN" altLang="en-US" sz="1000" u="none" strike="noStrike" dirty="0">
                          <a:effectLst/>
                        </a:rPr>
                        <a:t>个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p>
                      <a:pPr algn="ctr" rtl="0" fontAlgn="ctr">
                        <a:buNone/>
                      </a:pPr>
                      <a:r>
                        <a:rPr lang="en-US" altLang="da-DK" sz="1100" b="1" i="0" u="none" strike="noStrike">
                          <a:solidFill>
                            <a:srgbClr val="2AA4CA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SAR </a:t>
                      </a:r>
                      <a:r>
                        <a:rPr lang="en-US" altLang="da-DK" sz="1100" b="1" i="0" u="none" strike="noStrike">
                          <a:solidFill>
                            <a:srgbClr val="2AA4CA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ADC</a:t>
                      </a:r>
                      <a:endParaRPr lang="en-US" alt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zh-CN" altLang="en-US" sz="1000" b="0" i="0" u="none" strike="noStrike">
                          <a:solidFill>
                            <a:srgbClr val="262626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effectLst/>
                          <a:sym typeface="+mn-ea"/>
                        </a:rPr>
                        <a:t>4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路单端模拟量输入或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路差分模拟量输入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effectLst/>
                          <a:sym typeface="+mn-ea"/>
                        </a:rPr>
                        <a:t>4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路单端模拟量输入或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路差分模拟量输入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algn="l" rtl="0" fontAlgn="ctr">
                        <a:buNone/>
                      </a:pPr>
                      <a:r>
                        <a:rPr lang="en-US" altLang="zh-CN" sz="1000">
                          <a:effectLst/>
                          <a:sym typeface="+mn-ea"/>
                        </a:rPr>
                        <a:t>4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路单端模拟量输入或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2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路差分模拟量输入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EFUSE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无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支持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支持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支持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5368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AES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无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支持</a:t>
                      </a:r>
                      <a:r>
                        <a:rPr lang="da-DK" sz="1000" u="none" strike="noStrike" dirty="0">
                          <a:effectLst/>
                        </a:rPr>
                        <a:t>AES 128/192/256</a:t>
                      </a:r>
                      <a:r>
                        <a:rPr lang="zh-CN" altLang="en-US" sz="1000" u="none" strike="noStrike" dirty="0">
                          <a:effectLst/>
                        </a:rPr>
                        <a:t>加解密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支持</a:t>
                      </a:r>
                      <a:r>
                        <a:rPr lang="da-DK" sz="1000" u="none" strike="noStrike" dirty="0">
                          <a:effectLst/>
                        </a:rPr>
                        <a:t>AES 128/192/256</a:t>
                      </a:r>
                      <a:r>
                        <a:rPr lang="zh-CN" altLang="en-US" sz="1000" u="none" strike="noStrike" dirty="0">
                          <a:effectLst/>
                        </a:rPr>
                        <a:t>加解密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支持</a:t>
                      </a:r>
                      <a:r>
                        <a:rPr lang="da-DK" sz="1000" u="none" strike="noStrike">
                          <a:effectLst/>
                        </a:rPr>
                        <a:t>AES 128/192/256</a:t>
                      </a:r>
                      <a:r>
                        <a:rPr lang="zh-CN" altLang="en-US" sz="1000" u="none" strike="noStrike">
                          <a:effectLst/>
                        </a:rPr>
                        <a:t>加解密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103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LDO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无，需外接</a:t>
                      </a:r>
                      <a:r>
                        <a:rPr lang="en-US" altLang="zh-CN" sz="1000" u="none" strike="noStrike" dirty="0">
                          <a:effectLst/>
                        </a:rPr>
                        <a:t>3.3</a:t>
                      </a:r>
                      <a:r>
                        <a:rPr lang="da-DK" sz="1000" u="none" strike="noStrike" dirty="0">
                          <a:effectLst/>
                        </a:rPr>
                        <a:t>V</a:t>
                      </a:r>
                      <a:r>
                        <a:rPr lang="zh-CN" altLang="en-US" sz="1000" u="none" strike="noStrike" dirty="0">
                          <a:effectLst/>
                        </a:rPr>
                        <a:t>和</a:t>
                      </a:r>
                      <a:r>
                        <a:rPr lang="en-US" altLang="zh-CN" sz="1000" u="none" strike="noStrike" dirty="0">
                          <a:effectLst/>
                        </a:rPr>
                        <a:t>1.2</a:t>
                      </a:r>
                      <a:r>
                        <a:rPr lang="da-DK" sz="1000" u="none" strike="noStrike" dirty="0">
                          <a:effectLst/>
                        </a:rPr>
                        <a:t>V</a:t>
                      </a:r>
                      <a:r>
                        <a:rPr lang="zh-CN" altLang="en-US" sz="1000" u="none" strike="noStrike" dirty="0">
                          <a:effectLst/>
                        </a:rPr>
                        <a:t>供电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集成带掉电检测功能的</a:t>
                      </a:r>
                      <a:r>
                        <a:rPr lang="da-DK" sz="1000" u="none" strike="noStrike" dirty="0">
                          <a:effectLst/>
                        </a:rPr>
                        <a:t>LDO</a:t>
                      </a:r>
                      <a:endParaRPr 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集成带掉电检测功能的</a:t>
                      </a:r>
                      <a:r>
                        <a:rPr lang="da-DK" sz="1000" u="none" strike="noStrike">
                          <a:effectLst/>
                        </a:rPr>
                        <a:t>LDO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集成带掉电检测功能的</a:t>
                      </a:r>
                      <a:r>
                        <a:rPr lang="da-DK" sz="1000" u="none" strike="noStrike" dirty="0">
                          <a:effectLst/>
                        </a:rPr>
                        <a:t>LDO</a:t>
                      </a:r>
                      <a:endParaRPr 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8370">
                <a:tc vMerge="1">
                  <a:tcPr/>
                </a:tc>
                <a:tc vMerge="1"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提供</a:t>
                      </a:r>
                      <a:r>
                        <a:rPr lang="en-US" altLang="zh-CN" sz="1000" u="none" strike="noStrike" dirty="0">
                          <a:effectLst/>
                        </a:rPr>
                        <a:t>1.1</a:t>
                      </a:r>
                      <a:r>
                        <a:rPr lang="da-DK" sz="1000" u="none" strike="noStrike" dirty="0">
                          <a:effectLst/>
                        </a:rPr>
                        <a:t>V/1.8V</a:t>
                      </a:r>
                      <a:r>
                        <a:rPr lang="zh-CN" altLang="en-US" sz="1000" u="none" strike="noStrike" dirty="0">
                          <a:effectLst/>
                        </a:rPr>
                        <a:t>电压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提供</a:t>
                      </a:r>
                      <a:r>
                        <a:rPr lang="en-US" altLang="zh-CN" sz="1000" u="none" strike="noStrike">
                          <a:effectLst/>
                        </a:rPr>
                        <a:t>1.1</a:t>
                      </a:r>
                      <a:r>
                        <a:rPr lang="da-DK" sz="1000" u="none" strike="noStrike">
                          <a:effectLst/>
                        </a:rPr>
                        <a:t>V/1.8V</a:t>
                      </a:r>
                      <a:r>
                        <a:rPr lang="zh-CN" altLang="en-US" sz="1000" u="none" strike="noStrike">
                          <a:effectLst/>
                        </a:rPr>
                        <a:t>电压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提供</a:t>
                      </a:r>
                      <a:r>
                        <a:rPr lang="en-US" altLang="zh-CN" sz="1000" u="none" strike="noStrike" dirty="0">
                          <a:effectLst/>
                        </a:rPr>
                        <a:t>1.1</a:t>
                      </a:r>
                      <a:r>
                        <a:rPr lang="da-DK" sz="1000" u="none" strike="noStrike" dirty="0">
                          <a:effectLst/>
                        </a:rPr>
                        <a:t>V/1.8V</a:t>
                      </a:r>
                      <a:r>
                        <a:rPr lang="zh-CN" altLang="en-US" sz="1000" u="none" strike="noStrike" dirty="0">
                          <a:effectLst/>
                        </a:rPr>
                        <a:t>电压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5368"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OSC</a:t>
                      </a:r>
                      <a:endParaRPr lang="da-DK" sz="1100" b="1" i="0" u="none" strike="noStrike">
                        <a:solidFill>
                          <a:srgbClr val="2AA4CA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无，需外接</a:t>
                      </a:r>
                      <a:r>
                        <a:rPr lang="en-US" altLang="zh-CN" sz="1000" u="none" strike="noStrike">
                          <a:effectLst/>
                        </a:rPr>
                        <a:t>24.576</a:t>
                      </a:r>
                      <a:r>
                        <a:rPr lang="da-DK" sz="1000" u="none" strike="noStrike">
                          <a:effectLst/>
                        </a:rPr>
                        <a:t>MHz</a:t>
                      </a:r>
                      <a:r>
                        <a:rPr lang="zh-CN" altLang="en-US" sz="1000" u="none" strike="noStrike">
                          <a:effectLst/>
                        </a:rPr>
                        <a:t>晶体</a:t>
                      </a:r>
                      <a:endParaRPr lang="zh-CN" altLang="en-US" sz="1000" b="0" i="0" u="none" strike="noStrike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</a:rPr>
                        <a:t>集成</a:t>
                      </a:r>
                      <a:r>
                        <a:rPr lang="en-US" altLang="zh-CN" sz="1000" u="none" strike="noStrike" dirty="0">
                          <a:effectLst/>
                        </a:rPr>
                        <a:t>24.576</a:t>
                      </a:r>
                      <a:r>
                        <a:rPr lang="da-DK" sz="1000" u="none" strike="noStrike" dirty="0">
                          <a:effectLst/>
                        </a:rPr>
                        <a:t>MHz</a:t>
                      </a:r>
                      <a:r>
                        <a:rPr lang="zh-CN" altLang="en-US" sz="1000" u="none" strike="noStrike" dirty="0">
                          <a:effectLst/>
                        </a:rPr>
                        <a:t>的振荡器或外接</a:t>
                      </a:r>
                      <a:r>
                        <a:rPr lang="zh-CN" altLang="en-US" sz="1000" u="none" strike="noStrike" dirty="0">
                          <a:effectLst/>
                        </a:rPr>
                        <a:t>晶体</a:t>
                      </a:r>
                      <a:endParaRPr lang="zh-CN" altLang="en-US" sz="1000" u="none" strike="noStrike" dirty="0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</a:rPr>
                        <a:t>集成</a:t>
                      </a:r>
                      <a:r>
                        <a:rPr lang="en-US" altLang="zh-CN" sz="1000" u="none" strike="noStrike">
                          <a:effectLst/>
                        </a:rPr>
                        <a:t>24.576</a:t>
                      </a:r>
                      <a:r>
                        <a:rPr lang="da-DK" sz="1000" u="none" strike="noStrike">
                          <a:effectLst/>
                        </a:rPr>
                        <a:t>MHz</a:t>
                      </a:r>
                      <a:r>
                        <a:rPr lang="zh-CN" altLang="en-US" sz="1000" u="none" strike="noStrike">
                          <a:effectLst/>
                        </a:rPr>
                        <a:t>的振荡器或外接</a:t>
                      </a:r>
                      <a:r>
                        <a:rPr lang="zh-CN" altLang="en-US" sz="1000" u="none" strike="noStrike">
                          <a:effectLst/>
                        </a:rPr>
                        <a:t>晶体</a:t>
                      </a:r>
                      <a:endParaRPr lang="zh-CN" altLang="en-US" sz="1000" u="none" strike="noStrike">
                        <a:effectLst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>
                          <a:effectLst/>
                          <a:sym typeface="+mn-ea"/>
                        </a:rPr>
                        <a:t>集成</a:t>
                      </a:r>
                      <a:r>
                        <a:rPr lang="en-US" altLang="zh-CN" sz="1000">
                          <a:effectLst/>
                          <a:sym typeface="+mn-ea"/>
                        </a:rPr>
                        <a:t>24.576</a:t>
                      </a:r>
                      <a:r>
                        <a:rPr lang="da-DK" sz="1000">
                          <a:effectLst/>
                          <a:sym typeface="+mn-ea"/>
                        </a:rPr>
                        <a:t>MHz</a:t>
                      </a:r>
                      <a:r>
                        <a:rPr lang="zh-CN" altLang="en-US" sz="1000">
                          <a:effectLst/>
                          <a:sym typeface="+mn-ea"/>
                        </a:rPr>
                        <a:t>的振荡器或外接晶体</a:t>
                      </a:r>
                      <a:endParaRPr lang="zh-CN" altLang="en-US" sz="1000" b="0" i="0" u="none" strike="noStrike" dirty="0">
                        <a:solidFill>
                          <a:srgbClr val="262626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封装</a:t>
                      </a:r>
                      <a:endParaRPr lang="zh-CN" altLang="en-US" sz="1100" b="1" i="0" u="none" strike="noStrike">
                        <a:solidFill>
                          <a:srgbClr val="2AA4CA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QFN68-8x8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altLang="zh-CN" sz="1000" u="none" strike="noStrike" dirty="0">
                          <a:effectLst/>
                        </a:rPr>
                        <a:t>QFN48-6x6</a:t>
                      </a:r>
                      <a:endParaRPr lang="da-DK" altLang="zh-CN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altLang="zh-CN" sz="1000" u="none" strike="noStrike" dirty="0">
                          <a:effectLst/>
                        </a:rPr>
                        <a:t>QFN48-6x6</a:t>
                      </a:r>
                      <a:endParaRPr lang="da-DK" altLang="zh-CN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 dirty="0">
                          <a:effectLst/>
                        </a:rPr>
                        <a:t>QFN48-6x6</a:t>
                      </a:r>
                      <a:endParaRPr 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u="none" strike="noStrike">
                          <a:solidFill>
                            <a:srgbClr val="2AA4CA"/>
                          </a:solidFill>
                          <a:effectLst/>
                        </a:rPr>
                        <a:t>待机功耗</a:t>
                      </a:r>
                      <a:endParaRPr lang="zh-CN" altLang="en-US" sz="1100" b="1" i="0" u="none" strike="noStrike">
                        <a:solidFill>
                          <a:srgbClr val="2AA4CA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15mW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6mW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6mW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 dirty="0">
                          <a:effectLst/>
                        </a:rPr>
                        <a:t>6mW</a:t>
                      </a:r>
                      <a:endParaRPr 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100" b="1" u="none" strike="noStrike" dirty="0">
                          <a:solidFill>
                            <a:srgbClr val="2AA4CA"/>
                          </a:solidFill>
                          <a:effectLst/>
                        </a:rPr>
                        <a:t>待机唤醒功耗</a:t>
                      </a:r>
                      <a:endParaRPr lang="zh-CN" altLang="en-US" sz="1100" b="1" i="0" u="none" strike="noStrike" dirty="0">
                        <a:solidFill>
                          <a:srgbClr val="2AA4CA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251" marR="3251" marT="3251" marB="0" anchor="ctr">
                    <a:solidFill>
                      <a:srgbClr val="E6F2F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</a:rPr>
                        <a:t>10</a:t>
                      </a:r>
                      <a:r>
                        <a:rPr lang="da-DK" sz="1000" u="none" strike="noStrike" dirty="0">
                          <a:effectLst/>
                        </a:rPr>
                        <a:t>0mW</a:t>
                      </a:r>
                      <a:endParaRPr 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 dirty="0">
                          <a:effectLst/>
                        </a:rPr>
                        <a:t>10mW</a:t>
                      </a:r>
                      <a:endParaRPr 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>
                          <a:effectLst/>
                        </a:rPr>
                        <a:t>10mW</a:t>
                      </a:r>
                      <a:endParaRPr lang="da-DK" sz="1000" b="0" i="0" u="none" strike="noStrike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1000" u="none" strike="noStrike" dirty="0">
                          <a:effectLst/>
                        </a:rPr>
                        <a:t>10mW</a:t>
                      </a:r>
                      <a:endParaRPr lang="da-DK" sz="1000" b="0" i="0" u="none" strike="noStrike" dirty="0">
                        <a:solidFill>
                          <a:srgbClr val="262626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251" marR="3251" marT="32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矩形 28"/>
          <p:cNvSpPr/>
          <p:nvPr/>
        </p:nvSpPr>
        <p:spPr>
          <a:xfrm>
            <a:off x="-96688" y="0"/>
            <a:ext cx="12311672" cy="6858000"/>
          </a:xfrm>
          <a:prstGeom prst="rect">
            <a:avLst/>
          </a:prstGeom>
          <a:solidFill>
            <a:srgbClr val="009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grpSp>
        <p:nvGrpSpPr>
          <p:cNvPr id="30" name="组合 29"/>
          <p:cNvGrpSpPr/>
          <p:nvPr/>
        </p:nvGrpSpPr>
        <p:grpSpPr>
          <a:xfrm>
            <a:off x="8904312" y="-36651"/>
            <a:ext cx="3310672" cy="12922418"/>
            <a:chOff x="7037618" y="-36651"/>
            <a:chExt cx="5193828" cy="12922418"/>
          </a:xfrm>
        </p:grpSpPr>
        <p:sp>
          <p:nvSpPr>
            <p:cNvPr id="31" name="平行四边形 30"/>
            <p:cNvSpPr/>
            <p:nvPr/>
          </p:nvSpPr>
          <p:spPr>
            <a:xfrm rot="16200000" flipH="1">
              <a:off x="4831933" y="2169034"/>
              <a:ext cx="9605197" cy="5193828"/>
            </a:xfrm>
            <a:prstGeom prst="parallelogram">
              <a:avLst>
                <a:gd name="adj" fmla="val 51115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  <a:alpha val="20000"/>
                  </a:schemeClr>
                </a:gs>
                <a:gs pos="100000">
                  <a:schemeClr val="bg2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2" name="平行四边形 31"/>
            <p:cNvSpPr/>
            <p:nvPr/>
          </p:nvSpPr>
          <p:spPr>
            <a:xfrm rot="16200000" flipH="1">
              <a:off x="4831933" y="5486255"/>
              <a:ext cx="9605197" cy="5193828"/>
            </a:xfrm>
            <a:prstGeom prst="parallelogram">
              <a:avLst>
                <a:gd name="adj" fmla="val 51115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  <a:alpha val="20000"/>
                  </a:schemeClr>
                </a:gs>
                <a:gs pos="100000">
                  <a:schemeClr val="bg2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33" name="文本框 32"/>
          <p:cNvSpPr txBox="1"/>
          <p:nvPr/>
        </p:nvSpPr>
        <p:spPr>
          <a:xfrm>
            <a:off x="14512" y="1340768"/>
            <a:ext cx="122089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境科技</a:t>
            </a:r>
            <a:endParaRPr kumimoji="1" lang="en-US" altLang="zh-CN" sz="3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7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底层核心技术</a:t>
            </a:r>
            <a:endParaRPr kumimoji="1" lang="en-US" altLang="zh-CN" sz="7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168696" y="4279619"/>
            <a:ext cx="1239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FA</a:t>
            </a:r>
            <a:r>
              <a:rPr kumimoji="1"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芯片架构</a:t>
            </a:r>
            <a:r>
              <a:rPr kumimoji="1"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AI</a:t>
            </a:r>
            <a:r>
              <a:rPr kumimoji="1"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算法强强联合</a:t>
            </a:r>
            <a:endParaRPr kumimoji="1" lang="zh-CN" altLang="en-US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-45550" y="389656"/>
            <a:ext cx="12164955" cy="519064"/>
          </a:xfrm>
          <a:prstGeom prst="rect">
            <a:avLst/>
          </a:prstGeom>
        </p:spPr>
        <p:txBody>
          <a:bodyPr/>
          <a:lstStyle/>
          <a:p>
            <a:pPr algn="ctr"/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FA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芯片架构</a:t>
            </a:r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+AI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算法强强联合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0" name="hexagon_274375"/>
          <p:cNvSpPr>
            <a:spLocks noChangeAspect="1"/>
          </p:cNvSpPr>
          <p:nvPr/>
        </p:nvSpPr>
        <p:spPr>
          <a:xfrm>
            <a:off x="5829852" y="2349397"/>
            <a:ext cx="2786072" cy="2614362"/>
          </a:xfrm>
          <a:custGeom>
            <a:avLst/>
            <a:gdLst>
              <a:gd name="T0" fmla="*/ 6187 w 6258"/>
              <a:gd name="T1" fmla="*/ 1731 h 6833"/>
              <a:gd name="T2" fmla="*/ 3200 w 6258"/>
              <a:gd name="T3" fmla="*/ 25 h 6833"/>
              <a:gd name="T4" fmla="*/ 3059 w 6258"/>
              <a:gd name="T5" fmla="*/ 25 h 6833"/>
              <a:gd name="T6" fmla="*/ 72 w 6258"/>
              <a:gd name="T7" fmla="*/ 1731 h 6833"/>
              <a:gd name="T8" fmla="*/ 0 w 6258"/>
              <a:gd name="T9" fmla="*/ 1855 h 6833"/>
              <a:gd name="T10" fmla="*/ 0 w 6258"/>
              <a:gd name="T11" fmla="*/ 4984 h 6833"/>
              <a:gd name="T12" fmla="*/ 72 w 6258"/>
              <a:gd name="T13" fmla="*/ 5107 h 6833"/>
              <a:gd name="T14" fmla="*/ 3059 w 6258"/>
              <a:gd name="T15" fmla="*/ 6814 h 6833"/>
              <a:gd name="T16" fmla="*/ 3129 w 6258"/>
              <a:gd name="T17" fmla="*/ 6833 h 6833"/>
              <a:gd name="T18" fmla="*/ 3200 w 6258"/>
              <a:gd name="T19" fmla="*/ 6814 h 6833"/>
              <a:gd name="T20" fmla="*/ 6187 w 6258"/>
              <a:gd name="T21" fmla="*/ 5107 h 6833"/>
              <a:gd name="T22" fmla="*/ 6258 w 6258"/>
              <a:gd name="T23" fmla="*/ 4984 h 6833"/>
              <a:gd name="T24" fmla="*/ 6258 w 6258"/>
              <a:gd name="T25" fmla="*/ 1855 h 6833"/>
              <a:gd name="T26" fmla="*/ 6187 w 6258"/>
              <a:gd name="T27" fmla="*/ 1731 h 6833"/>
              <a:gd name="T28" fmla="*/ 5974 w 6258"/>
              <a:gd name="T29" fmla="*/ 4901 h 6833"/>
              <a:gd name="T30" fmla="*/ 3129 w 6258"/>
              <a:gd name="T31" fmla="*/ 6527 h 6833"/>
              <a:gd name="T32" fmla="*/ 285 w 6258"/>
              <a:gd name="T33" fmla="*/ 4901 h 6833"/>
              <a:gd name="T34" fmla="*/ 285 w 6258"/>
              <a:gd name="T35" fmla="*/ 1937 h 6833"/>
              <a:gd name="T36" fmla="*/ 3129 w 6258"/>
              <a:gd name="T37" fmla="*/ 312 h 6833"/>
              <a:gd name="T38" fmla="*/ 5974 w 6258"/>
              <a:gd name="T39" fmla="*/ 1937 h 6833"/>
              <a:gd name="T40" fmla="*/ 5974 w 6258"/>
              <a:gd name="T41" fmla="*/ 4901 h 68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258" h="6833">
                <a:moveTo>
                  <a:pt x="6187" y="1731"/>
                </a:moveTo>
                <a:lnTo>
                  <a:pt x="3200" y="25"/>
                </a:lnTo>
                <a:cubicBezTo>
                  <a:pt x="3156" y="0"/>
                  <a:pt x="3103" y="0"/>
                  <a:pt x="3059" y="25"/>
                </a:cubicBezTo>
                <a:lnTo>
                  <a:pt x="72" y="1731"/>
                </a:lnTo>
                <a:cubicBezTo>
                  <a:pt x="28" y="1757"/>
                  <a:pt x="0" y="1804"/>
                  <a:pt x="0" y="1855"/>
                </a:cubicBezTo>
                <a:lnTo>
                  <a:pt x="0" y="4984"/>
                </a:lnTo>
                <a:cubicBezTo>
                  <a:pt x="0" y="5035"/>
                  <a:pt x="28" y="5082"/>
                  <a:pt x="72" y="5107"/>
                </a:cubicBezTo>
                <a:lnTo>
                  <a:pt x="3059" y="6814"/>
                </a:lnTo>
                <a:cubicBezTo>
                  <a:pt x="3081" y="6826"/>
                  <a:pt x="3105" y="6833"/>
                  <a:pt x="3129" y="6833"/>
                </a:cubicBezTo>
                <a:cubicBezTo>
                  <a:pt x="3154" y="6833"/>
                  <a:pt x="3178" y="6826"/>
                  <a:pt x="3200" y="6814"/>
                </a:cubicBezTo>
                <a:lnTo>
                  <a:pt x="6187" y="5107"/>
                </a:lnTo>
                <a:cubicBezTo>
                  <a:pt x="6231" y="5082"/>
                  <a:pt x="6258" y="5035"/>
                  <a:pt x="6258" y="4984"/>
                </a:cubicBezTo>
                <a:lnTo>
                  <a:pt x="6258" y="1855"/>
                </a:lnTo>
                <a:cubicBezTo>
                  <a:pt x="6258" y="1804"/>
                  <a:pt x="6231" y="1757"/>
                  <a:pt x="6187" y="1731"/>
                </a:cubicBezTo>
                <a:close/>
                <a:moveTo>
                  <a:pt x="5974" y="4901"/>
                </a:moveTo>
                <a:lnTo>
                  <a:pt x="3129" y="6527"/>
                </a:lnTo>
                <a:lnTo>
                  <a:pt x="285" y="4901"/>
                </a:lnTo>
                <a:lnTo>
                  <a:pt x="285" y="1937"/>
                </a:lnTo>
                <a:lnTo>
                  <a:pt x="3129" y="312"/>
                </a:lnTo>
                <a:lnTo>
                  <a:pt x="5974" y="1937"/>
                </a:lnTo>
                <a:lnTo>
                  <a:pt x="5974" y="4901"/>
                </a:lnTo>
                <a:close/>
              </a:path>
            </a:pathLst>
          </a:custGeom>
          <a:solidFill>
            <a:srgbClr val="0386C1"/>
          </a:solidFill>
          <a:ln w="76200">
            <a:solidFill>
              <a:srgbClr val="0386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21" name="五边形 20"/>
          <p:cNvSpPr/>
          <p:nvPr/>
        </p:nvSpPr>
        <p:spPr>
          <a:xfrm>
            <a:off x="-26513" y="2415841"/>
            <a:ext cx="4660669" cy="2657574"/>
          </a:xfrm>
          <a:prstGeom prst="homePlate">
            <a:avLst>
              <a:gd name="adj" fmla="val 175373"/>
            </a:avLst>
          </a:prstGeom>
          <a:gradFill flip="none" rotWithShape="1">
            <a:gsLst>
              <a:gs pos="30000">
                <a:srgbClr val="21B9CE">
                  <a:alpha val="0"/>
                </a:srgbClr>
              </a:gs>
              <a:gs pos="100000">
                <a:srgbClr val="21B9CE">
                  <a:alpha val="2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pic>
        <p:nvPicPr>
          <p:cNvPr id="22" name="Picture 1" descr="page10image23762832"/>
          <p:cNvPicPr>
            <a:picLocks noChangeAspect="1" noChangeArrowheads="1"/>
          </p:cNvPicPr>
          <p:nvPr/>
        </p:nvPicPr>
        <p:blipFill>
          <a:blip r:embed="rId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143" y="3701344"/>
            <a:ext cx="817045" cy="823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组合 22"/>
          <p:cNvGrpSpPr>
            <a:grpSpLocks noChangeAspect="1"/>
          </p:cNvGrpSpPr>
          <p:nvPr/>
        </p:nvGrpSpPr>
        <p:grpSpPr>
          <a:xfrm>
            <a:off x="4457093" y="3713319"/>
            <a:ext cx="716977" cy="707886"/>
            <a:chOff x="8269007" y="2787537"/>
            <a:chExt cx="350520" cy="346075"/>
          </a:xfrm>
        </p:grpSpPr>
        <p:sp>
          <p:nvSpPr>
            <p:cNvPr id="24" name="object 32"/>
            <p:cNvSpPr/>
            <p:nvPr/>
          </p:nvSpPr>
          <p:spPr>
            <a:xfrm>
              <a:off x="8269007" y="2787537"/>
              <a:ext cx="350520" cy="346075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solidFill>
              <a:srgbClr val="21B9CE"/>
            </a:solidFill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5" name="object 33"/>
            <p:cNvSpPr/>
            <p:nvPr/>
          </p:nvSpPr>
          <p:spPr>
            <a:xfrm>
              <a:off x="8285517" y="2800998"/>
              <a:ext cx="317500" cy="314325"/>
            </a:xfrm>
            <a:custGeom>
              <a:avLst/>
              <a:gdLst/>
              <a:ahLst/>
              <a:cxnLst/>
              <a:rect l="l" t="t" r="r" b="b"/>
              <a:pathLst>
                <a:path w="317500" h="314325">
                  <a:moveTo>
                    <a:pt x="314071" y="302387"/>
                  </a:moveTo>
                  <a:lnTo>
                    <a:pt x="307594" y="302387"/>
                  </a:lnTo>
                  <a:lnTo>
                    <a:pt x="305053" y="304926"/>
                  </a:lnTo>
                  <a:lnTo>
                    <a:pt x="305053" y="311530"/>
                  </a:lnTo>
                  <a:lnTo>
                    <a:pt x="307594" y="313943"/>
                  </a:lnTo>
                  <a:lnTo>
                    <a:pt x="314071" y="313943"/>
                  </a:lnTo>
                  <a:lnTo>
                    <a:pt x="316992" y="311530"/>
                  </a:lnTo>
                  <a:lnTo>
                    <a:pt x="316992" y="304926"/>
                  </a:lnTo>
                  <a:lnTo>
                    <a:pt x="314071" y="302387"/>
                  </a:lnTo>
                  <a:close/>
                </a:path>
                <a:path w="317500" h="314325">
                  <a:moveTo>
                    <a:pt x="290956" y="302387"/>
                  </a:moveTo>
                  <a:lnTo>
                    <a:pt x="284606" y="302387"/>
                  </a:lnTo>
                  <a:lnTo>
                    <a:pt x="281940" y="305053"/>
                  </a:lnTo>
                  <a:lnTo>
                    <a:pt x="281940" y="311403"/>
                  </a:lnTo>
                  <a:lnTo>
                    <a:pt x="284606" y="313943"/>
                  </a:lnTo>
                  <a:lnTo>
                    <a:pt x="290956" y="313943"/>
                  </a:lnTo>
                  <a:lnTo>
                    <a:pt x="293497" y="311403"/>
                  </a:lnTo>
                  <a:lnTo>
                    <a:pt x="293497" y="305053"/>
                  </a:lnTo>
                  <a:lnTo>
                    <a:pt x="290956" y="302387"/>
                  </a:lnTo>
                  <a:close/>
                </a:path>
                <a:path w="317500" h="314325">
                  <a:moveTo>
                    <a:pt x="267462" y="302387"/>
                  </a:moveTo>
                  <a:lnTo>
                    <a:pt x="261112" y="302387"/>
                  </a:lnTo>
                  <a:lnTo>
                    <a:pt x="258445" y="305053"/>
                  </a:lnTo>
                  <a:lnTo>
                    <a:pt x="258445" y="311403"/>
                  </a:lnTo>
                  <a:lnTo>
                    <a:pt x="261112" y="313943"/>
                  </a:lnTo>
                  <a:lnTo>
                    <a:pt x="267462" y="313943"/>
                  </a:lnTo>
                  <a:lnTo>
                    <a:pt x="270128" y="311403"/>
                  </a:lnTo>
                  <a:lnTo>
                    <a:pt x="270128" y="305053"/>
                  </a:lnTo>
                  <a:lnTo>
                    <a:pt x="267462" y="302387"/>
                  </a:lnTo>
                  <a:close/>
                </a:path>
                <a:path w="317500" h="314325">
                  <a:moveTo>
                    <a:pt x="243840" y="302387"/>
                  </a:moveTo>
                  <a:lnTo>
                    <a:pt x="237236" y="302387"/>
                  </a:lnTo>
                  <a:lnTo>
                    <a:pt x="234569" y="305053"/>
                  </a:lnTo>
                  <a:lnTo>
                    <a:pt x="234569" y="311403"/>
                  </a:lnTo>
                  <a:lnTo>
                    <a:pt x="237236" y="313943"/>
                  </a:lnTo>
                  <a:lnTo>
                    <a:pt x="243840" y="313943"/>
                  </a:lnTo>
                  <a:lnTo>
                    <a:pt x="246506" y="311403"/>
                  </a:lnTo>
                  <a:lnTo>
                    <a:pt x="246506" y="305053"/>
                  </a:lnTo>
                  <a:lnTo>
                    <a:pt x="243840" y="302387"/>
                  </a:lnTo>
                  <a:close/>
                </a:path>
                <a:path w="317500" h="314325">
                  <a:moveTo>
                    <a:pt x="220345" y="302387"/>
                  </a:moveTo>
                  <a:lnTo>
                    <a:pt x="213614" y="302387"/>
                  </a:lnTo>
                  <a:lnTo>
                    <a:pt x="210947" y="305053"/>
                  </a:lnTo>
                  <a:lnTo>
                    <a:pt x="210947" y="311403"/>
                  </a:lnTo>
                  <a:lnTo>
                    <a:pt x="213614" y="313943"/>
                  </a:lnTo>
                  <a:lnTo>
                    <a:pt x="220345" y="313943"/>
                  </a:lnTo>
                  <a:lnTo>
                    <a:pt x="223012" y="311403"/>
                  </a:lnTo>
                  <a:lnTo>
                    <a:pt x="223012" y="305053"/>
                  </a:lnTo>
                  <a:lnTo>
                    <a:pt x="220345" y="302387"/>
                  </a:lnTo>
                  <a:close/>
                </a:path>
                <a:path w="317500" h="314325">
                  <a:moveTo>
                    <a:pt x="196850" y="302387"/>
                  </a:moveTo>
                  <a:lnTo>
                    <a:pt x="190373" y="302387"/>
                  </a:lnTo>
                  <a:lnTo>
                    <a:pt x="187833" y="305053"/>
                  </a:lnTo>
                  <a:lnTo>
                    <a:pt x="187833" y="311403"/>
                  </a:lnTo>
                  <a:lnTo>
                    <a:pt x="190373" y="313943"/>
                  </a:lnTo>
                  <a:lnTo>
                    <a:pt x="196850" y="313943"/>
                  </a:lnTo>
                  <a:lnTo>
                    <a:pt x="199390" y="311403"/>
                  </a:lnTo>
                  <a:lnTo>
                    <a:pt x="199390" y="305053"/>
                  </a:lnTo>
                  <a:lnTo>
                    <a:pt x="196850" y="302387"/>
                  </a:lnTo>
                  <a:close/>
                </a:path>
                <a:path w="317500" h="314325">
                  <a:moveTo>
                    <a:pt x="173354" y="302387"/>
                  </a:moveTo>
                  <a:lnTo>
                    <a:pt x="167004" y="302387"/>
                  </a:lnTo>
                  <a:lnTo>
                    <a:pt x="164338" y="305053"/>
                  </a:lnTo>
                  <a:lnTo>
                    <a:pt x="164338" y="311403"/>
                  </a:lnTo>
                  <a:lnTo>
                    <a:pt x="167004" y="313943"/>
                  </a:lnTo>
                  <a:lnTo>
                    <a:pt x="173354" y="313943"/>
                  </a:lnTo>
                  <a:lnTo>
                    <a:pt x="175895" y="311403"/>
                  </a:lnTo>
                  <a:lnTo>
                    <a:pt x="175895" y="305053"/>
                  </a:lnTo>
                  <a:lnTo>
                    <a:pt x="173354" y="302387"/>
                  </a:lnTo>
                  <a:close/>
                </a:path>
                <a:path w="317500" h="314325">
                  <a:moveTo>
                    <a:pt x="150114" y="302387"/>
                  </a:moveTo>
                  <a:lnTo>
                    <a:pt x="143383" y="302387"/>
                  </a:lnTo>
                  <a:lnTo>
                    <a:pt x="140716" y="305053"/>
                  </a:lnTo>
                  <a:lnTo>
                    <a:pt x="140716" y="311403"/>
                  </a:lnTo>
                  <a:lnTo>
                    <a:pt x="143383" y="313943"/>
                  </a:lnTo>
                  <a:lnTo>
                    <a:pt x="150114" y="313943"/>
                  </a:lnTo>
                  <a:lnTo>
                    <a:pt x="152780" y="311403"/>
                  </a:lnTo>
                  <a:lnTo>
                    <a:pt x="152780" y="305053"/>
                  </a:lnTo>
                  <a:lnTo>
                    <a:pt x="150114" y="302387"/>
                  </a:lnTo>
                  <a:close/>
                </a:path>
                <a:path w="317500" h="314325">
                  <a:moveTo>
                    <a:pt x="126619" y="302387"/>
                  </a:moveTo>
                  <a:lnTo>
                    <a:pt x="120015" y="302387"/>
                  </a:lnTo>
                  <a:lnTo>
                    <a:pt x="117348" y="305053"/>
                  </a:lnTo>
                  <a:lnTo>
                    <a:pt x="117348" y="311403"/>
                  </a:lnTo>
                  <a:lnTo>
                    <a:pt x="120015" y="313943"/>
                  </a:lnTo>
                  <a:lnTo>
                    <a:pt x="126619" y="313943"/>
                  </a:lnTo>
                  <a:lnTo>
                    <a:pt x="129286" y="311403"/>
                  </a:lnTo>
                  <a:lnTo>
                    <a:pt x="129286" y="305053"/>
                  </a:lnTo>
                  <a:lnTo>
                    <a:pt x="126619" y="302387"/>
                  </a:lnTo>
                  <a:close/>
                </a:path>
                <a:path w="317500" h="314325">
                  <a:moveTo>
                    <a:pt x="103124" y="302387"/>
                  </a:moveTo>
                  <a:lnTo>
                    <a:pt x="96774" y="302387"/>
                  </a:lnTo>
                  <a:lnTo>
                    <a:pt x="94106" y="305053"/>
                  </a:lnTo>
                  <a:lnTo>
                    <a:pt x="94106" y="311403"/>
                  </a:lnTo>
                  <a:lnTo>
                    <a:pt x="96774" y="313943"/>
                  </a:lnTo>
                  <a:lnTo>
                    <a:pt x="103124" y="313943"/>
                  </a:lnTo>
                  <a:lnTo>
                    <a:pt x="105664" y="311403"/>
                  </a:lnTo>
                  <a:lnTo>
                    <a:pt x="105664" y="305053"/>
                  </a:lnTo>
                  <a:lnTo>
                    <a:pt x="103124" y="302387"/>
                  </a:lnTo>
                  <a:close/>
                </a:path>
                <a:path w="317500" h="314325">
                  <a:moveTo>
                    <a:pt x="79628" y="302387"/>
                  </a:moveTo>
                  <a:lnTo>
                    <a:pt x="73278" y="302387"/>
                  </a:lnTo>
                  <a:lnTo>
                    <a:pt x="70739" y="305053"/>
                  </a:lnTo>
                  <a:lnTo>
                    <a:pt x="70739" y="311403"/>
                  </a:lnTo>
                  <a:lnTo>
                    <a:pt x="73278" y="313943"/>
                  </a:lnTo>
                  <a:lnTo>
                    <a:pt x="79628" y="313943"/>
                  </a:lnTo>
                  <a:lnTo>
                    <a:pt x="82296" y="311403"/>
                  </a:lnTo>
                  <a:lnTo>
                    <a:pt x="82296" y="305053"/>
                  </a:lnTo>
                  <a:lnTo>
                    <a:pt x="79628" y="302387"/>
                  </a:lnTo>
                  <a:close/>
                </a:path>
                <a:path w="317500" h="314325">
                  <a:moveTo>
                    <a:pt x="56006" y="302387"/>
                  </a:moveTo>
                  <a:lnTo>
                    <a:pt x="49656" y="302387"/>
                  </a:lnTo>
                  <a:lnTo>
                    <a:pt x="47117" y="305053"/>
                  </a:lnTo>
                  <a:lnTo>
                    <a:pt x="47117" y="311403"/>
                  </a:lnTo>
                  <a:lnTo>
                    <a:pt x="49656" y="313943"/>
                  </a:lnTo>
                  <a:lnTo>
                    <a:pt x="56006" y="313943"/>
                  </a:lnTo>
                  <a:lnTo>
                    <a:pt x="58674" y="311403"/>
                  </a:lnTo>
                  <a:lnTo>
                    <a:pt x="58674" y="305053"/>
                  </a:lnTo>
                  <a:lnTo>
                    <a:pt x="56006" y="302387"/>
                  </a:lnTo>
                  <a:close/>
                </a:path>
                <a:path w="317500" h="314325">
                  <a:moveTo>
                    <a:pt x="32639" y="302387"/>
                  </a:moveTo>
                  <a:lnTo>
                    <a:pt x="26162" y="302387"/>
                  </a:lnTo>
                  <a:lnTo>
                    <a:pt x="23622" y="305053"/>
                  </a:lnTo>
                  <a:lnTo>
                    <a:pt x="23622" y="311403"/>
                  </a:lnTo>
                  <a:lnTo>
                    <a:pt x="26162" y="313943"/>
                  </a:lnTo>
                  <a:lnTo>
                    <a:pt x="32639" y="313943"/>
                  </a:lnTo>
                  <a:lnTo>
                    <a:pt x="35178" y="311403"/>
                  </a:lnTo>
                  <a:lnTo>
                    <a:pt x="35178" y="305053"/>
                  </a:lnTo>
                  <a:lnTo>
                    <a:pt x="32639" y="302387"/>
                  </a:lnTo>
                  <a:close/>
                </a:path>
                <a:path w="317500" h="314325">
                  <a:moveTo>
                    <a:pt x="9017" y="302387"/>
                  </a:moveTo>
                  <a:lnTo>
                    <a:pt x="2540" y="302387"/>
                  </a:lnTo>
                  <a:lnTo>
                    <a:pt x="0" y="305053"/>
                  </a:lnTo>
                  <a:lnTo>
                    <a:pt x="0" y="311403"/>
                  </a:lnTo>
                  <a:lnTo>
                    <a:pt x="2540" y="313943"/>
                  </a:lnTo>
                  <a:lnTo>
                    <a:pt x="9017" y="313943"/>
                  </a:lnTo>
                  <a:lnTo>
                    <a:pt x="11556" y="311403"/>
                  </a:lnTo>
                  <a:lnTo>
                    <a:pt x="11556" y="305053"/>
                  </a:lnTo>
                  <a:lnTo>
                    <a:pt x="9017" y="302387"/>
                  </a:lnTo>
                  <a:close/>
                </a:path>
                <a:path w="317500" h="314325">
                  <a:moveTo>
                    <a:pt x="314071" y="278891"/>
                  </a:moveTo>
                  <a:lnTo>
                    <a:pt x="307594" y="278891"/>
                  </a:lnTo>
                  <a:lnTo>
                    <a:pt x="305053" y="281813"/>
                  </a:lnTo>
                  <a:lnTo>
                    <a:pt x="305053" y="288036"/>
                  </a:lnTo>
                  <a:lnTo>
                    <a:pt x="307594" y="290449"/>
                  </a:lnTo>
                  <a:lnTo>
                    <a:pt x="314071" y="290449"/>
                  </a:lnTo>
                  <a:lnTo>
                    <a:pt x="316992" y="288036"/>
                  </a:lnTo>
                  <a:lnTo>
                    <a:pt x="316992" y="281813"/>
                  </a:lnTo>
                  <a:lnTo>
                    <a:pt x="314071" y="278891"/>
                  </a:lnTo>
                  <a:close/>
                </a:path>
                <a:path w="317500" h="314325">
                  <a:moveTo>
                    <a:pt x="290956" y="278891"/>
                  </a:moveTo>
                  <a:lnTo>
                    <a:pt x="284606" y="278891"/>
                  </a:lnTo>
                  <a:lnTo>
                    <a:pt x="281940" y="281559"/>
                  </a:lnTo>
                  <a:lnTo>
                    <a:pt x="281940" y="287909"/>
                  </a:lnTo>
                  <a:lnTo>
                    <a:pt x="284606" y="290449"/>
                  </a:lnTo>
                  <a:lnTo>
                    <a:pt x="290956" y="290449"/>
                  </a:lnTo>
                  <a:lnTo>
                    <a:pt x="293497" y="287909"/>
                  </a:lnTo>
                  <a:lnTo>
                    <a:pt x="293497" y="281559"/>
                  </a:lnTo>
                  <a:lnTo>
                    <a:pt x="290956" y="278891"/>
                  </a:lnTo>
                  <a:close/>
                </a:path>
                <a:path w="317500" h="314325">
                  <a:moveTo>
                    <a:pt x="267462" y="278891"/>
                  </a:moveTo>
                  <a:lnTo>
                    <a:pt x="261112" y="278891"/>
                  </a:lnTo>
                  <a:lnTo>
                    <a:pt x="258445" y="281559"/>
                  </a:lnTo>
                  <a:lnTo>
                    <a:pt x="258445" y="287909"/>
                  </a:lnTo>
                  <a:lnTo>
                    <a:pt x="261112" y="290449"/>
                  </a:lnTo>
                  <a:lnTo>
                    <a:pt x="267462" y="290449"/>
                  </a:lnTo>
                  <a:lnTo>
                    <a:pt x="270128" y="287909"/>
                  </a:lnTo>
                  <a:lnTo>
                    <a:pt x="270128" y="281559"/>
                  </a:lnTo>
                  <a:lnTo>
                    <a:pt x="267462" y="278891"/>
                  </a:lnTo>
                  <a:close/>
                </a:path>
                <a:path w="317500" h="314325">
                  <a:moveTo>
                    <a:pt x="243840" y="278891"/>
                  </a:moveTo>
                  <a:lnTo>
                    <a:pt x="237236" y="278891"/>
                  </a:lnTo>
                  <a:lnTo>
                    <a:pt x="234569" y="281559"/>
                  </a:lnTo>
                  <a:lnTo>
                    <a:pt x="234569" y="287909"/>
                  </a:lnTo>
                  <a:lnTo>
                    <a:pt x="237236" y="290449"/>
                  </a:lnTo>
                  <a:lnTo>
                    <a:pt x="243840" y="290449"/>
                  </a:lnTo>
                  <a:lnTo>
                    <a:pt x="246506" y="287909"/>
                  </a:lnTo>
                  <a:lnTo>
                    <a:pt x="246506" y="281559"/>
                  </a:lnTo>
                  <a:lnTo>
                    <a:pt x="243840" y="278891"/>
                  </a:lnTo>
                  <a:close/>
                </a:path>
                <a:path w="317500" h="314325">
                  <a:moveTo>
                    <a:pt x="220345" y="278891"/>
                  </a:moveTo>
                  <a:lnTo>
                    <a:pt x="213614" y="278891"/>
                  </a:lnTo>
                  <a:lnTo>
                    <a:pt x="210947" y="281559"/>
                  </a:lnTo>
                  <a:lnTo>
                    <a:pt x="210947" y="287909"/>
                  </a:lnTo>
                  <a:lnTo>
                    <a:pt x="213614" y="290449"/>
                  </a:lnTo>
                  <a:lnTo>
                    <a:pt x="220345" y="290449"/>
                  </a:lnTo>
                  <a:lnTo>
                    <a:pt x="223012" y="287909"/>
                  </a:lnTo>
                  <a:lnTo>
                    <a:pt x="223012" y="281559"/>
                  </a:lnTo>
                  <a:lnTo>
                    <a:pt x="220345" y="278891"/>
                  </a:lnTo>
                  <a:close/>
                </a:path>
                <a:path w="317500" h="314325">
                  <a:moveTo>
                    <a:pt x="196850" y="278891"/>
                  </a:moveTo>
                  <a:lnTo>
                    <a:pt x="190373" y="278891"/>
                  </a:lnTo>
                  <a:lnTo>
                    <a:pt x="187833" y="281559"/>
                  </a:lnTo>
                  <a:lnTo>
                    <a:pt x="187833" y="287909"/>
                  </a:lnTo>
                  <a:lnTo>
                    <a:pt x="190373" y="290449"/>
                  </a:lnTo>
                  <a:lnTo>
                    <a:pt x="196850" y="290449"/>
                  </a:lnTo>
                  <a:lnTo>
                    <a:pt x="199390" y="287909"/>
                  </a:lnTo>
                  <a:lnTo>
                    <a:pt x="199390" y="281559"/>
                  </a:lnTo>
                  <a:lnTo>
                    <a:pt x="196850" y="278891"/>
                  </a:lnTo>
                  <a:close/>
                </a:path>
                <a:path w="317500" h="314325">
                  <a:moveTo>
                    <a:pt x="173354" y="278891"/>
                  </a:moveTo>
                  <a:lnTo>
                    <a:pt x="167004" y="278891"/>
                  </a:lnTo>
                  <a:lnTo>
                    <a:pt x="164338" y="281559"/>
                  </a:lnTo>
                  <a:lnTo>
                    <a:pt x="164338" y="287909"/>
                  </a:lnTo>
                  <a:lnTo>
                    <a:pt x="167004" y="290449"/>
                  </a:lnTo>
                  <a:lnTo>
                    <a:pt x="173354" y="290449"/>
                  </a:lnTo>
                  <a:lnTo>
                    <a:pt x="175895" y="287909"/>
                  </a:lnTo>
                  <a:lnTo>
                    <a:pt x="175895" y="281559"/>
                  </a:lnTo>
                  <a:lnTo>
                    <a:pt x="173354" y="278891"/>
                  </a:lnTo>
                  <a:close/>
                </a:path>
                <a:path w="317500" h="314325">
                  <a:moveTo>
                    <a:pt x="150114" y="278891"/>
                  </a:moveTo>
                  <a:lnTo>
                    <a:pt x="143383" y="278891"/>
                  </a:lnTo>
                  <a:lnTo>
                    <a:pt x="140716" y="281559"/>
                  </a:lnTo>
                  <a:lnTo>
                    <a:pt x="140716" y="287909"/>
                  </a:lnTo>
                  <a:lnTo>
                    <a:pt x="143383" y="290449"/>
                  </a:lnTo>
                  <a:lnTo>
                    <a:pt x="150114" y="290449"/>
                  </a:lnTo>
                  <a:lnTo>
                    <a:pt x="152780" y="287909"/>
                  </a:lnTo>
                  <a:lnTo>
                    <a:pt x="152780" y="281559"/>
                  </a:lnTo>
                  <a:lnTo>
                    <a:pt x="150114" y="278891"/>
                  </a:lnTo>
                  <a:close/>
                </a:path>
                <a:path w="317500" h="314325">
                  <a:moveTo>
                    <a:pt x="126619" y="278891"/>
                  </a:moveTo>
                  <a:lnTo>
                    <a:pt x="120015" y="278891"/>
                  </a:lnTo>
                  <a:lnTo>
                    <a:pt x="117348" y="281559"/>
                  </a:lnTo>
                  <a:lnTo>
                    <a:pt x="117348" y="287909"/>
                  </a:lnTo>
                  <a:lnTo>
                    <a:pt x="120015" y="290449"/>
                  </a:lnTo>
                  <a:lnTo>
                    <a:pt x="126619" y="290449"/>
                  </a:lnTo>
                  <a:lnTo>
                    <a:pt x="129286" y="287909"/>
                  </a:lnTo>
                  <a:lnTo>
                    <a:pt x="129286" y="281559"/>
                  </a:lnTo>
                  <a:lnTo>
                    <a:pt x="126619" y="278891"/>
                  </a:lnTo>
                  <a:close/>
                </a:path>
                <a:path w="317500" h="314325">
                  <a:moveTo>
                    <a:pt x="103124" y="278891"/>
                  </a:moveTo>
                  <a:lnTo>
                    <a:pt x="96774" y="278891"/>
                  </a:lnTo>
                  <a:lnTo>
                    <a:pt x="94106" y="281559"/>
                  </a:lnTo>
                  <a:lnTo>
                    <a:pt x="94106" y="287909"/>
                  </a:lnTo>
                  <a:lnTo>
                    <a:pt x="96774" y="290449"/>
                  </a:lnTo>
                  <a:lnTo>
                    <a:pt x="103124" y="290449"/>
                  </a:lnTo>
                  <a:lnTo>
                    <a:pt x="105664" y="287909"/>
                  </a:lnTo>
                  <a:lnTo>
                    <a:pt x="105664" y="281559"/>
                  </a:lnTo>
                  <a:lnTo>
                    <a:pt x="103124" y="278891"/>
                  </a:lnTo>
                  <a:close/>
                </a:path>
                <a:path w="317500" h="314325">
                  <a:moveTo>
                    <a:pt x="79628" y="278891"/>
                  </a:moveTo>
                  <a:lnTo>
                    <a:pt x="73278" y="278891"/>
                  </a:lnTo>
                  <a:lnTo>
                    <a:pt x="70739" y="281559"/>
                  </a:lnTo>
                  <a:lnTo>
                    <a:pt x="70739" y="287909"/>
                  </a:lnTo>
                  <a:lnTo>
                    <a:pt x="73278" y="290449"/>
                  </a:lnTo>
                  <a:lnTo>
                    <a:pt x="79628" y="290449"/>
                  </a:lnTo>
                  <a:lnTo>
                    <a:pt x="82296" y="287909"/>
                  </a:lnTo>
                  <a:lnTo>
                    <a:pt x="82296" y="281559"/>
                  </a:lnTo>
                  <a:lnTo>
                    <a:pt x="79628" y="278891"/>
                  </a:lnTo>
                  <a:close/>
                </a:path>
                <a:path w="317500" h="314325">
                  <a:moveTo>
                    <a:pt x="56006" y="278891"/>
                  </a:moveTo>
                  <a:lnTo>
                    <a:pt x="49656" y="278891"/>
                  </a:lnTo>
                  <a:lnTo>
                    <a:pt x="47117" y="281559"/>
                  </a:lnTo>
                  <a:lnTo>
                    <a:pt x="47117" y="287909"/>
                  </a:lnTo>
                  <a:lnTo>
                    <a:pt x="49656" y="290449"/>
                  </a:lnTo>
                  <a:lnTo>
                    <a:pt x="56006" y="290449"/>
                  </a:lnTo>
                  <a:lnTo>
                    <a:pt x="58674" y="287909"/>
                  </a:lnTo>
                  <a:lnTo>
                    <a:pt x="58674" y="281559"/>
                  </a:lnTo>
                  <a:lnTo>
                    <a:pt x="56006" y="278891"/>
                  </a:lnTo>
                  <a:close/>
                </a:path>
                <a:path w="317500" h="314325">
                  <a:moveTo>
                    <a:pt x="32639" y="278891"/>
                  </a:moveTo>
                  <a:lnTo>
                    <a:pt x="26162" y="278891"/>
                  </a:lnTo>
                  <a:lnTo>
                    <a:pt x="23622" y="281559"/>
                  </a:lnTo>
                  <a:lnTo>
                    <a:pt x="23622" y="287909"/>
                  </a:lnTo>
                  <a:lnTo>
                    <a:pt x="26162" y="290449"/>
                  </a:lnTo>
                  <a:lnTo>
                    <a:pt x="32639" y="290449"/>
                  </a:lnTo>
                  <a:lnTo>
                    <a:pt x="35178" y="287909"/>
                  </a:lnTo>
                  <a:lnTo>
                    <a:pt x="35178" y="281559"/>
                  </a:lnTo>
                  <a:lnTo>
                    <a:pt x="32639" y="278891"/>
                  </a:lnTo>
                  <a:close/>
                </a:path>
                <a:path w="317500" h="314325">
                  <a:moveTo>
                    <a:pt x="9017" y="278891"/>
                  </a:moveTo>
                  <a:lnTo>
                    <a:pt x="2540" y="278891"/>
                  </a:lnTo>
                  <a:lnTo>
                    <a:pt x="0" y="281559"/>
                  </a:lnTo>
                  <a:lnTo>
                    <a:pt x="0" y="287909"/>
                  </a:lnTo>
                  <a:lnTo>
                    <a:pt x="2540" y="290449"/>
                  </a:lnTo>
                  <a:lnTo>
                    <a:pt x="9017" y="290449"/>
                  </a:lnTo>
                  <a:lnTo>
                    <a:pt x="11556" y="287909"/>
                  </a:lnTo>
                  <a:lnTo>
                    <a:pt x="11556" y="281559"/>
                  </a:lnTo>
                  <a:lnTo>
                    <a:pt x="9017" y="278891"/>
                  </a:lnTo>
                  <a:close/>
                </a:path>
                <a:path w="317500" h="314325">
                  <a:moveTo>
                    <a:pt x="314071" y="255650"/>
                  </a:moveTo>
                  <a:lnTo>
                    <a:pt x="307594" y="255650"/>
                  </a:lnTo>
                  <a:lnTo>
                    <a:pt x="305053" y="258445"/>
                  </a:lnTo>
                  <a:lnTo>
                    <a:pt x="305053" y="264540"/>
                  </a:lnTo>
                  <a:lnTo>
                    <a:pt x="307594" y="267462"/>
                  </a:lnTo>
                  <a:lnTo>
                    <a:pt x="314071" y="267462"/>
                  </a:lnTo>
                  <a:lnTo>
                    <a:pt x="316992" y="264540"/>
                  </a:lnTo>
                  <a:lnTo>
                    <a:pt x="316992" y="258445"/>
                  </a:lnTo>
                  <a:lnTo>
                    <a:pt x="314071" y="255650"/>
                  </a:lnTo>
                  <a:close/>
                </a:path>
                <a:path w="317500" h="314325">
                  <a:moveTo>
                    <a:pt x="290956" y="255650"/>
                  </a:moveTo>
                  <a:lnTo>
                    <a:pt x="284606" y="255650"/>
                  </a:lnTo>
                  <a:lnTo>
                    <a:pt x="281940" y="258190"/>
                  </a:lnTo>
                  <a:lnTo>
                    <a:pt x="281940" y="264795"/>
                  </a:lnTo>
                  <a:lnTo>
                    <a:pt x="284606" y="267462"/>
                  </a:lnTo>
                  <a:lnTo>
                    <a:pt x="290956" y="267462"/>
                  </a:lnTo>
                  <a:lnTo>
                    <a:pt x="293497" y="264795"/>
                  </a:lnTo>
                  <a:lnTo>
                    <a:pt x="293497" y="258190"/>
                  </a:lnTo>
                  <a:lnTo>
                    <a:pt x="290956" y="255650"/>
                  </a:lnTo>
                  <a:close/>
                </a:path>
                <a:path w="317500" h="314325">
                  <a:moveTo>
                    <a:pt x="32639" y="255650"/>
                  </a:moveTo>
                  <a:lnTo>
                    <a:pt x="26162" y="255650"/>
                  </a:lnTo>
                  <a:lnTo>
                    <a:pt x="23622" y="258190"/>
                  </a:lnTo>
                  <a:lnTo>
                    <a:pt x="23622" y="264795"/>
                  </a:lnTo>
                  <a:lnTo>
                    <a:pt x="26162" y="267462"/>
                  </a:lnTo>
                  <a:lnTo>
                    <a:pt x="32639" y="267462"/>
                  </a:lnTo>
                  <a:lnTo>
                    <a:pt x="35178" y="264795"/>
                  </a:lnTo>
                  <a:lnTo>
                    <a:pt x="35178" y="258190"/>
                  </a:lnTo>
                  <a:lnTo>
                    <a:pt x="32639" y="255650"/>
                  </a:lnTo>
                  <a:close/>
                </a:path>
                <a:path w="317500" h="314325">
                  <a:moveTo>
                    <a:pt x="9017" y="255650"/>
                  </a:moveTo>
                  <a:lnTo>
                    <a:pt x="2540" y="255650"/>
                  </a:lnTo>
                  <a:lnTo>
                    <a:pt x="0" y="258190"/>
                  </a:lnTo>
                  <a:lnTo>
                    <a:pt x="0" y="264795"/>
                  </a:lnTo>
                  <a:lnTo>
                    <a:pt x="2540" y="267462"/>
                  </a:lnTo>
                  <a:lnTo>
                    <a:pt x="9017" y="267462"/>
                  </a:lnTo>
                  <a:lnTo>
                    <a:pt x="11556" y="264795"/>
                  </a:lnTo>
                  <a:lnTo>
                    <a:pt x="11556" y="258190"/>
                  </a:lnTo>
                  <a:lnTo>
                    <a:pt x="9017" y="255650"/>
                  </a:lnTo>
                  <a:close/>
                </a:path>
                <a:path w="317500" h="314325">
                  <a:moveTo>
                    <a:pt x="314071" y="232537"/>
                  </a:moveTo>
                  <a:lnTo>
                    <a:pt x="307594" y="232537"/>
                  </a:lnTo>
                  <a:lnTo>
                    <a:pt x="305053" y="235076"/>
                  </a:lnTo>
                  <a:lnTo>
                    <a:pt x="305053" y="241680"/>
                  </a:lnTo>
                  <a:lnTo>
                    <a:pt x="307594" y="244093"/>
                  </a:lnTo>
                  <a:lnTo>
                    <a:pt x="314071" y="244093"/>
                  </a:lnTo>
                  <a:lnTo>
                    <a:pt x="316992" y="241680"/>
                  </a:lnTo>
                  <a:lnTo>
                    <a:pt x="316992" y="235076"/>
                  </a:lnTo>
                  <a:lnTo>
                    <a:pt x="314071" y="232537"/>
                  </a:lnTo>
                  <a:close/>
                </a:path>
                <a:path w="317500" h="314325">
                  <a:moveTo>
                    <a:pt x="290956" y="232537"/>
                  </a:moveTo>
                  <a:lnTo>
                    <a:pt x="284606" y="232537"/>
                  </a:lnTo>
                  <a:lnTo>
                    <a:pt x="281940" y="235203"/>
                  </a:lnTo>
                  <a:lnTo>
                    <a:pt x="281940" y="241553"/>
                  </a:lnTo>
                  <a:lnTo>
                    <a:pt x="284606" y="244093"/>
                  </a:lnTo>
                  <a:lnTo>
                    <a:pt x="290956" y="244093"/>
                  </a:lnTo>
                  <a:lnTo>
                    <a:pt x="293497" y="241553"/>
                  </a:lnTo>
                  <a:lnTo>
                    <a:pt x="293497" y="235203"/>
                  </a:lnTo>
                  <a:lnTo>
                    <a:pt x="290956" y="232537"/>
                  </a:lnTo>
                  <a:close/>
                </a:path>
                <a:path w="317500" h="314325">
                  <a:moveTo>
                    <a:pt x="32639" y="232537"/>
                  </a:moveTo>
                  <a:lnTo>
                    <a:pt x="26162" y="232537"/>
                  </a:lnTo>
                  <a:lnTo>
                    <a:pt x="23622" y="235203"/>
                  </a:lnTo>
                  <a:lnTo>
                    <a:pt x="23622" y="241553"/>
                  </a:lnTo>
                  <a:lnTo>
                    <a:pt x="26162" y="244093"/>
                  </a:lnTo>
                  <a:lnTo>
                    <a:pt x="32639" y="244093"/>
                  </a:lnTo>
                  <a:lnTo>
                    <a:pt x="35178" y="241553"/>
                  </a:lnTo>
                  <a:lnTo>
                    <a:pt x="35178" y="235203"/>
                  </a:lnTo>
                  <a:lnTo>
                    <a:pt x="32639" y="232537"/>
                  </a:lnTo>
                  <a:close/>
                </a:path>
                <a:path w="317500" h="314325">
                  <a:moveTo>
                    <a:pt x="9017" y="232537"/>
                  </a:moveTo>
                  <a:lnTo>
                    <a:pt x="2540" y="232537"/>
                  </a:lnTo>
                  <a:lnTo>
                    <a:pt x="0" y="235203"/>
                  </a:lnTo>
                  <a:lnTo>
                    <a:pt x="0" y="241553"/>
                  </a:lnTo>
                  <a:lnTo>
                    <a:pt x="2540" y="244093"/>
                  </a:lnTo>
                  <a:lnTo>
                    <a:pt x="9017" y="244093"/>
                  </a:lnTo>
                  <a:lnTo>
                    <a:pt x="11556" y="241553"/>
                  </a:lnTo>
                  <a:lnTo>
                    <a:pt x="11556" y="235203"/>
                  </a:lnTo>
                  <a:lnTo>
                    <a:pt x="9017" y="232537"/>
                  </a:lnTo>
                  <a:close/>
                </a:path>
                <a:path w="317500" h="314325">
                  <a:moveTo>
                    <a:pt x="314071" y="209041"/>
                  </a:moveTo>
                  <a:lnTo>
                    <a:pt x="307594" y="209041"/>
                  </a:lnTo>
                  <a:lnTo>
                    <a:pt x="305053" y="211582"/>
                  </a:lnTo>
                  <a:lnTo>
                    <a:pt x="305053" y="218186"/>
                  </a:lnTo>
                  <a:lnTo>
                    <a:pt x="307594" y="220599"/>
                  </a:lnTo>
                  <a:lnTo>
                    <a:pt x="314071" y="220599"/>
                  </a:lnTo>
                  <a:lnTo>
                    <a:pt x="316992" y="218186"/>
                  </a:lnTo>
                  <a:lnTo>
                    <a:pt x="316992" y="211582"/>
                  </a:lnTo>
                  <a:lnTo>
                    <a:pt x="314071" y="209041"/>
                  </a:lnTo>
                  <a:close/>
                </a:path>
                <a:path w="317500" h="314325">
                  <a:moveTo>
                    <a:pt x="290956" y="209041"/>
                  </a:moveTo>
                  <a:lnTo>
                    <a:pt x="284606" y="209041"/>
                  </a:lnTo>
                  <a:lnTo>
                    <a:pt x="281940" y="211709"/>
                  </a:lnTo>
                  <a:lnTo>
                    <a:pt x="281940" y="218059"/>
                  </a:lnTo>
                  <a:lnTo>
                    <a:pt x="284606" y="220599"/>
                  </a:lnTo>
                  <a:lnTo>
                    <a:pt x="290956" y="220599"/>
                  </a:lnTo>
                  <a:lnTo>
                    <a:pt x="293497" y="218059"/>
                  </a:lnTo>
                  <a:lnTo>
                    <a:pt x="293497" y="211709"/>
                  </a:lnTo>
                  <a:lnTo>
                    <a:pt x="290956" y="209041"/>
                  </a:lnTo>
                  <a:close/>
                </a:path>
                <a:path w="317500" h="314325">
                  <a:moveTo>
                    <a:pt x="32639" y="209041"/>
                  </a:moveTo>
                  <a:lnTo>
                    <a:pt x="26162" y="209041"/>
                  </a:lnTo>
                  <a:lnTo>
                    <a:pt x="23622" y="211709"/>
                  </a:lnTo>
                  <a:lnTo>
                    <a:pt x="23622" y="218059"/>
                  </a:lnTo>
                  <a:lnTo>
                    <a:pt x="26162" y="220599"/>
                  </a:lnTo>
                  <a:lnTo>
                    <a:pt x="32639" y="220599"/>
                  </a:lnTo>
                  <a:lnTo>
                    <a:pt x="35178" y="218059"/>
                  </a:lnTo>
                  <a:lnTo>
                    <a:pt x="35178" y="211709"/>
                  </a:lnTo>
                  <a:lnTo>
                    <a:pt x="32639" y="209041"/>
                  </a:lnTo>
                  <a:close/>
                </a:path>
                <a:path w="317500" h="314325">
                  <a:moveTo>
                    <a:pt x="9017" y="209041"/>
                  </a:moveTo>
                  <a:lnTo>
                    <a:pt x="2540" y="209041"/>
                  </a:lnTo>
                  <a:lnTo>
                    <a:pt x="0" y="211709"/>
                  </a:lnTo>
                  <a:lnTo>
                    <a:pt x="0" y="218059"/>
                  </a:lnTo>
                  <a:lnTo>
                    <a:pt x="2540" y="220599"/>
                  </a:lnTo>
                  <a:lnTo>
                    <a:pt x="9017" y="220599"/>
                  </a:lnTo>
                  <a:lnTo>
                    <a:pt x="11556" y="218059"/>
                  </a:lnTo>
                  <a:lnTo>
                    <a:pt x="11556" y="211709"/>
                  </a:lnTo>
                  <a:lnTo>
                    <a:pt x="9017" y="209041"/>
                  </a:lnTo>
                  <a:close/>
                </a:path>
                <a:path w="317500" h="314325">
                  <a:moveTo>
                    <a:pt x="314071" y="185800"/>
                  </a:moveTo>
                  <a:lnTo>
                    <a:pt x="307594" y="185800"/>
                  </a:lnTo>
                  <a:lnTo>
                    <a:pt x="305053" y="188595"/>
                  </a:lnTo>
                  <a:lnTo>
                    <a:pt x="305053" y="195072"/>
                  </a:lnTo>
                  <a:lnTo>
                    <a:pt x="307594" y="197612"/>
                  </a:lnTo>
                  <a:lnTo>
                    <a:pt x="314071" y="197612"/>
                  </a:lnTo>
                  <a:lnTo>
                    <a:pt x="316992" y="195072"/>
                  </a:lnTo>
                  <a:lnTo>
                    <a:pt x="316992" y="188595"/>
                  </a:lnTo>
                  <a:lnTo>
                    <a:pt x="314071" y="185800"/>
                  </a:lnTo>
                  <a:close/>
                </a:path>
                <a:path w="317500" h="314325">
                  <a:moveTo>
                    <a:pt x="290702" y="185800"/>
                  </a:moveTo>
                  <a:lnTo>
                    <a:pt x="284479" y="185800"/>
                  </a:lnTo>
                  <a:lnTo>
                    <a:pt x="281940" y="188595"/>
                  </a:lnTo>
                  <a:lnTo>
                    <a:pt x="281940" y="195072"/>
                  </a:lnTo>
                  <a:lnTo>
                    <a:pt x="284479" y="197612"/>
                  </a:lnTo>
                  <a:lnTo>
                    <a:pt x="290702" y="197612"/>
                  </a:lnTo>
                  <a:lnTo>
                    <a:pt x="293497" y="195072"/>
                  </a:lnTo>
                  <a:lnTo>
                    <a:pt x="293497" y="188595"/>
                  </a:lnTo>
                  <a:lnTo>
                    <a:pt x="290702" y="185800"/>
                  </a:lnTo>
                  <a:close/>
                </a:path>
                <a:path w="317500" h="314325">
                  <a:moveTo>
                    <a:pt x="32766" y="185800"/>
                  </a:moveTo>
                  <a:lnTo>
                    <a:pt x="26543" y="185800"/>
                  </a:lnTo>
                  <a:lnTo>
                    <a:pt x="23622" y="188595"/>
                  </a:lnTo>
                  <a:lnTo>
                    <a:pt x="23622" y="195072"/>
                  </a:lnTo>
                  <a:lnTo>
                    <a:pt x="26543" y="197612"/>
                  </a:lnTo>
                  <a:lnTo>
                    <a:pt x="32766" y="197612"/>
                  </a:lnTo>
                  <a:lnTo>
                    <a:pt x="35178" y="195072"/>
                  </a:lnTo>
                  <a:lnTo>
                    <a:pt x="35178" y="188595"/>
                  </a:lnTo>
                  <a:lnTo>
                    <a:pt x="32766" y="185800"/>
                  </a:lnTo>
                  <a:close/>
                </a:path>
                <a:path w="317500" h="314325">
                  <a:moveTo>
                    <a:pt x="9144" y="185800"/>
                  </a:moveTo>
                  <a:lnTo>
                    <a:pt x="2921" y="185800"/>
                  </a:lnTo>
                  <a:lnTo>
                    <a:pt x="0" y="188595"/>
                  </a:lnTo>
                  <a:lnTo>
                    <a:pt x="0" y="195072"/>
                  </a:lnTo>
                  <a:lnTo>
                    <a:pt x="2921" y="197612"/>
                  </a:lnTo>
                  <a:lnTo>
                    <a:pt x="9144" y="197612"/>
                  </a:lnTo>
                  <a:lnTo>
                    <a:pt x="11556" y="195072"/>
                  </a:lnTo>
                  <a:lnTo>
                    <a:pt x="11556" y="188595"/>
                  </a:lnTo>
                  <a:lnTo>
                    <a:pt x="9144" y="185800"/>
                  </a:lnTo>
                  <a:close/>
                </a:path>
                <a:path w="317500" h="314325">
                  <a:moveTo>
                    <a:pt x="314071" y="162687"/>
                  </a:moveTo>
                  <a:lnTo>
                    <a:pt x="307594" y="162687"/>
                  </a:lnTo>
                  <a:lnTo>
                    <a:pt x="305053" y="165608"/>
                  </a:lnTo>
                  <a:lnTo>
                    <a:pt x="305053" y="171830"/>
                  </a:lnTo>
                  <a:lnTo>
                    <a:pt x="307594" y="174243"/>
                  </a:lnTo>
                  <a:lnTo>
                    <a:pt x="314071" y="174243"/>
                  </a:lnTo>
                  <a:lnTo>
                    <a:pt x="316992" y="171830"/>
                  </a:lnTo>
                  <a:lnTo>
                    <a:pt x="316992" y="165608"/>
                  </a:lnTo>
                  <a:lnTo>
                    <a:pt x="314071" y="162687"/>
                  </a:lnTo>
                  <a:close/>
                </a:path>
                <a:path w="317500" h="314325">
                  <a:moveTo>
                    <a:pt x="290956" y="162687"/>
                  </a:moveTo>
                  <a:lnTo>
                    <a:pt x="284606" y="162687"/>
                  </a:lnTo>
                  <a:lnTo>
                    <a:pt x="281940" y="165353"/>
                  </a:lnTo>
                  <a:lnTo>
                    <a:pt x="281940" y="171703"/>
                  </a:lnTo>
                  <a:lnTo>
                    <a:pt x="284606" y="174243"/>
                  </a:lnTo>
                  <a:lnTo>
                    <a:pt x="290956" y="174243"/>
                  </a:lnTo>
                  <a:lnTo>
                    <a:pt x="293497" y="171703"/>
                  </a:lnTo>
                  <a:lnTo>
                    <a:pt x="293497" y="165353"/>
                  </a:lnTo>
                  <a:lnTo>
                    <a:pt x="290956" y="162687"/>
                  </a:lnTo>
                  <a:close/>
                </a:path>
                <a:path w="317500" h="314325">
                  <a:moveTo>
                    <a:pt x="32639" y="162687"/>
                  </a:moveTo>
                  <a:lnTo>
                    <a:pt x="26162" y="162687"/>
                  </a:lnTo>
                  <a:lnTo>
                    <a:pt x="23622" y="165353"/>
                  </a:lnTo>
                  <a:lnTo>
                    <a:pt x="23622" y="171703"/>
                  </a:lnTo>
                  <a:lnTo>
                    <a:pt x="26162" y="174243"/>
                  </a:lnTo>
                  <a:lnTo>
                    <a:pt x="32639" y="174243"/>
                  </a:lnTo>
                  <a:lnTo>
                    <a:pt x="35178" y="171703"/>
                  </a:lnTo>
                  <a:lnTo>
                    <a:pt x="35178" y="165353"/>
                  </a:lnTo>
                  <a:lnTo>
                    <a:pt x="32639" y="162687"/>
                  </a:lnTo>
                  <a:close/>
                </a:path>
                <a:path w="317500" h="314325">
                  <a:moveTo>
                    <a:pt x="9017" y="162687"/>
                  </a:moveTo>
                  <a:lnTo>
                    <a:pt x="2540" y="162687"/>
                  </a:lnTo>
                  <a:lnTo>
                    <a:pt x="0" y="165353"/>
                  </a:lnTo>
                  <a:lnTo>
                    <a:pt x="0" y="171703"/>
                  </a:lnTo>
                  <a:lnTo>
                    <a:pt x="2540" y="174243"/>
                  </a:lnTo>
                  <a:lnTo>
                    <a:pt x="9017" y="174243"/>
                  </a:lnTo>
                  <a:lnTo>
                    <a:pt x="11556" y="171703"/>
                  </a:lnTo>
                  <a:lnTo>
                    <a:pt x="11556" y="165353"/>
                  </a:lnTo>
                  <a:lnTo>
                    <a:pt x="9017" y="162687"/>
                  </a:lnTo>
                  <a:close/>
                </a:path>
                <a:path w="317500" h="314325">
                  <a:moveTo>
                    <a:pt x="314071" y="139700"/>
                  </a:moveTo>
                  <a:lnTo>
                    <a:pt x="307594" y="139700"/>
                  </a:lnTo>
                  <a:lnTo>
                    <a:pt x="305053" y="142112"/>
                  </a:lnTo>
                  <a:lnTo>
                    <a:pt x="305053" y="148336"/>
                  </a:lnTo>
                  <a:lnTo>
                    <a:pt x="307594" y="151257"/>
                  </a:lnTo>
                  <a:lnTo>
                    <a:pt x="314071" y="151257"/>
                  </a:lnTo>
                  <a:lnTo>
                    <a:pt x="316992" y="148336"/>
                  </a:lnTo>
                  <a:lnTo>
                    <a:pt x="316992" y="142112"/>
                  </a:lnTo>
                  <a:lnTo>
                    <a:pt x="314071" y="139700"/>
                  </a:lnTo>
                  <a:close/>
                </a:path>
                <a:path w="317500" h="314325">
                  <a:moveTo>
                    <a:pt x="290956" y="139700"/>
                  </a:moveTo>
                  <a:lnTo>
                    <a:pt x="284606" y="139700"/>
                  </a:lnTo>
                  <a:lnTo>
                    <a:pt x="281940" y="142239"/>
                  </a:lnTo>
                  <a:lnTo>
                    <a:pt x="281940" y="148589"/>
                  </a:lnTo>
                  <a:lnTo>
                    <a:pt x="284606" y="151257"/>
                  </a:lnTo>
                  <a:lnTo>
                    <a:pt x="290956" y="151257"/>
                  </a:lnTo>
                  <a:lnTo>
                    <a:pt x="293497" y="148589"/>
                  </a:lnTo>
                  <a:lnTo>
                    <a:pt x="293497" y="142239"/>
                  </a:lnTo>
                  <a:lnTo>
                    <a:pt x="290956" y="139700"/>
                  </a:lnTo>
                  <a:close/>
                </a:path>
                <a:path w="317500" h="314325">
                  <a:moveTo>
                    <a:pt x="32639" y="139700"/>
                  </a:moveTo>
                  <a:lnTo>
                    <a:pt x="26162" y="139700"/>
                  </a:lnTo>
                  <a:lnTo>
                    <a:pt x="23622" y="142239"/>
                  </a:lnTo>
                  <a:lnTo>
                    <a:pt x="23622" y="148589"/>
                  </a:lnTo>
                  <a:lnTo>
                    <a:pt x="26162" y="151257"/>
                  </a:lnTo>
                  <a:lnTo>
                    <a:pt x="32639" y="151257"/>
                  </a:lnTo>
                  <a:lnTo>
                    <a:pt x="35178" y="148589"/>
                  </a:lnTo>
                  <a:lnTo>
                    <a:pt x="35178" y="142239"/>
                  </a:lnTo>
                  <a:lnTo>
                    <a:pt x="32639" y="139700"/>
                  </a:lnTo>
                  <a:close/>
                </a:path>
                <a:path w="317500" h="314325">
                  <a:moveTo>
                    <a:pt x="9017" y="139700"/>
                  </a:moveTo>
                  <a:lnTo>
                    <a:pt x="2540" y="139700"/>
                  </a:lnTo>
                  <a:lnTo>
                    <a:pt x="0" y="142239"/>
                  </a:lnTo>
                  <a:lnTo>
                    <a:pt x="0" y="148589"/>
                  </a:lnTo>
                  <a:lnTo>
                    <a:pt x="2540" y="151257"/>
                  </a:lnTo>
                  <a:lnTo>
                    <a:pt x="9017" y="151257"/>
                  </a:lnTo>
                  <a:lnTo>
                    <a:pt x="11556" y="148589"/>
                  </a:lnTo>
                  <a:lnTo>
                    <a:pt x="11556" y="142239"/>
                  </a:lnTo>
                  <a:lnTo>
                    <a:pt x="9017" y="139700"/>
                  </a:lnTo>
                  <a:close/>
                </a:path>
                <a:path w="317500" h="314325">
                  <a:moveTo>
                    <a:pt x="314071" y="116204"/>
                  </a:moveTo>
                  <a:lnTo>
                    <a:pt x="307594" y="116204"/>
                  </a:lnTo>
                  <a:lnTo>
                    <a:pt x="305053" y="118617"/>
                  </a:lnTo>
                  <a:lnTo>
                    <a:pt x="305053" y="125222"/>
                  </a:lnTo>
                  <a:lnTo>
                    <a:pt x="307594" y="127762"/>
                  </a:lnTo>
                  <a:lnTo>
                    <a:pt x="314071" y="127762"/>
                  </a:lnTo>
                  <a:lnTo>
                    <a:pt x="316992" y="125222"/>
                  </a:lnTo>
                  <a:lnTo>
                    <a:pt x="316992" y="118617"/>
                  </a:lnTo>
                  <a:lnTo>
                    <a:pt x="314071" y="116204"/>
                  </a:lnTo>
                  <a:close/>
                </a:path>
                <a:path w="317500" h="314325">
                  <a:moveTo>
                    <a:pt x="290956" y="116204"/>
                  </a:moveTo>
                  <a:lnTo>
                    <a:pt x="284606" y="116204"/>
                  </a:lnTo>
                  <a:lnTo>
                    <a:pt x="281940" y="118745"/>
                  </a:lnTo>
                  <a:lnTo>
                    <a:pt x="281940" y="125095"/>
                  </a:lnTo>
                  <a:lnTo>
                    <a:pt x="284606" y="127762"/>
                  </a:lnTo>
                  <a:lnTo>
                    <a:pt x="290956" y="127762"/>
                  </a:lnTo>
                  <a:lnTo>
                    <a:pt x="293497" y="125095"/>
                  </a:lnTo>
                  <a:lnTo>
                    <a:pt x="293497" y="118745"/>
                  </a:lnTo>
                  <a:lnTo>
                    <a:pt x="290956" y="116204"/>
                  </a:lnTo>
                  <a:close/>
                </a:path>
                <a:path w="317500" h="314325">
                  <a:moveTo>
                    <a:pt x="32639" y="116204"/>
                  </a:moveTo>
                  <a:lnTo>
                    <a:pt x="26162" y="116204"/>
                  </a:lnTo>
                  <a:lnTo>
                    <a:pt x="23622" y="118745"/>
                  </a:lnTo>
                  <a:lnTo>
                    <a:pt x="23622" y="125095"/>
                  </a:lnTo>
                  <a:lnTo>
                    <a:pt x="26162" y="127762"/>
                  </a:lnTo>
                  <a:lnTo>
                    <a:pt x="32639" y="127762"/>
                  </a:lnTo>
                  <a:lnTo>
                    <a:pt x="35178" y="125095"/>
                  </a:lnTo>
                  <a:lnTo>
                    <a:pt x="35178" y="118745"/>
                  </a:lnTo>
                  <a:lnTo>
                    <a:pt x="32639" y="116204"/>
                  </a:lnTo>
                  <a:close/>
                </a:path>
                <a:path w="317500" h="314325">
                  <a:moveTo>
                    <a:pt x="9017" y="116204"/>
                  </a:moveTo>
                  <a:lnTo>
                    <a:pt x="2540" y="116204"/>
                  </a:lnTo>
                  <a:lnTo>
                    <a:pt x="0" y="118745"/>
                  </a:lnTo>
                  <a:lnTo>
                    <a:pt x="0" y="125095"/>
                  </a:lnTo>
                  <a:lnTo>
                    <a:pt x="2540" y="127762"/>
                  </a:lnTo>
                  <a:lnTo>
                    <a:pt x="9017" y="127762"/>
                  </a:lnTo>
                  <a:lnTo>
                    <a:pt x="11556" y="125095"/>
                  </a:lnTo>
                  <a:lnTo>
                    <a:pt x="11556" y="118745"/>
                  </a:lnTo>
                  <a:lnTo>
                    <a:pt x="9017" y="116204"/>
                  </a:lnTo>
                  <a:close/>
                </a:path>
                <a:path w="317500" h="314325">
                  <a:moveTo>
                    <a:pt x="314071" y="92837"/>
                  </a:moveTo>
                  <a:lnTo>
                    <a:pt x="307594" y="92837"/>
                  </a:lnTo>
                  <a:lnTo>
                    <a:pt x="305053" y="95376"/>
                  </a:lnTo>
                  <a:lnTo>
                    <a:pt x="305053" y="102235"/>
                  </a:lnTo>
                  <a:lnTo>
                    <a:pt x="307594" y="104648"/>
                  </a:lnTo>
                  <a:lnTo>
                    <a:pt x="314071" y="104648"/>
                  </a:lnTo>
                  <a:lnTo>
                    <a:pt x="316992" y="102235"/>
                  </a:lnTo>
                  <a:lnTo>
                    <a:pt x="316992" y="95376"/>
                  </a:lnTo>
                  <a:lnTo>
                    <a:pt x="314071" y="92837"/>
                  </a:lnTo>
                  <a:close/>
                </a:path>
                <a:path w="317500" h="314325">
                  <a:moveTo>
                    <a:pt x="290956" y="92837"/>
                  </a:moveTo>
                  <a:lnTo>
                    <a:pt x="284606" y="92837"/>
                  </a:lnTo>
                  <a:lnTo>
                    <a:pt x="281940" y="95503"/>
                  </a:lnTo>
                  <a:lnTo>
                    <a:pt x="281940" y="102108"/>
                  </a:lnTo>
                  <a:lnTo>
                    <a:pt x="284606" y="104648"/>
                  </a:lnTo>
                  <a:lnTo>
                    <a:pt x="290956" y="104648"/>
                  </a:lnTo>
                  <a:lnTo>
                    <a:pt x="293497" y="102108"/>
                  </a:lnTo>
                  <a:lnTo>
                    <a:pt x="293497" y="95503"/>
                  </a:lnTo>
                  <a:lnTo>
                    <a:pt x="290956" y="92837"/>
                  </a:lnTo>
                  <a:close/>
                </a:path>
                <a:path w="317500" h="314325">
                  <a:moveTo>
                    <a:pt x="32639" y="92837"/>
                  </a:moveTo>
                  <a:lnTo>
                    <a:pt x="26162" y="92837"/>
                  </a:lnTo>
                  <a:lnTo>
                    <a:pt x="23622" y="95503"/>
                  </a:lnTo>
                  <a:lnTo>
                    <a:pt x="23622" y="102108"/>
                  </a:lnTo>
                  <a:lnTo>
                    <a:pt x="26162" y="104648"/>
                  </a:lnTo>
                  <a:lnTo>
                    <a:pt x="32639" y="104648"/>
                  </a:lnTo>
                  <a:lnTo>
                    <a:pt x="35178" y="102108"/>
                  </a:lnTo>
                  <a:lnTo>
                    <a:pt x="35178" y="95503"/>
                  </a:lnTo>
                  <a:lnTo>
                    <a:pt x="32639" y="92837"/>
                  </a:lnTo>
                  <a:close/>
                </a:path>
                <a:path w="317500" h="314325">
                  <a:moveTo>
                    <a:pt x="9017" y="92837"/>
                  </a:moveTo>
                  <a:lnTo>
                    <a:pt x="2540" y="92837"/>
                  </a:lnTo>
                  <a:lnTo>
                    <a:pt x="0" y="95503"/>
                  </a:lnTo>
                  <a:lnTo>
                    <a:pt x="0" y="102108"/>
                  </a:lnTo>
                  <a:lnTo>
                    <a:pt x="2540" y="104648"/>
                  </a:lnTo>
                  <a:lnTo>
                    <a:pt x="9017" y="104648"/>
                  </a:lnTo>
                  <a:lnTo>
                    <a:pt x="11556" y="102108"/>
                  </a:lnTo>
                  <a:lnTo>
                    <a:pt x="11556" y="95503"/>
                  </a:lnTo>
                  <a:lnTo>
                    <a:pt x="9017" y="92837"/>
                  </a:lnTo>
                  <a:close/>
                </a:path>
                <a:path w="317500" h="314325">
                  <a:moveTo>
                    <a:pt x="314071" y="69850"/>
                  </a:moveTo>
                  <a:lnTo>
                    <a:pt x="307594" y="69850"/>
                  </a:lnTo>
                  <a:lnTo>
                    <a:pt x="305053" y="72262"/>
                  </a:lnTo>
                  <a:lnTo>
                    <a:pt x="305053" y="78866"/>
                  </a:lnTo>
                  <a:lnTo>
                    <a:pt x="307594" y="81407"/>
                  </a:lnTo>
                  <a:lnTo>
                    <a:pt x="314071" y="81407"/>
                  </a:lnTo>
                  <a:lnTo>
                    <a:pt x="316992" y="78866"/>
                  </a:lnTo>
                  <a:lnTo>
                    <a:pt x="316992" y="72262"/>
                  </a:lnTo>
                  <a:lnTo>
                    <a:pt x="314071" y="69850"/>
                  </a:lnTo>
                  <a:close/>
                </a:path>
                <a:path w="317500" h="314325">
                  <a:moveTo>
                    <a:pt x="290956" y="69850"/>
                  </a:moveTo>
                  <a:lnTo>
                    <a:pt x="284606" y="69850"/>
                  </a:lnTo>
                  <a:lnTo>
                    <a:pt x="281940" y="72389"/>
                  </a:lnTo>
                  <a:lnTo>
                    <a:pt x="281940" y="78739"/>
                  </a:lnTo>
                  <a:lnTo>
                    <a:pt x="284606" y="81407"/>
                  </a:lnTo>
                  <a:lnTo>
                    <a:pt x="290956" y="81407"/>
                  </a:lnTo>
                  <a:lnTo>
                    <a:pt x="293497" y="78739"/>
                  </a:lnTo>
                  <a:lnTo>
                    <a:pt x="293497" y="72389"/>
                  </a:lnTo>
                  <a:lnTo>
                    <a:pt x="290956" y="69850"/>
                  </a:lnTo>
                  <a:close/>
                </a:path>
                <a:path w="317500" h="314325">
                  <a:moveTo>
                    <a:pt x="32639" y="69850"/>
                  </a:moveTo>
                  <a:lnTo>
                    <a:pt x="26162" y="69850"/>
                  </a:lnTo>
                  <a:lnTo>
                    <a:pt x="23622" y="72389"/>
                  </a:lnTo>
                  <a:lnTo>
                    <a:pt x="23622" y="78739"/>
                  </a:lnTo>
                  <a:lnTo>
                    <a:pt x="26162" y="81407"/>
                  </a:lnTo>
                  <a:lnTo>
                    <a:pt x="32639" y="81407"/>
                  </a:lnTo>
                  <a:lnTo>
                    <a:pt x="35178" y="78739"/>
                  </a:lnTo>
                  <a:lnTo>
                    <a:pt x="35178" y="72389"/>
                  </a:lnTo>
                  <a:lnTo>
                    <a:pt x="32639" y="69850"/>
                  </a:lnTo>
                  <a:close/>
                </a:path>
                <a:path w="317500" h="314325">
                  <a:moveTo>
                    <a:pt x="9017" y="69850"/>
                  </a:moveTo>
                  <a:lnTo>
                    <a:pt x="2540" y="69850"/>
                  </a:lnTo>
                  <a:lnTo>
                    <a:pt x="0" y="72389"/>
                  </a:lnTo>
                  <a:lnTo>
                    <a:pt x="0" y="78739"/>
                  </a:lnTo>
                  <a:lnTo>
                    <a:pt x="2540" y="81407"/>
                  </a:lnTo>
                  <a:lnTo>
                    <a:pt x="9017" y="81407"/>
                  </a:lnTo>
                  <a:lnTo>
                    <a:pt x="11556" y="78739"/>
                  </a:lnTo>
                  <a:lnTo>
                    <a:pt x="11556" y="72389"/>
                  </a:lnTo>
                  <a:lnTo>
                    <a:pt x="9017" y="69850"/>
                  </a:lnTo>
                  <a:close/>
                </a:path>
                <a:path w="317500" h="314325">
                  <a:moveTo>
                    <a:pt x="314071" y="46354"/>
                  </a:moveTo>
                  <a:lnTo>
                    <a:pt x="307594" y="46354"/>
                  </a:lnTo>
                  <a:lnTo>
                    <a:pt x="305053" y="49275"/>
                  </a:lnTo>
                  <a:lnTo>
                    <a:pt x="305053" y="55372"/>
                  </a:lnTo>
                  <a:lnTo>
                    <a:pt x="307594" y="57912"/>
                  </a:lnTo>
                  <a:lnTo>
                    <a:pt x="314071" y="57912"/>
                  </a:lnTo>
                  <a:lnTo>
                    <a:pt x="316992" y="55372"/>
                  </a:lnTo>
                  <a:lnTo>
                    <a:pt x="316992" y="49275"/>
                  </a:lnTo>
                  <a:lnTo>
                    <a:pt x="314071" y="46354"/>
                  </a:lnTo>
                  <a:close/>
                </a:path>
                <a:path w="317500" h="314325">
                  <a:moveTo>
                    <a:pt x="290956" y="46354"/>
                  </a:moveTo>
                  <a:lnTo>
                    <a:pt x="284606" y="46354"/>
                  </a:lnTo>
                  <a:lnTo>
                    <a:pt x="281940" y="48895"/>
                  </a:lnTo>
                  <a:lnTo>
                    <a:pt x="281940" y="55245"/>
                  </a:lnTo>
                  <a:lnTo>
                    <a:pt x="284606" y="57912"/>
                  </a:lnTo>
                  <a:lnTo>
                    <a:pt x="290956" y="57912"/>
                  </a:lnTo>
                  <a:lnTo>
                    <a:pt x="293497" y="55245"/>
                  </a:lnTo>
                  <a:lnTo>
                    <a:pt x="293497" y="48895"/>
                  </a:lnTo>
                  <a:lnTo>
                    <a:pt x="290956" y="46354"/>
                  </a:lnTo>
                  <a:close/>
                </a:path>
                <a:path w="317500" h="314325">
                  <a:moveTo>
                    <a:pt x="32639" y="46354"/>
                  </a:moveTo>
                  <a:lnTo>
                    <a:pt x="26162" y="46354"/>
                  </a:lnTo>
                  <a:lnTo>
                    <a:pt x="23622" y="48895"/>
                  </a:lnTo>
                  <a:lnTo>
                    <a:pt x="23622" y="55245"/>
                  </a:lnTo>
                  <a:lnTo>
                    <a:pt x="26162" y="57912"/>
                  </a:lnTo>
                  <a:lnTo>
                    <a:pt x="32639" y="57912"/>
                  </a:lnTo>
                  <a:lnTo>
                    <a:pt x="35178" y="55245"/>
                  </a:lnTo>
                  <a:lnTo>
                    <a:pt x="35178" y="48895"/>
                  </a:lnTo>
                  <a:lnTo>
                    <a:pt x="32639" y="46354"/>
                  </a:lnTo>
                  <a:close/>
                </a:path>
                <a:path w="317500" h="314325">
                  <a:moveTo>
                    <a:pt x="9017" y="46354"/>
                  </a:moveTo>
                  <a:lnTo>
                    <a:pt x="2540" y="46354"/>
                  </a:lnTo>
                  <a:lnTo>
                    <a:pt x="0" y="48895"/>
                  </a:lnTo>
                  <a:lnTo>
                    <a:pt x="0" y="55245"/>
                  </a:lnTo>
                  <a:lnTo>
                    <a:pt x="2540" y="57912"/>
                  </a:lnTo>
                  <a:lnTo>
                    <a:pt x="9017" y="57912"/>
                  </a:lnTo>
                  <a:lnTo>
                    <a:pt x="11556" y="55245"/>
                  </a:lnTo>
                  <a:lnTo>
                    <a:pt x="11556" y="48895"/>
                  </a:lnTo>
                  <a:lnTo>
                    <a:pt x="9017" y="46354"/>
                  </a:lnTo>
                  <a:close/>
                </a:path>
                <a:path w="317500" h="314325">
                  <a:moveTo>
                    <a:pt x="314071" y="23367"/>
                  </a:moveTo>
                  <a:lnTo>
                    <a:pt x="307594" y="23367"/>
                  </a:lnTo>
                  <a:lnTo>
                    <a:pt x="305053" y="25780"/>
                  </a:lnTo>
                  <a:lnTo>
                    <a:pt x="305053" y="32003"/>
                  </a:lnTo>
                  <a:lnTo>
                    <a:pt x="307594" y="34798"/>
                  </a:lnTo>
                  <a:lnTo>
                    <a:pt x="314071" y="34798"/>
                  </a:lnTo>
                  <a:lnTo>
                    <a:pt x="316992" y="32003"/>
                  </a:lnTo>
                  <a:lnTo>
                    <a:pt x="316992" y="25780"/>
                  </a:lnTo>
                  <a:lnTo>
                    <a:pt x="314071" y="23367"/>
                  </a:lnTo>
                  <a:close/>
                </a:path>
                <a:path w="317500" h="314325">
                  <a:moveTo>
                    <a:pt x="290956" y="23367"/>
                  </a:moveTo>
                  <a:lnTo>
                    <a:pt x="284606" y="23367"/>
                  </a:lnTo>
                  <a:lnTo>
                    <a:pt x="281940" y="25908"/>
                  </a:lnTo>
                  <a:lnTo>
                    <a:pt x="281940" y="32258"/>
                  </a:lnTo>
                  <a:lnTo>
                    <a:pt x="284606" y="34798"/>
                  </a:lnTo>
                  <a:lnTo>
                    <a:pt x="290956" y="34798"/>
                  </a:lnTo>
                  <a:lnTo>
                    <a:pt x="293497" y="32258"/>
                  </a:lnTo>
                  <a:lnTo>
                    <a:pt x="293497" y="25908"/>
                  </a:lnTo>
                  <a:lnTo>
                    <a:pt x="290956" y="23367"/>
                  </a:lnTo>
                  <a:close/>
                </a:path>
                <a:path w="317500" h="314325">
                  <a:moveTo>
                    <a:pt x="267462" y="23367"/>
                  </a:moveTo>
                  <a:lnTo>
                    <a:pt x="261112" y="23367"/>
                  </a:lnTo>
                  <a:lnTo>
                    <a:pt x="258445" y="25908"/>
                  </a:lnTo>
                  <a:lnTo>
                    <a:pt x="258445" y="32258"/>
                  </a:lnTo>
                  <a:lnTo>
                    <a:pt x="261112" y="34798"/>
                  </a:lnTo>
                  <a:lnTo>
                    <a:pt x="267462" y="34798"/>
                  </a:lnTo>
                  <a:lnTo>
                    <a:pt x="270128" y="32258"/>
                  </a:lnTo>
                  <a:lnTo>
                    <a:pt x="270128" y="25908"/>
                  </a:lnTo>
                  <a:lnTo>
                    <a:pt x="267462" y="23367"/>
                  </a:lnTo>
                  <a:close/>
                </a:path>
                <a:path w="317500" h="314325">
                  <a:moveTo>
                    <a:pt x="243840" y="23367"/>
                  </a:moveTo>
                  <a:lnTo>
                    <a:pt x="237236" y="23367"/>
                  </a:lnTo>
                  <a:lnTo>
                    <a:pt x="234569" y="25908"/>
                  </a:lnTo>
                  <a:lnTo>
                    <a:pt x="234569" y="32258"/>
                  </a:lnTo>
                  <a:lnTo>
                    <a:pt x="237236" y="34798"/>
                  </a:lnTo>
                  <a:lnTo>
                    <a:pt x="243840" y="34798"/>
                  </a:lnTo>
                  <a:lnTo>
                    <a:pt x="246506" y="32258"/>
                  </a:lnTo>
                  <a:lnTo>
                    <a:pt x="246506" y="25908"/>
                  </a:lnTo>
                  <a:lnTo>
                    <a:pt x="243840" y="23367"/>
                  </a:lnTo>
                  <a:close/>
                </a:path>
                <a:path w="317500" h="314325">
                  <a:moveTo>
                    <a:pt x="220345" y="23367"/>
                  </a:moveTo>
                  <a:lnTo>
                    <a:pt x="213614" y="23367"/>
                  </a:lnTo>
                  <a:lnTo>
                    <a:pt x="210947" y="25908"/>
                  </a:lnTo>
                  <a:lnTo>
                    <a:pt x="210947" y="32258"/>
                  </a:lnTo>
                  <a:lnTo>
                    <a:pt x="213614" y="34798"/>
                  </a:lnTo>
                  <a:lnTo>
                    <a:pt x="220345" y="34798"/>
                  </a:lnTo>
                  <a:lnTo>
                    <a:pt x="223012" y="32258"/>
                  </a:lnTo>
                  <a:lnTo>
                    <a:pt x="223012" y="25908"/>
                  </a:lnTo>
                  <a:lnTo>
                    <a:pt x="220345" y="23367"/>
                  </a:lnTo>
                  <a:close/>
                </a:path>
                <a:path w="317500" h="314325">
                  <a:moveTo>
                    <a:pt x="196850" y="23367"/>
                  </a:moveTo>
                  <a:lnTo>
                    <a:pt x="190373" y="23367"/>
                  </a:lnTo>
                  <a:lnTo>
                    <a:pt x="187833" y="25908"/>
                  </a:lnTo>
                  <a:lnTo>
                    <a:pt x="187833" y="32258"/>
                  </a:lnTo>
                  <a:lnTo>
                    <a:pt x="190373" y="34798"/>
                  </a:lnTo>
                  <a:lnTo>
                    <a:pt x="196850" y="34798"/>
                  </a:lnTo>
                  <a:lnTo>
                    <a:pt x="199390" y="32258"/>
                  </a:lnTo>
                  <a:lnTo>
                    <a:pt x="199390" y="25908"/>
                  </a:lnTo>
                  <a:lnTo>
                    <a:pt x="196850" y="23367"/>
                  </a:lnTo>
                  <a:close/>
                </a:path>
                <a:path w="317500" h="314325">
                  <a:moveTo>
                    <a:pt x="173354" y="23367"/>
                  </a:moveTo>
                  <a:lnTo>
                    <a:pt x="167004" y="23367"/>
                  </a:lnTo>
                  <a:lnTo>
                    <a:pt x="164338" y="25908"/>
                  </a:lnTo>
                  <a:lnTo>
                    <a:pt x="164338" y="32258"/>
                  </a:lnTo>
                  <a:lnTo>
                    <a:pt x="167004" y="34798"/>
                  </a:lnTo>
                  <a:lnTo>
                    <a:pt x="173354" y="34798"/>
                  </a:lnTo>
                  <a:lnTo>
                    <a:pt x="175895" y="32258"/>
                  </a:lnTo>
                  <a:lnTo>
                    <a:pt x="175895" y="25908"/>
                  </a:lnTo>
                  <a:lnTo>
                    <a:pt x="173354" y="23367"/>
                  </a:lnTo>
                  <a:close/>
                </a:path>
                <a:path w="317500" h="314325">
                  <a:moveTo>
                    <a:pt x="150114" y="23367"/>
                  </a:moveTo>
                  <a:lnTo>
                    <a:pt x="143383" y="23367"/>
                  </a:lnTo>
                  <a:lnTo>
                    <a:pt x="140716" y="25908"/>
                  </a:lnTo>
                  <a:lnTo>
                    <a:pt x="140716" y="32258"/>
                  </a:lnTo>
                  <a:lnTo>
                    <a:pt x="143383" y="34798"/>
                  </a:lnTo>
                  <a:lnTo>
                    <a:pt x="150114" y="34798"/>
                  </a:lnTo>
                  <a:lnTo>
                    <a:pt x="152780" y="32258"/>
                  </a:lnTo>
                  <a:lnTo>
                    <a:pt x="152780" y="25908"/>
                  </a:lnTo>
                  <a:lnTo>
                    <a:pt x="150114" y="23367"/>
                  </a:lnTo>
                  <a:close/>
                </a:path>
                <a:path w="317500" h="314325">
                  <a:moveTo>
                    <a:pt x="126619" y="23367"/>
                  </a:moveTo>
                  <a:lnTo>
                    <a:pt x="120015" y="23367"/>
                  </a:lnTo>
                  <a:lnTo>
                    <a:pt x="117348" y="25908"/>
                  </a:lnTo>
                  <a:lnTo>
                    <a:pt x="117348" y="32258"/>
                  </a:lnTo>
                  <a:lnTo>
                    <a:pt x="120015" y="34798"/>
                  </a:lnTo>
                  <a:lnTo>
                    <a:pt x="126619" y="34798"/>
                  </a:lnTo>
                  <a:lnTo>
                    <a:pt x="129286" y="32258"/>
                  </a:lnTo>
                  <a:lnTo>
                    <a:pt x="129286" y="25908"/>
                  </a:lnTo>
                  <a:lnTo>
                    <a:pt x="126619" y="23367"/>
                  </a:lnTo>
                  <a:close/>
                </a:path>
                <a:path w="317500" h="314325">
                  <a:moveTo>
                    <a:pt x="103124" y="23367"/>
                  </a:moveTo>
                  <a:lnTo>
                    <a:pt x="96774" y="23367"/>
                  </a:lnTo>
                  <a:lnTo>
                    <a:pt x="94106" y="25908"/>
                  </a:lnTo>
                  <a:lnTo>
                    <a:pt x="94106" y="32258"/>
                  </a:lnTo>
                  <a:lnTo>
                    <a:pt x="96774" y="34798"/>
                  </a:lnTo>
                  <a:lnTo>
                    <a:pt x="103124" y="34798"/>
                  </a:lnTo>
                  <a:lnTo>
                    <a:pt x="105664" y="32258"/>
                  </a:lnTo>
                  <a:lnTo>
                    <a:pt x="105664" y="25908"/>
                  </a:lnTo>
                  <a:lnTo>
                    <a:pt x="103124" y="23367"/>
                  </a:lnTo>
                  <a:close/>
                </a:path>
                <a:path w="317500" h="314325">
                  <a:moveTo>
                    <a:pt x="79628" y="23367"/>
                  </a:moveTo>
                  <a:lnTo>
                    <a:pt x="73278" y="23367"/>
                  </a:lnTo>
                  <a:lnTo>
                    <a:pt x="70739" y="25908"/>
                  </a:lnTo>
                  <a:lnTo>
                    <a:pt x="70739" y="32258"/>
                  </a:lnTo>
                  <a:lnTo>
                    <a:pt x="73278" y="34798"/>
                  </a:lnTo>
                  <a:lnTo>
                    <a:pt x="79628" y="34798"/>
                  </a:lnTo>
                  <a:lnTo>
                    <a:pt x="82296" y="32258"/>
                  </a:lnTo>
                  <a:lnTo>
                    <a:pt x="82296" y="25908"/>
                  </a:lnTo>
                  <a:lnTo>
                    <a:pt x="79628" y="23367"/>
                  </a:lnTo>
                  <a:close/>
                </a:path>
                <a:path w="317500" h="314325">
                  <a:moveTo>
                    <a:pt x="56006" y="23367"/>
                  </a:moveTo>
                  <a:lnTo>
                    <a:pt x="49656" y="23367"/>
                  </a:lnTo>
                  <a:lnTo>
                    <a:pt x="47117" y="25908"/>
                  </a:lnTo>
                  <a:lnTo>
                    <a:pt x="47117" y="32258"/>
                  </a:lnTo>
                  <a:lnTo>
                    <a:pt x="49656" y="34798"/>
                  </a:lnTo>
                  <a:lnTo>
                    <a:pt x="56006" y="34798"/>
                  </a:lnTo>
                  <a:lnTo>
                    <a:pt x="58674" y="32258"/>
                  </a:lnTo>
                  <a:lnTo>
                    <a:pt x="58674" y="25908"/>
                  </a:lnTo>
                  <a:lnTo>
                    <a:pt x="56006" y="23367"/>
                  </a:lnTo>
                  <a:close/>
                </a:path>
                <a:path w="317500" h="314325">
                  <a:moveTo>
                    <a:pt x="32639" y="23367"/>
                  </a:moveTo>
                  <a:lnTo>
                    <a:pt x="26162" y="23367"/>
                  </a:lnTo>
                  <a:lnTo>
                    <a:pt x="23622" y="25908"/>
                  </a:lnTo>
                  <a:lnTo>
                    <a:pt x="23622" y="32258"/>
                  </a:lnTo>
                  <a:lnTo>
                    <a:pt x="26162" y="34798"/>
                  </a:lnTo>
                  <a:lnTo>
                    <a:pt x="32639" y="34798"/>
                  </a:lnTo>
                  <a:lnTo>
                    <a:pt x="35178" y="32258"/>
                  </a:lnTo>
                  <a:lnTo>
                    <a:pt x="35178" y="25908"/>
                  </a:lnTo>
                  <a:lnTo>
                    <a:pt x="32639" y="23367"/>
                  </a:lnTo>
                  <a:close/>
                </a:path>
                <a:path w="317500" h="314325">
                  <a:moveTo>
                    <a:pt x="9017" y="23367"/>
                  </a:moveTo>
                  <a:lnTo>
                    <a:pt x="2540" y="23367"/>
                  </a:lnTo>
                  <a:lnTo>
                    <a:pt x="0" y="25908"/>
                  </a:lnTo>
                  <a:lnTo>
                    <a:pt x="0" y="32258"/>
                  </a:lnTo>
                  <a:lnTo>
                    <a:pt x="2540" y="34798"/>
                  </a:lnTo>
                  <a:lnTo>
                    <a:pt x="9017" y="34798"/>
                  </a:lnTo>
                  <a:lnTo>
                    <a:pt x="11556" y="32258"/>
                  </a:lnTo>
                  <a:lnTo>
                    <a:pt x="11556" y="25908"/>
                  </a:lnTo>
                  <a:lnTo>
                    <a:pt x="9017" y="23367"/>
                  </a:lnTo>
                  <a:close/>
                </a:path>
                <a:path w="317500" h="314325">
                  <a:moveTo>
                    <a:pt x="314071" y="0"/>
                  </a:moveTo>
                  <a:lnTo>
                    <a:pt x="307594" y="0"/>
                  </a:lnTo>
                  <a:lnTo>
                    <a:pt x="305053" y="2412"/>
                  </a:lnTo>
                  <a:lnTo>
                    <a:pt x="305053" y="9016"/>
                  </a:lnTo>
                  <a:lnTo>
                    <a:pt x="307594" y="11811"/>
                  </a:lnTo>
                  <a:lnTo>
                    <a:pt x="314071" y="11811"/>
                  </a:lnTo>
                  <a:lnTo>
                    <a:pt x="316992" y="9016"/>
                  </a:lnTo>
                  <a:lnTo>
                    <a:pt x="316992" y="2412"/>
                  </a:lnTo>
                  <a:lnTo>
                    <a:pt x="314071" y="0"/>
                  </a:lnTo>
                  <a:close/>
                </a:path>
                <a:path w="317500" h="314325">
                  <a:moveTo>
                    <a:pt x="290702" y="0"/>
                  </a:moveTo>
                  <a:lnTo>
                    <a:pt x="284479" y="0"/>
                  </a:lnTo>
                  <a:lnTo>
                    <a:pt x="281940" y="2412"/>
                  </a:lnTo>
                  <a:lnTo>
                    <a:pt x="281940" y="9016"/>
                  </a:lnTo>
                  <a:lnTo>
                    <a:pt x="284479" y="11811"/>
                  </a:lnTo>
                  <a:lnTo>
                    <a:pt x="290702" y="11811"/>
                  </a:lnTo>
                  <a:lnTo>
                    <a:pt x="293497" y="9016"/>
                  </a:lnTo>
                  <a:lnTo>
                    <a:pt x="293497" y="2412"/>
                  </a:lnTo>
                  <a:lnTo>
                    <a:pt x="290702" y="0"/>
                  </a:lnTo>
                  <a:close/>
                </a:path>
                <a:path w="317500" h="314325">
                  <a:moveTo>
                    <a:pt x="267208" y="0"/>
                  </a:moveTo>
                  <a:lnTo>
                    <a:pt x="260985" y="0"/>
                  </a:lnTo>
                  <a:lnTo>
                    <a:pt x="258445" y="2412"/>
                  </a:lnTo>
                  <a:lnTo>
                    <a:pt x="258445" y="9016"/>
                  </a:lnTo>
                  <a:lnTo>
                    <a:pt x="260985" y="11811"/>
                  </a:lnTo>
                  <a:lnTo>
                    <a:pt x="267208" y="11811"/>
                  </a:lnTo>
                  <a:lnTo>
                    <a:pt x="270128" y="9016"/>
                  </a:lnTo>
                  <a:lnTo>
                    <a:pt x="270128" y="2412"/>
                  </a:lnTo>
                  <a:lnTo>
                    <a:pt x="267208" y="0"/>
                  </a:lnTo>
                  <a:close/>
                </a:path>
                <a:path w="317500" h="314325">
                  <a:moveTo>
                    <a:pt x="243586" y="0"/>
                  </a:moveTo>
                  <a:lnTo>
                    <a:pt x="237490" y="0"/>
                  </a:lnTo>
                  <a:lnTo>
                    <a:pt x="234569" y="2412"/>
                  </a:lnTo>
                  <a:lnTo>
                    <a:pt x="234569" y="9016"/>
                  </a:lnTo>
                  <a:lnTo>
                    <a:pt x="237490" y="11811"/>
                  </a:lnTo>
                  <a:lnTo>
                    <a:pt x="243586" y="11811"/>
                  </a:lnTo>
                  <a:lnTo>
                    <a:pt x="246506" y="9016"/>
                  </a:lnTo>
                  <a:lnTo>
                    <a:pt x="246506" y="2412"/>
                  </a:lnTo>
                  <a:lnTo>
                    <a:pt x="243586" y="0"/>
                  </a:lnTo>
                  <a:close/>
                </a:path>
                <a:path w="317500" h="314325">
                  <a:moveTo>
                    <a:pt x="220472" y="0"/>
                  </a:moveTo>
                  <a:lnTo>
                    <a:pt x="213868" y="0"/>
                  </a:lnTo>
                  <a:lnTo>
                    <a:pt x="210947" y="2412"/>
                  </a:lnTo>
                  <a:lnTo>
                    <a:pt x="210947" y="9016"/>
                  </a:lnTo>
                  <a:lnTo>
                    <a:pt x="213868" y="11811"/>
                  </a:lnTo>
                  <a:lnTo>
                    <a:pt x="220472" y="11811"/>
                  </a:lnTo>
                  <a:lnTo>
                    <a:pt x="223012" y="9016"/>
                  </a:lnTo>
                  <a:lnTo>
                    <a:pt x="223012" y="2412"/>
                  </a:lnTo>
                  <a:lnTo>
                    <a:pt x="220472" y="0"/>
                  </a:lnTo>
                  <a:close/>
                </a:path>
                <a:path w="317500" h="314325">
                  <a:moveTo>
                    <a:pt x="196850" y="0"/>
                  </a:moveTo>
                  <a:lnTo>
                    <a:pt x="190246" y="0"/>
                  </a:lnTo>
                  <a:lnTo>
                    <a:pt x="187833" y="2412"/>
                  </a:lnTo>
                  <a:lnTo>
                    <a:pt x="187833" y="9016"/>
                  </a:lnTo>
                  <a:lnTo>
                    <a:pt x="190246" y="11811"/>
                  </a:lnTo>
                  <a:lnTo>
                    <a:pt x="196850" y="11811"/>
                  </a:lnTo>
                  <a:lnTo>
                    <a:pt x="199390" y="9016"/>
                  </a:lnTo>
                  <a:lnTo>
                    <a:pt x="199390" y="2412"/>
                  </a:lnTo>
                  <a:lnTo>
                    <a:pt x="196850" y="0"/>
                  </a:lnTo>
                  <a:close/>
                </a:path>
                <a:path w="317500" h="314325">
                  <a:moveTo>
                    <a:pt x="173481" y="0"/>
                  </a:moveTo>
                  <a:lnTo>
                    <a:pt x="166877" y="0"/>
                  </a:lnTo>
                  <a:lnTo>
                    <a:pt x="164338" y="2412"/>
                  </a:lnTo>
                  <a:lnTo>
                    <a:pt x="164338" y="9016"/>
                  </a:lnTo>
                  <a:lnTo>
                    <a:pt x="166877" y="11811"/>
                  </a:lnTo>
                  <a:lnTo>
                    <a:pt x="173481" y="11811"/>
                  </a:lnTo>
                  <a:lnTo>
                    <a:pt x="175895" y="9016"/>
                  </a:lnTo>
                  <a:lnTo>
                    <a:pt x="175895" y="2412"/>
                  </a:lnTo>
                  <a:lnTo>
                    <a:pt x="173481" y="0"/>
                  </a:lnTo>
                  <a:close/>
                </a:path>
                <a:path w="317500" h="314325">
                  <a:moveTo>
                    <a:pt x="150241" y="0"/>
                  </a:moveTo>
                  <a:lnTo>
                    <a:pt x="143255" y="0"/>
                  </a:lnTo>
                  <a:lnTo>
                    <a:pt x="140716" y="2412"/>
                  </a:lnTo>
                  <a:lnTo>
                    <a:pt x="140716" y="9016"/>
                  </a:lnTo>
                  <a:lnTo>
                    <a:pt x="143255" y="11811"/>
                  </a:lnTo>
                  <a:lnTo>
                    <a:pt x="150241" y="11811"/>
                  </a:lnTo>
                  <a:lnTo>
                    <a:pt x="152780" y="9016"/>
                  </a:lnTo>
                  <a:lnTo>
                    <a:pt x="152780" y="2412"/>
                  </a:lnTo>
                  <a:lnTo>
                    <a:pt x="150241" y="0"/>
                  </a:lnTo>
                  <a:close/>
                </a:path>
                <a:path w="317500" h="314325">
                  <a:moveTo>
                    <a:pt x="126873" y="0"/>
                  </a:moveTo>
                  <a:lnTo>
                    <a:pt x="119761" y="0"/>
                  </a:lnTo>
                  <a:lnTo>
                    <a:pt x="117348" y="2412"/>
                  </a:lnTo>
                  <a:lnTo>
                    <a:pt x="117348" y="9016"/>
                  </a:lnTo>
                  <a:lnTo>
                    <a:pt x="119761" y="11811"/>
                  </a:lnTo>
                  <a:lnTo>
                    <a:pt x="126873" y="11811"/>
                  </a:lnTo>
                  <a:lnTo>
                    <a:pt x="129286" y="9016"/>
                  </a:lnTo>
                  <a:lnTo>
                    <a:pt x="129286" y="2412"/>
                  </a:lnTo>
                  <a:lnTo>
                    <a:pt x="126873" y="0"/>
                  </a:lnTo>
                  <a:close/>
                </a:path>
                <a:path w="317500" h="314325">
                  <a:moveTo>
                    <a:pt x="102870" y="0"/>
                  </a:moveTo>
                  <a:lnTo>
                    <a:pt x="96647" y="0"/>
                  </a:lnTo>
                  <a:lnTo>
                    <a:pt x="94106" y="2412"/>
                  </a:lnTo>
                  <a:lnTo>
                    <a:pt x="94106" y="9016"/>
                  </a:lnTo>
                  <a:lnTo>
                    <a:pt x="96647" y="11811"/>
                  </a:lnTo>
                  <a:lnTo>
                    <a:pt x="102870" y="11811"/>
                  </a:lnTo>
                  <a:lnTo>
                    <a:pt x="105664" y="9016"/>
                  </a:lnTo>
                  <a:lnTo>
                    <a:pt x="105664" y="2412"/>
                  </a:lnTo>
                  <a:lnTo>
                    <a:pt x="102870" y="0"/>
                  </a:lnTo>
                  <a:close/>
                </a:path>
                <a:path w="317500" h="314325">
                  <a:moveTo>
                    <a:pt x="79375" y="0"/>
                  </a:moveTo>
                  <a:lnTo>
                    <a:pt x="73151" y="0"/>
                  </a:lnTo>
                  <a:lnTo>
                    <a:pt x="70739" y="2412"/>
                  </a:lnTo>
                  <a:lnTo>
                    <a:pt x="70739" y="9016"/>
                  </a:lnTo>
                  <a:lnTo>
                    <a:pt x="73151" y="11811"/>
                  </a:lnTo>
                  <a:lnTo>
                    <a:pt x="79375" y="11811"/>
                  </a:lnTo>
                  <a:lnTo>
                    <a:pt x="82296" y="9016"/>
                  </a:lnTo>
                  <a:lnTo>
                    <a:pt x="82296" y="2412"/>
                  </a:lnTo>
                  <a:lnTo>
                    <a:pt x="79375" y="0"/>
                  </a:lnTo>
                  <a:close/>
                </a:path>
                <a:path w="317500" h="314325">
                  <a:moveTo>
                    <a:pt x="56134" y="0"/>
                  </a:moveTo>
                  <a:lnTo>
                    <a:pt x="49529" y="0"/>
                  </a:lnTo>
                  <a:lnTo>
                    <a:pt x="47117" y="2412"/>
                  </a:lnTo>
                  <a:lnTo>
                    <a:pt x="47117" y="9016"/>
                  </a:lnTo>
                  <a:lnTo>
                    <a:pt x="49529" y="11811"/>
                  </a:lnTo>
                  <a:lnTo>
                    <a:pt x="56134" y="11811"/>
                  </a:lnTo>
                  <a:lnTo>
                    <a:pt x="58674" y="9016"/>
                  </a:lnTo>
                  <a:lnTo>
                    <a:pt x="58674" y="2412"/>
                  </a:lnTo>
                  <a:lnTo>
                    <a:pt x="56134" y="0"/>
                  </a:lnTo>
                  <a:close/>
                </a:path>
                <a:path w="317500" h="314325">
                  <a:moveTo>
                    <a:pt x="32766" y="0"/>
                  </a:moveTo>
                  <a:lnTo>
                    <a:pt x="26543" y="0"/>
                  </a:lnTo>
                  <a:lnTo>
                    <a:pt x="23622" y="2412"/>
                  </a:lnTo>
                  <a:lnTo>
                    <a:pt x="23622" y="9016"/>
                  </a:lnTo>
                  <a:lnTo>
                    <a:pt x="26543" y="11811"/>
                  </a:lnTo>
                  <a:lnTo>
                    <a:pt x="32766" y="11811"/>
                  </a:lnTo>
                  <a:lnTo>
                    <a:pt x="35178" y="9016"/>
                  </a:lnTo>
                  <a:lnTo>
                    <a:pt x="35178" y="2412"/>
                  </a:lnTo>
                  <a:lnTo>
                    <a:pt x="32766" y="0"/>
                  </a:lnTo>
                  <a:close/>
                </a:path>
                <a:path w="317500" h="314325">
                  <a:moveTo>
                    <a:pt x="9144" y="0"/>
                  </a:moveTo>
                  <a:lnTo>
                    <a:pt x="2921" y="0"/>
                  </a:lnTo>
                  <a:lnTo>
                    <a:pt x="0" y="2412"/>
                  </a:lnTo>
                  <a:lnTo>
                    <a:pt x="0" y="9016"/>
                  </a:lnTo>
                  <a:lnTo>
                    <a:pt x="2921" y="11811"/>
                  </a:lnTo>
                  <a:lnTo>
                    <a:pt x="9144" y="11811"/>
                  </a:lnTo>
                  <a:lnTo>
                    <a:pt x="11556" y="9016"/>
                  </a:lnTo>
                  <a:lnTo>
                    <a:pt x="11556" y="241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595378" y="3848329"/>
            <a:ext cx="435640" cy="432472"/>
            <a:chOff x="3767714" y="2957720"/>
            <a:chExt cx="483276" cy="479762"/>
          </a:xfrm>
        </p:grpSpPr>
        <p:sp>
          <p:nvSpPr>
            <p:cNvPr id="27" name="object 15"/>
            <p:cNvSpPr/>
            <p:nvPr/>
          </p:nvSpPr>
          <p:spPr>
            <a:xfrm>
              <a:off x="3767714" y="2957720"/>
              <a:ext cx="483276" cy="479762"/>
            </a:xfrm>
            <a:custGeom>
              <a:avLst/>
              <a:gdLst/>
              <a:ahLst/>
              <a:cxnLst/>
              <a:rect l="l" t="t" r="r" b="b"/>
              <a:pathLst>
                <a:path w="698500" h="693419">
                  <a:moveTo>
                    <a:pt x="674877" y="0"/>
                  </a:moveTo>
                  <a:lnTo>
                    <a:pt x="23113" y="0"/>
                  </a:lnTo>
                  <a:lnTo>
                    <a:pt x="14144" y="1825"/>
                  </a:lnTo>
                  <a:lnTo>
                    <a:pt x="6794" y="6794"/>
                  </a:lnTo>
                  <a:lnTo>
                    <a:pt x="1825" y="14144"/>
                  </a:lnTo>
                  <a:lnTo>
                    <a:pt x="0" y="23113"/>
                  </a:lnTo>
                  <a:lnTo>
                    <a:pt x="0" y="670305"/>
                  </a:lnTo>
                  <a:lnTo>
                    <a:pt x="1825" y="679275"/>
                  </a:lnTo>
                  <a:lnTo>
                    <a:pt x="6794" y="686625"/>
                  </a:lnTo>
                  <a:lnTo>
                    <a:pt x="14144" y="691594"/>
                  </a:lnTo>
                  <a:lnTo>
                    <a:pt x="23113" y="693419"/>
                  </a:lnTo>
                  <a:lnTo>
                    <a:pt x="674877" y="693419"/>
                  </a:lnTo>
                  <a:lnTo>
                    <a:pt x="683847" y="691594"/>
                  </a:lnTo>
                  <a:lnTo>
                    <a:pt x="691197" y="686625"/>
                  </a:lnTo>
                  <a:lnTo>
                    <a:pt x="696166" y="679275"/>
                  </a:lnTo>
                  <a:lnTo>
                    <a:pt x="697991" y="670305"/>
                  </a:lnTo>
                  <a:lnTo>
                    <a:pt x="697991" y="23113"/>
                  </a:lnTo>
                  <a:lnTo>
                    <a:pt x="696166" y="14144"/>
                  </a:lnTo>
                  <a:lnTo>
                    <a:pt x="691197" y="6794"/>
                  </a:lnTo>
                  <a:lnTo>
                    <a:pt x="683847" y="1825"/>
                  </a:lnTo>
                  <a:lnTo>
                    <a:pt x="674877" y="0"/>
                  </a:lnTo>
                  <a:close/>
                </a:path>
              </a:pathLst>
            </a:custGeom>
            <a:solidFill>
              <a:srgbClr val="CFDEE6"/>
            </a:solidFill>
          </p:spPr>
          <p:txBody>
            <a:bodyPr wrap="square" lIns="0" tIns="0" rIns="0" bIns="0" rtlCol="0"/>
            <a:lstStyle/>
            <a:p>
              <a:endParaRPr dirty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8" name="object 17"/>
            <p:cNvSpPr/>
            <p:nvPr/>
          </p:nvSpPr>
          <p:spPr>
            <a:xfrm>
              <a:off x="3855231" y="3045237"/>
              <a:ext cx="307100" cy="304904"/>
            </a:xfrm>
            <a:custGeom>
              <a:avLst/>
              <a:gdLst/>
              <a:ahLst/>
              <a:cxnLst/>
              <a:rect l="l" t="t" r="r" b="b"/>
              <a:pathLst>
                <a:path w="443864" h="440689">
                  <a:moveTo>
                    <a:pt x="35560" y="369697"/>
                  </a:moveTo>
                  <a:lnTo>
                    <a:pt x="21699" y="372463"/>
                  </a:lnTo>
                  <a:lnTo>
                    <a:pt x="10398" y="380015"/>
                  </a:lnTo>
                  <a:lnTo>
                    <a:pt x="2788" y="391235"/>
                  </a:lnTo>
                  <a:lnTo>
                    <a:pt x="0" y="405002"/>
                  </a:lnTo>
                  <a:lnTo>
                    <a:pt x="2788" y="418790"/>
                  </a:lnTo>
                  <a:lnTo>
                    <a:pt x="10398" y="430053"/>
                  </a:lnTo>
                  <a:lnTo>
                    <a:pt x="21699" y="437649"/>
                  </a:lnTo>
                  <a:lnTo>
                    <a:pt x="35560" y="440436"/>
                  </a:lnTo>
                  <a:lnTo>
                    <a:pt x="49420" y="437649"/>
                  </a:lnTo>
                  <a:lnTo>
                    <a:pt x="60721" y="430053"/>
                  </a:lnTo>
                  <a:lnTo>
                    <a:pt x="68331" y="418790"/>
                  </a:lnTo>
                  <a:lnTo>
                    <a:pt x="71120" y="405002"/>
                  </a:lnTo>
                  <a:lnTo>
                    <a:pt x="68331" y="391235"/>
                  </a:lnTo>
                  <a:lnTo>
                    <a:pt x="60721" y="380015"/>
                  </a:lnTo>
                  <a:lnTo>
                    <a:pt x="49420" y="372463"/>
                  </a:lnTo>
                  <a:lnTo>
                    <a:pt x="35560" y="369697"/>
                  </a:lnTo>
                  <a:close/>
                </a:path>
                <a:path w="443864" h="440689">
                  <a:moveTo>
                    <a:pt x="235076" y="369697"/>
                  </a:moveTo>
                  <a:lnTo>
                    <a:pt x="221289" y="372463"/>
                  </a:lnTo>
                  <a:lnTo>
                    <a:pt x="210026" y="380015"/>
                  </a:lnTo>
                  <a:lnTo>
                    <a:pt x="202430" y="391235"/>
                  </a:lnTo>
                  <a:lnTo>
                    <a:pt x="199644" y="405002"/>
                  </a:lnTo>
                  <a:lnTo>
                    <a:pt x="202430" y="418790"/>
                  </a:lnTo>
                  <a:lnTo>
                    <a:pt x="210026" y="430053"/>
                  </a:lnTo>
                  <a:lnTo>
                    <a:pt x="221289" y="437649"/>
                  </a:lnTo>
                  <a:lnTo>
                    <a:pt x="235076" y="440436"/>
                  </a:lnTo>
                  <a:lnTo>
                    <a:pt x="248864" y="437649"/>
                  </a:lnTo>
                  <a:lnTo>
                    <a:pt x="260127" y="430053"/>
                  </a:lnTo>
                  <a:lnTo>
                    <a:pt x="267723" y="418790"/>
                  </a:lnTo>
                  <a:lnTo>
                    <a:pt x="270510" y="405002"/>
                  </a:lnTo>
                  <a:lnTo>
                    <a:pt x="267723" y="391235"/>
                  </a:lnTo>
                  <a:lnTo>
                    <a:pt x="260127" y="380015"/>
                  </a:lnTo>
                  <a:lnTo>
                    <a:pt x="248864" y="372463"/>
                  </a:lnTo>
                  <a:lnTo>
                    <a:pt x="235076" y="369697"/>
                  </a:lnTo>
                  <a:close/>
                </a:path>
                <a:path w="443864" h="440689">
                  <a:moveTo>
                    <a:pt x="423163" y="48513"/>
                  </a:moveTo>
                  <a:lnTo>
                    <a:pt x="393826" y="48513"/>
                  </a:lnTo>
                  <a:lnTo>
                    <a:pt x="393826" y="372999"/>
                  </a:lnTo>
                  <a:lnTo>
                    <a:pt x="383159" y="380492"/>
                  </a:lnTo>
                  <a:lnTo>
                    <a:pt x="378779" y="385681"/>
                  </a:lnTo>
                  <a:lnTo>
                    <a:pt x="375459" y="391525"/>
                  </a:lnTo>
                  <a:lnTo>
                    <a:pt x="373354" y="398012"/>
                  </a:lnTo>
                  <a:lnTo>
                    <a:pt x="372617" y="405130"/>
                  </a:lnTo>
                  <a:lnTo>
                    <a:pt x="375463" y="418951"/>
                  </a:lnTo>
                  <a:lnTo>
                    <a:pt x="383190" y="430164"/>
                  </a:lnTo>
                  <a:lnTo>
                    <a:pt x="394585" y="437687"/>
                  </a:lnTo>
                  <a:lnTo>
                    <a:pt x="408432" y="440436"/>
                  </a:lnTo>
                  <a:lnTo>
                    <a:pt x="422159" y="437687"/>
                  </a:lnTo>
                  <a:lnTo>
                    <a:pt x="433292" y="430164"/>
                  </a:lnTo>
                  <a:lnTo>
                    <a:pt x="440757" y="418951"/>
                  </a:lnTo>
                  <a:lnTo>
                    <a:pt x="443484" y="405130"/>
                  </a:lnTo>
                  <a:lnTo>
                    <a:pt x="442747" y="398012"/>
                  </a:lnTo>
                  <a:lnTo>
                    <a:pt x="440642" y="391525"/>
                  </a:lnTo>
                  <a:lnTo>
                    <a:pt x="437322" y="385681"/>
                  </a:lnTo>
                  <a:lnTo>
                    <a:pt x="432942" y="380492"/>
                  </a:lnTo>
                  <a:lnTo>
                    <a:pt x="423163" y="373888"/>
                  </a:lnTo>
                  <a:lnTo>
                    <a:pt x="423163" y="48513"/>
                  </a:lnTo>
                  <a:close/>
                </a:path>
                <a:path w="443864" h="440689">
                  <a:moveTo>
                    <a:pt x="35051" y="0"/>
                  </a:moveTo>
                  <a:lnTo>
                    <a:pt x="21645" y="2736"/>
                  </a:lnTo>
                  <a:lnTo>
                    <a:pt x="10477" y="10175"/>
                  </a:lnTo>
                  <a:lnTo>
                    <a:pt x="2833" y="21163"/>
                  </a:lnTo>
                  <a:lnTo>
                    <a:pt x="0" y="34544"/>
                  </a:lnTo>
                  <a:lnTo>
                    <a:pt x="1585" y="45063"/>
                  </a:lnTo>
                  <a:lnTo>
                    <a:pt x="5921" y="54213"/>
                  </a:lnTo>
                  <a:lnTo>
                    <a:pt x="12376" y="61529"/>
                  </a:lnTo>
                  <a:lnTo>
                    <a:pt x="20320" y="66548"/>
                  </a:lnTo>
                  <a:lnTo>
                    <a:pt x="20320" y="248920"/>
                  </a:lnTo>
                  <a:lnTo>
                    <a:pt x="26924" y="255524"/>
                  </a:lnTo>
                  <a:lnTo>
                    <a:pt x="141859" y="255524"/>
                  </a:lnTo>
                  <a:lnTo>
                    <a:pt x="141859" y="316230"/>
                  </a:lnTo>
                  <a:lnTo>
                    <a:pt x="149225" y="323723"/>
                  </a:lnTo>
                  <a:lnTo>
                    <a:pt x="313054" y="323723"/>
                  </a:lnTo>
                  <a:lnTo>
                    <a:pt x="320421" y="316230"/>
                  </a:lnTo>
                  <a:lnTo>
                    <a:pt x="320421" y="226695"/>
                  </a:lnTo>
                  <a:lnTo>
                    <a:pt x="49784" y="226695"/>
                  </a:lnTo>
                  <a:lnTo>
                    <a:pt x="49784" y="66548"/>
                  </a:lnTo>
                  <a:lnTo>
                    <a:pt x="58221" y="61529"/>
                  </a:lnTo>
                  <a:lnTo>
                    <a:pt x="64897" y="54213"/>
                  </a:lnTo>
                  <a:lnTo>
                    <a:pt x="69286" y="45063"/>
                  </a:lnTo>
                  <a:lnTo>
                    <a:pt x="70865" y="34544"/>
                  </a:lnTo>
                  <a:lnTo>
                    <a:pt x="68020" y="21163"/>
                  </a:lnTo>
                  <a:lnTo>
                    <a:pt x="60293" y="10175"/>
                  </a:lnTo>
                  <a:lnTo>
                    <a:pt x="48898" y="2736"/>
                  </a:lnTo>
                  <a:lnTo>
                    <a:pt x="35051" y="0"/>
                  </a:lnTo>
                  <a:close/>
                </a:path>
                <a:path w="443864" h="440689">
                  <a:moveTo>
                    <a:pt x="313054" y="138811"/>
                  </a:moveTo>
                  <a:lnTo>
                    <a:pt x="149225" y="138811"/>
                  </a:lnTo>
                  <a:lnTo>
                    <a:pt x="141859" y="146176"/>
                  </a:lnTo>
                  <a:lnTo>
                    <a:pt x="141859" y="226695"/>
                  </a:lnTo>
                  <a:lnTo>
                    <a:pt x="320421" y="226695"/>
                  </a:lnTo>
                  <a:lnTo>
                    <a:pt x="320421" y="146176"/>
                  </a:lnTo>
                  <a:lnTo>
                    <a:pt x="313054" y="138811"/>
                  </a:lnTo>
                  <a:close/>
                </a:path>
                <a:path w="443864" h="440689">
                  <a:moveTo>
                    <a:pt x="269875" y="0"/>
                  </a:moveTo>
                  <a:lnTo>
                    <a:pt x="256028" y="2736"/>
                  </a:lnTo>
                  <a:lnTo>
                    <a:pt x="244633" y="10175"/>
                  </a:lnTo>
                  <a:lnTo>
                    <a:pt x="236906" y="21163"/>
                  </a:lnTo>
                  <a:lnTo>
                    <a:pt x="234061" y="34544"/>
                  </a:lnTo>
                  <a:lnTo>
                    <a:pt x="236906" y="48484"/>
                  </a:lnTo>
                  <a:lnTo>
                    <a:pt x="244633" y="59959"/>
                  </a:lnTo>
                  <a:lnTo>
                    <a:pt x="256028" y="67744"/>
                  </a:lnTo>
                  <a:lnTo>
                    <a:pt x="269875" y="70612"/>
                  </a:lnTo>
                  <a:lnTo>
                    <a:pt x="280374" y="68891"/>
                  </a:lnTo>
                  <a:lnTo>
                    <a:pt x="289480" y="64182"/>
                  </a:lnTo>
                  <a:lnTo>
                    <a:pt x="296753" y="57163"/>
                  </a:lnTo>
                  <a:lnTo>
                    <a:pt x="301751" y="48513"/>
                  </a:lnTo>
                  <a:lnTo>
                    <a:pt x="423163" y="48513"/>
                  </a:lnTo>
                  <a:lnTo>
                    <a:pt x="423163" y="26288"/>
                  </a:lnTo>
                  <a:lnTo>
                    <a:pt x="416560" y="19685"/>
                  </a:lnTo>
                  <a:lnTo>
                    <a:pt x="301751" y="19685"/>
                  </a:lnTo>
                  <a:lnTo>
                    <a:pt x="295931" y="11787"/>
                  </a:lnTo>
                  <a:lnTo>
                    <a:pt x="288528" y="5556"/>
                  </a:lnTo>
                  <a:lnTo>
                    <a:pt x="279767" y="1468"/>
                  </a:lnTo>
                  <a:lnTo>
                    <a:pt x="269875" y="0"/>
                  </a:lnTo>
                  <a:close/>
                </a:path>
              </a:pathLst>
            </a:custGeom>
            <a:solidFill>
              <a:srgbClr val="21B9CE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9" name="文本框 28"/>
          <p:cNvSpPr txBox="1"/>
          <p:nvPr/>
        </p:nvSpPr>
        <p:spPr>
          <a:xfrm>
            <a:off x="3728656" y="3035669"/>
            <a:ext cx="20377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00" b="1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芯片架构</a:t>
            </a:r>
            <a:endParaRPr kumimoji="1" lang="zh-CN" altLang="en-US" sz="3600" b="1" dirty="0">
              <a:solidFill>
                <a:srgbClr val="21B9CE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6375859" y="3009730"/>
            <a:ext cx="20377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00" b="1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语音算法</a:t>
            </a:r>
            <a:endParaRPr kumimoji="1" lang="zh-CN" altLang="en-US" sz="3600" b="1" dirty="0">
              <a:solidFill>
                <a:srgbClr val="0386C1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1" name="五边形 30"/>
          <p:cNvSpPr/>
          <p:nvPr/>
        </p:nvSpPr>
        <p:spPr>
          <a:xfrm rot="10800000">
            <a:off x="7497265" y="2414236"/>
            <a:ext cx="4682506" cy="2657574"/>
          </a:xfrm>
          <a:prstGeom prst="homePlate">
            <a:avLst>
              <a:gd name="adj" fmla="val 175373"/>
            </a:avLst>
          </a:prstGeom>
          <a:gradFill flip="none" rotWithShape="1">
            <a:gsLst>
              <a:gs pos="31000">
                <a:srgbClr val="0386C1">
                  <a:alpha val="0"/>
                </a:srgbClr>
              </a:gs>
              <a:gs pos="100000">
                <a:srgbClr val="0386C1">
                  <a:alpha val="2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2" name="矩形 31"/>
          <p:cNvSpPr/>
          <p:nvPr/>
        </p:nvSpPr>
        <p:spPr>
          <a:xfrm rot="20010411">
            <a:off x="5782990" y="4131558"/>
            <a:ext cx="624055" cy="397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3" name="hexagon_274375"/>
          <p:cNvSpPr>
            <a:spLocks noChangeAspect="1"/>
          </p:cNvSpPr>
          <p:nvPr/>
        </p:nvSpPr>
        <p:spPr>
          <a:xfrm>
            <a:off x="3533697" y="2348880"/>
            <a:ext cx="2786072" cy="2614362"/>
          </a:xfrm>
          <a:custGeom>
            <a:avLst/>
            <a:gdLst>
              <a:gd name="T0" fmla="*/ 6187 w 6258"/>
              <a:gd name="T1" fmla="*/ 1731 h 6833"/>
              <a:gd name="T2" fmla="*/ 3200 w 6258"/>
              <a:gd name="T3" fmla="*/ 25 h 6833"/>
              <a:gd name="T4" fmla="*/ 3059 w 6258"/>
              <a:gd name="T5" fmla="*/ 25 h 6833"/>
              <a:gd name="T6" fmla="*/ 72 w 6258"/>
              <a:gd name="T7" fmla="*/ 1731 h 6833"/>
              <a:gd name="T8" fmla="*/ 0 w 6258"/>
              <a:gd name="T9" fmla="*/ 1855 h 6833"/>
              <a:gd name="T10" fmla="*/ 0 w 6258"/>
              <a:gd name="T11" fmla="*/ 4984 h 6833"/>
              <a:gd name="T12" fmla="*/ 72 w 6258"/>
              <a:gd name="T13" fmla="*/ 5107 h 6833"/>
              <a:gd name="T14" fmla="*/ 3059 w 6258"/>
              <a:gd name="T15" fmla="*/ 6814 h 6833"/>
              <a:gd name="T16" fmla="*/ 3129 w 6258"/>
              <a:gd name="T17" fmla="*/ 6833 h 6833"/>
              <a:gd name="T18" fmla="*/ 3200 w 6258"/>
              <a:gd name="T19" fmla="*/ 6814 h 6833"/>
              <a:gd name="T20" fmla="*/ 6187 w 6258"/>
              <a:gd name="T21" fmla="*/ 5107 h 6833"/>
              <a:gd name="T22" fmla="*/ 6258 w 6258"/>
              <a:gd name="T23" fmla="*/ 4984 h 6833"/>
              <a:gd name="T24" fmla="*/ 6258 w 6258"/>
              <a:gd name="T25" fmla="*/ 1855 h 6833"/>
              <a:gd name="T26" fmla="*/ 6187 w 6258"/>
              <a:gd name="T27" fmla="*/ 1731 h 6833"/>
              <a:gd name="T28" fmla="*/ 5974 w 6258"/>
              <a:gd name="T29" fmla="*/ 4901 h 6833"/>
              <a:gd name="T30" fmla="*/ 3129 w 6258"/>
              <a:gd name="T31" fmla="*/ 6527 h 6833"/>
              <a:gd name="T32" fmla="*/ 285 w 6258"/>
              <a:gd name="T33" fmla="*/ 4901 h 6833"/>
              <a:gd name="T34" fmla="*/ 285 w 6258"/>
              <a:gd name="T35" fmla="*/ 1937 h 6833"/>
              <a:gd name="T36" fmla="*/ 3129 w 6258"/>
              <a:gd name="T37" fmla="*/ 312 h 6833"/>
              <a:gd name="T38" fmla="*/ 5974 w 6258"/>
              <a:gd name="T39" fmla="*/ 1937 h 6833"/>
              <a:gd name="T40" fmla="*/ 5974 w 6258"/>
              <a:gd name="T41" fmla="*/ 4901 h 68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258" h="6833">
                <a:moveTo>
                  <a:pt x="6187" y="1731"/>
                </a:moveTo>
                <a:lnTo>
                  <a:pt x="3200" y="25"/>
                </a:lnTo>
                <a:cubicBezTo>
                  <a:pt x="3156" y="0"/>
                  <a:pt x="3103" y="0"/>
                  <a:pt x="3059" y="25"/>
                </a:cubicBezTo>
                <a:lnTo>
                  <a:pt x="72" y="1731"/>
                </a:lnTo>
                <a:cubicBezTo>
                  <a:pt x="28" y="1757"/>
                  <a:pt x="0" y="1804"/>
                  <a:pt x="0" y="1855"/>
                </a:cubicBezTo>
                <a:lnTo>
                  <a:pt x="0" y="4984"/>
                </a:lnTo>
                <a:cubicBezTo>
                  <a:pt x="0" y="5035"/>
                  <a:pt x="28" y="5082"/>
                  <a:pt x="72" y="5107"/>
                </a:cubicBezTo>
                <a:lnTo>
                  <a:pt x="3059" y="6814"/>
                </a:lnTo>
                <a:cubicBezTo>
                  <a:pt x="3081" y="6826"/>
                  <a:pt x="3105" y="6833"/>
                  <a:pt x="3129" y="6833"/>
                </a:cubicBezTo>
                <a:cubicBezTo>
                  <a:pt x="3154" y="6833"/>
                  <a:pt x="3178" y="6826"/>
                  <a:pt x="3200" y="6814"/>
                </a:cubicBezTo>
                <a:lnTo>
                  <a:pt x="6187" y="5107"/>
                </a:lnTo>
                <a:cubicBezTo>
                  <a:pt x="6231" y="5082"/>
                  <a:pt x="6258" y="5035"/>
                  <a:pt x="6258" y="4984"/>
                </a:cubicBezTo>
                <a:lnTo>
                  <a:pt x="6258" y="1855"/>
                </a:lnTo>
                <a:cubicBezTo>
                  <a:pt x="6258" y="1804"/>
                  <a:pt x="6231" y="1757"/>
                  <a:pt x="6187" y="1731"/>
                </a:cubicBezTo>
                <a:close/>
                <a:moveTo>
                  <a:pt x="5974" y="4901"/>
                </a:moveTo>
                <a:lnTo>
                  <a:pt x="3129" y="6527"/>
                </a:lnTo>
                <a:lnTo>
                  <a:pt x="285" y="4901"/>
                </a:lnTo>
                <a:lnTo>
                  <a:pt x="285" y="1937"/>
                </a:lnTo>
                <a:lnTo>
                  <a:pt x="3129" y="312"/>
                </a:lnTo>
                <a:lnTo>
                  <a:pt x="5974" y="1937"/>
                </a:lnTo>
                <a:lnTo>
                  <a:pt x="5974" y="4901"/>
                </a:lnTo>
                <a:close/>
              </a:path>
            </a:pathLst>
          </a:custGeom>
          <a:solidFill>
            <a:srgbClr val="21B9CE"/>
          </a:solidFill>
          <a:ln w="76200">
            <a:solidFill>
              <a:srgbClr val="21B9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4" name="矩形 33"/>
          <p:cNvSpPr/>
          <p:nvPr/>
        </p:nvSpPr>
        <p:spPr>
          <a:xfrm rot="9222397">
            <a:off x="5759915" y="2777412"/>
            <a:ext cx="624055" cy="401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5" name="任意形状 34"/>
          <p:cNvSpPr>
            <a:spLocks noChangeAspect="1"/>
          </p:cNvSpPr>
          <p:nvPr/>
        </p:nvSpPr>
        <p:spPr>
          <a:xfrm>
            <a:off x="5829852" y="2350825"/>
            <a:ext cx="1524089" cy="1700940"/>
          </a:xfrm>
          <a:custGeom>
            <a:avLst/>
            <a:gdLst>
              <a:gd name="connsiteX0" fmla="*/ 1393259 w 1524089"/>
              <a:gd name="connsiteY0" fmla="*/ 0 h 1700940"/>
              <a:gd name="connsiteX1" fmla="*/ 1424646 w 1524089"/>
              <a:gd name="connsiteY1" fmla="*/ 7174 h 1700940"/>
              <a:gd name="connsiteX2" fmla="*/ 1524089 w 1524089"/>
              <a:gd name="connsiteY2" fmla="*/ 55985 h 1700940"/>
              <a:gd name="connsiteX3" fmla="*/ 1444272 w 1524089"/>
              <a:gd name="connsiteY3" fmla="*/ 142133 h 1700940"/>
              <a:gd name="connsiteX4" fmla="*/ 1393036 w 1524089"/>
              <a:gd name="connsiteY4" fmla="*/ 116983 h 1700940"/>
              <a:gd name="connsiteX5" fmla="*/ 126883 w 1524089"/>
              <a:gd name="connsiteY5" fmla="*/ 738721 h 1700940"/>
              <a:gd name="connsiteX6" fmla="*/ 126883 w 1524089"/>
              <a:gd name="connsiteY6" fmla="*/ 1563995 h 1700940"/>
              <a:gd name="connsiteX7" fmla="*/ 0 w 1524089"/>
              <a:gd name="connsiteY7" fmla="*/ 1700940 h 1700940"/>
              <a:gd name="connsiteX8" fmla="*/ 0 w 1524089"/>
              <a:gd name="connsiteY8" fmla="*/ 707347 h 1700940"/>
              <a:gd name="connsiteX9" fmla="*/ 32055 w 1524089"/>
              <a:gd name="connsiteY9" fmla="*/ 659904 h 1700940"/>
              <a:gd name="connsiteX10" fmla="*/ 1361872 w 1524089"/>
              <a:gd name="connsiteY10" fmla="*/ 7174 h 1700940"/>
              <a:gd name="connsiteX11" fmla="*/ 1393259 w 1524089"/>
              <a:gd name="connsiteY11" fmla="*/ 0 h 1700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24089" h="1700940">
                <a:moveTo>
                  <a:pt x="1393259" y="0"/>
                </a:moveTo>
                <a:cubicBezTo>
                  <a:pt x="1404055" y="0"/>
                  <a:pt x="1414851" y="2392"/>
                  <a:pt x="1424646" y="7174"/>
                </a:cubicBezTo>
                <a:lnTo>
                  <a:pt x="1524089" y="55985"/>
                </a:lnTo>
                <a:lnTo>
                  <a:pt x="1444272" y="142133"/>
                </a:lnTo>
                <a:lnTo>
                  <a:pt x="1393036" y="116983"/>
                </a:lnTo>
                <a:lnTo>
                  <a:pt x="126883" y="738721"/>
                </a:lnTo>
                <a:lnTo>
                  <a:pt x="126883" y="1563995"/>
                </a:lnTo>
                <a:lnTo>
                  <a:pt x="0" y="1700940"/>
                </a:lnTo>
                <a:lnTo>
                  <a:pt x="0" y="707347"/>
                </a:lnTo>
                <a:cubicBezTo>
                  <a:pt x="0" y="687834"/>
                  <a:pt x="12466" y="669852"/>
                  <a:pt x="32055" y="659904"/>
                </a:cubicBezTo>
                <a:lnTo>
                  <a:pt x="1361872" y="7174"/>
                </a:lnTo>
                <a:cubicBezTo>
                  <a:pt x="1371667" y="2392"/>
                  <a:pt x="1382463" y="0"/>
                  <a:pt x="1393259" y="0"/>
                </a:cubicBezTo>
                <a:close/>
              </a:path>
            </a:pathLst>
          </a:custGeom>
          <a:solidFill>
            <a:srgbClr val="0386C1"/>
          </a:solidFill>
          <a:ln w="76200">
            <a:solidFill>
              <a:srgbClr val="0386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6" name="cloud-computing_314582"/>
          <p:cNvSpPr>
            <a:spLocks noChangeAspect="1"/>
          </p:cNvSpPr>
          <p:nvPr/>
        </p:nvSpPr>
        <p:spPr>
          <a:xfrm>
            <a:off x="6970066" y="3848329"/>
            <a:ext cx="533028" cy="529128"/>
          </a:xfrm>
          <a:custGeom>
            <a:avLst/>
            <a:gdLst>
              <a:gd name="connsiteX0" fmla="*/ 359592 w 607639"/>
              <a:gd name="connsiteY0" fmla="*/ 539929 h 603193"/>
              <a:gd name="connsiteX1" fmla="*/ 347757 w 607639"/>
              <a:gd name="connsiteY1" fmla="*/ 551746 h 603193"/>
              <a:gd name="connsiteX2" fmla="*/ 359592 w 607639"/>
              <a:gd name="connsiteY2" fmla="*/ 563564 h 603193"/>
              <a:gd name="connsiteX3" fmla="*/ 371427 w 607639"/>
              <a:gd name="connsiteY3" fmla="*/ 551746 h 603193"/>
              <a:gd name="connsiteX4" fmla="*/ 359592 w 607639"/>
              <a:gd name="connsiteY4" fmla="*/ 539929 h 603193"/>
              <a:gd name="connsiteX5" fmla="*/ 247958 w 607639"/>
              <a:gd name="connsiteY5" fmla="*/ 539929 h 603193"/>
              <a:gd name="connsiteX6" fmla="*/ 236123 w 607639"/>
              <a:gd name="connsiteY6" fmla="*/ 551746 h 603193"/>
              <a:gd name="connsiteX7" fmla="*/ 247958 w 607639"/>
              <a:gd name="connsiteY7" fmla="*/ 563564 h 603193"/>
              <a:gd name="connsiteX8" fmla="*/ 259793 w 607639"/>
              <a:gd name="connsiteY8" fmla="*/ 551746 h 603193"/>
              <a:gd name="connsiteX9" fmla="*/ 247958 w 607639"/>
              <a:gd name="connsiteY9" fmla="*/ 539929 h 603193"/>
              <a:gd name="connsiteX10" fmla="*/ 339837 w 607639"/>
              <a:gd name="connsiteY10" fmla="*/ 482173 h 603193"/>
              <a:gd name="connsiteX11" fmla="*/ 379436 w 607639"/>
              <a:gd name="connsiteY11" fmla="*/ 482173 h 603193"/>
              <a:gd name="connsiteX12" fmla="*/ 379436 w 607639"/>
              <a:gd name="connsiteY12" fmla="*/ 504298 h 603193"/>
              <a:gd name="connsiteX13" fmla="*/ 411114 w 607639"/>
              <a:gd name="connsiteY13" fmla="*/ 551746 h 603193"/>
              <a:gd name="connsiteX14" fmla="*/ 359592 w 607639"/>
              <a:gd name="connsiteY14" fmla="*/ 603193 h 603193"/>
              <a:gd name="connsiteX15" fmla="*/ 308159 w 607639"/>
              <a:gd name="connsiteY15" fmla="*/ 551746 h 603193"/>
              <a:gd name="connsiteX16" fmla="*/ 339837 w 607639"/>
              <a:gd name="connsiteY16" fmla="*/ 504298 h 603193"/>
              <a:gd name="connsiteX17" fmla="*/ 228203 w 607639"/>
              <a:gd name="connsiteY17" fmla="*/ 482173 h 603193"/>
              <a:gd name="connsiteX18" fmla="*/ 267802 w 607639"/>
              <a:gd name="connsiteY18" fmla="*/ 482173 h 603193"/>
              <a:gd name="connsiteX19" fmla="*/ 267802 w 607639"/>
              <a:gd name="connsiteY19" fmla="*/ 504298 h 603193"/>
              <a:gd name="connsiteX20" fmla="*/ 299480 w 607639"/>
              <a:gd name="connsiteY20" fmla="*/ 551746 h 603193"/>
              <a:gd name="connsiteX21" fmla="*/ 247958 w 607639"/>
              <a:gd name="connsiteY21" fmla="*/ 603193 h 603193"/>
              <a:gd name="connsiteX22" fmla="*/ 196525 w 607639"/>
              <a:gd name="connsiteY22" fmla="*/ 551746 h 603193"/>
              <a:gd name="connsiteX23" fmla="*/ 228203 w 607639"/>
              <a:gd name="connsiteY23" fmla="*/ 504298 h 603193"/>
              <a:gd name="connsiteX24" fmla="*/ 556096 w 607639"/>
              <a:gd name="connsiteY24" fmla="*/ 418860 h 603193"/>
              <a:gd name="connsiteX25" fmla="*/ 544256 w 607639"/>
              <a:gd name="connsiteY25" fmla="*/ 430686 h 603193"/>
              <a:gd name="connsiteX26" fmla="*/ 556096 w 607639"/>
              <a:gd name="connsiteY26" fmla="*/ 442602 h 603193"/>
              <a:gd name="connsiteX27" fmla="*/ 567936 w 607639"/>
              <a:gd name="connsiteY27" fmla="*/ 430686 h 603193"/>
              <a:gd name="connsiteX28" fmla="*/ 556096 w 607639"/>
              <a:gd name="connsiteY28" fmla="*/ 418860 h 603193"/>
              <a:gd name="connsiteX29" fmla="*/ 51454 w 607639"/>
              <a:gd name="connsiteY29" fmla="*/ 418860 h 603193"/>
              <a:gd name="connsiteX30" fmla="*/ 39614 w 607639"/>
              <a:gd name="connsiteY30" fmla="*/ 430686 h 603193"/>
              <a:gd name="connsiteX31" fmla="*/ 51454 w 607639"/>
              <a:gd name="connsiteY31" fmla="*/ 442602 h 603193"/>
              <a:gd name="connsiteX32" fmla="*/ 63294 w 607639"/>
              <a:gd name="connsiteY32" fmla="*/ 430686 h 603193"/>
              <a:gd name="connsiteX33" fmla="*/ 51454 w 607639"/>
              <a:gd name="connsiteY33" fmla="*/ 418860 h 603193"/>
              <a:gd name="connsiteX34" fmla="*/ 556096 w 607639"/>
              <a:gd name="connsiteY34" fmla="*/ 379289 h 603193"/>
              <a:gd name="connsiteX35" fmla="*/ 607639 w 607639"/>
              <a:gd name="connsiteY35" fmla="*/ 430686 h 603193"/>
              <a:gd name="connsiteX36" fmla="*/ 556096 w 607639"/>
              <a:gd name="connsiteY36" fmla="*/ 482173 h 603193"/>
              <a:gd name="connsiteX37" fmla="*/ 508648 w 607639"/>
              <a:gd name="connsiteY37" fmla="*/ 450516 h 603193"/>
              <a:gd name="connsiteX38" fmla="*/ 451407 w 607639"/>
              <a:gd name="connsiteY38" fmla="*/ 450516 h 603193"/>
              <a:gd name="connsiteX39" fmla="*/ 451407 w 607639"/>
              <a:gd name="connsiteY39" fmla="*/ 391116 h 603193"/>
              <a:gd name="connsiteX40" fmla="*/ 491021 w 607639"/>
              <a:gd name="connsiteY40" fmla="*/ 391116 h 603193"/>
              <a:gd name="connsiteX41" fmla="*/ 491021 w 607639"/>
              <a:gd name="connsiteY41" fmla="*/ 410946 h 603193"/>
              <a:gd name="connsiteX42" fmla="*/ 508648 w 607639"/>
              <a:gd name="connsiteY42" fmla="*/ 410946 h 603193"/>
              <a:gd name="connsiteX43" fmla="*/ 556096 w 607639"/>
              <a:gd name="connsiteY43" fmla="*/ 379289 h 603193"/>
              <a:gd name="connsiteX44" fmla="*/ 51454 w 607639"/>
              <a:gd name="connsiteY44" fmla="*/ 379289 h 603193"/>
              <a:gd name="connsiteX45" fmla="*/ 98991 w 607639"/>
              <a:gd name="connsiteY45" fmla="*/ 410946 h 603193"/>
              <a:gd name="connsiteX46" fmla="*/ 116618 w 607639"/>
              <a:gd name="connsiteY46" fmla="*/ 410946 h 603193"/>
              <a:gd name="connsiteX47" fmla="*/ 116618 w 607639"/>
              <a:gd name="connsiteY47" fmla="*/ 391116 h 603193"/>
              <a:gd name="connsiteX48" fmla="*/ 156232 w 607639"/>
              <a:gd name="connsiteY48" fmla="*/ 391116 h 603193"/>
              <a:gd name="connsiteX49" fmla="*/ 156232 w 607639"/>
              <a:gd name="connsiteY49" fmla="*/ 450516 h 603193"/>
              <a:gd name="connsiteX50" fmla="*/ 98991 w 607639"/>
              <a:gd name="connsiteY50" fmla="*/ 450516 h 603193"/>
              <a:gd name="connsiteX51" fmla="*/ 51454 w 607639"/>
              <a:gd name="connsiteY51" fmla="*/ 482173 h 603193"/>
              <a:gd name="connsiteX52" fmla="*/ 0 w 607639"/>
              <a:gd name="connsiteY52" fmla="*/ 430686 h 603193"/>
              <a:gd name="connsiteX53" fmla="*/ 51454 w 607639"/>
              <a:gd name="connsiteY53" fmla="*/ 379289 h 603193"/>
              <a:gd name="connsiteX54" fmla="*/ 341954 w 607639"/>
              <a:gd name="connsiteY54" fmla="*/ 186810 h 603193"/>
              <a:gd name="connsiteX55" fmla="*/ 323621 w 607639"/>
              <a:gd name="connsiteY55" fmla="*/ 205029 h 603193"/>
              <a:gd name="connsiteX56" fmla="*/ 323621 w 607639"/>
              <a:gd name="connsiteY56" fmla="*/ 371399 h 603193"/>
              <a:gd name="connsiteX57" fmla="*/ 341954 w 607639"/>
              <a:gd name="connsiteY57" fmla="*/ 389618 h 603193"/>
              <a:gd name="connsiteX58" fmla="*/ 358951 w 607639"/>
              <a:gd name="connsiteY58" fmla="*/ 378064 h 603193"/>
              <a:gd name="connsiteX59" fmla="*/ 328694 w 607639"/>
              <a:gd name="connsiteY59" fmla="*/ 359579 h 603193"/>
              <a:gd name="connsiteX60" fmla="*/ 358061 w 607639"/>
              <a:gd name="connsiteY60" fmla="*/ 333006 h 603193"/>
              <a:gd name="connsiteX61" fmla="*/ 375237 w 607639"/>
              <a:gd name="connsiteY61" fmla="*/ 340649 h 603193"/>
              <a:gd name="connsiteX62" fmla="*/ 398375 w 607639"/>
              <a:gd name="connsiteY62" fmla="*/ 317542 h 603193"/>
              <a:gd name="connsiteX63" fmla="*/ 398286 w 607639"/>
              <a:gd name="connsiteY63" fmla="*/ 317098 h 603193"/>
              <a:gd name="connsiteX64" fmla="*/ 375237 w 607639"/>
              <a:gd name="connsiteY64" fmla="*/ 321541 h 603193"/>
              <a:gd name="connsiteX65" fmla="*/ 375237 w 607639"/>
              <a:gd name="connsiteY65" fmla="*/ 281993 h 603193"/>
              <a:gd name="connsiteX66" fmla="*/ 398286 w 607639"/>
              <a:gd name="connsiteY66" fmla="*/ 258886 h 603193"/>
              <a:gd name="connsiteX67" fmla="*/ 388141 w 607639"/>
              <a:gd name="connsiteY67" fmla="*/ 239778 h 603193"/>
              <a:gd name="connsiteX68" fmla="*/ 362244 w 607639"/>
              <a:gd name="connsiteY68" fmla="*/ 259242 h 603193"/>
              <a:gd name="connsiteX69" fmla="*/ 348361 w 607639"/>
              <a:gd name="connsiteY69" fmla="*/ 222182 h 603193"/>
              <a:gd name="connsiteX70" fmla="*/ 360197 w 607639"/>
              <a:gd name="connsiteY70" fmla="*/ 205029 h 603193"/>
              <a:gd name="connsiteX71" fmla="*/ 341954 w 607639"/>
              <a:gd name="connsiteY71" fmla="*/ 186810 h 603193"/>
              <a:gd name="connsiteX72" fmla="*/ 265686 w 607639"/>
              <a:gd name="connsiteY72" fmla="*/ 186810 h 603193"/>
              <a:gd name="connsiteX73" fmla="*/ 247354 w 607639"/>
              <a:gd name="connsiteY73" fmla="*/ 205029 h 603193"/>
              <a:gd name="connsiteX74" fmla="*/ 259279 w 607639"/>
              <a:gd name="connsiteY74" fmla="*/ 222182 h 603193"/>
              <a:gd name="connsiteX75" fmla="*/ 245396 w 607639"/>
              <a:gd name="connsiteY75" fmla="*/ 259242 h 603193"/>
              <a:gd name="connsiteX76" fmla="*/ 219499 w 607639"/>
              <a:gd name="connsiteY76" fmla="*/ 239778 h 603193"/>
              <a:gd name="connsiteX77" fmla="*/ 209265 w 607639"/>
              <a:gd name="connsiteY77" fmla="*/ 258886 h 603193"/>
              <a:gd name="connsiteX78" fmla="*/ 232403 w 607639"/>
              <a:gd name="connsiteY78" fmla="*/ 281993 h 603193"/>
              <a:gd name="connsiteX79" fmla="*/ 232403 w 607639"/>
              <a:gd name="connsiteY79" fmla="*/ 321541 h 603193"/>
              <a:gd name="connsiteX80" fmla="*/ 209265 w 607639"/>
              <a:gd name="connsiteY80" fmla="*/ 317098 h 603193"/>
              <a:gd name="connsiteX81" fmla="*/ 209265 w 607639"/>
              <a:gd name="connsiteY81" fmla="*/ 317542 h 603193"/>
              <a:gd name="connsiteX82" fmla="*/ 232403 w 607639"/>
              <a:gd name="connsiteY82" fmla="*/ 340649 h 603193"/>
              <a:gd name="connsiteX83" fmla="*/ 249490 w 607639"/>
              <a:gd name="connsiteY83" fmla="*/ 333006 h 603193"/>
              <a:gd name="connsiteX84" fmla="*/ 278857 w 607639"/>
              <a:gd name="connsiteY84" fmla="*/ 359579 h 603193"/>
              <a:gd name="connsiteX85" fmla="*/ 248689 w 607639"/>
              <a:gd name="connsiteY85" fmla="*/ 378064 h 603193"/>
              <a:gd name="connsiteX86" fmla="*/ 265686 w 607639"/>
              <a:gd name="connsiteY86" fmla="*/ 389618 h 603193"/>
              <a:gd name="connsiteX87" fmla="*/ 284019 w 607639"/>
              <a:gd name="connsiteY87" fmla="*/ 371399 h 603193"/>
              <a:gd name="connsiteX88" fmla="*/ 284019 w 607639"/>
              <a:gd name="connsiteY88" fmla="*/ 205029 h 603193"/>
              <a:gd name="connsiteX89" fmla="*/ 265686 w 607639"/>
              <a:gd name="connsiteY89" fmla="*/ 186810 h 603193"/>
              <a:gd name="connsiteX90" fmla="*/ 332965 w 607639"/>
              <a:gd name="connsiteY90" fmla="*/ 39548 h 603193"/>
              <a:gd name="connsiteX91" fmla="*/ 245752 w 607639"/>
              <a:gd name="connsiteY91" fmla="*/ 85407 h 603193"/>
              <a:gd name="connsiteX92" fmla="*/ 237832 w 607639"/>
              <a:gd name="connsiteY92" fmla="*/ 97404 h 603193"/>
              <a:gd name="connsiteX93" fmla="*/ 224038 w 607639"/>
              <a:gd name="connsiteY93" fmla="*/ 93583 h 603193"/>
              <a:gd name="connsiteX94" fmla="*/ 205705 w 607639"/>
              <a:gd name="connsiteY94" fmla="*/ 91183 h 603193"/>
              <a:gd name="connsiteX95" fmla="*/ 140028 w 607639"/>
              <a:gd name="connsiteY95" fmla="*/ 144418 h 603193"/>
              <a:gd name="connsiteX96" fmla="*/ 138248 w 607639"/>
              <a:gd name="connsiteY96" fmla="*/ 155438 h 603193"/>
              <a:gd name="connsiteX97" fmla="*/ 127836 w 607639"/>
              <a:gd name="connsiteY97" fmla="*/ 159615 h 603193"/>
              <a:gd name="connsiteX98" fmla="*/ 88857 w 607639"/>
              <a:gd name="connsiteY98" fmla="*/ 215338 h 603193"/>
              <a:gd name="connsiteX99" fmla="*/ 152754 w 607639"/>
              <a:gd name="connsiteY99" fmla="*/ 275861 h 603193"/>
              <a:gd name="connsiteX100" fmla="*/ 171977 w 607639"/>
              <a:gd name="connsiteY100" fmla="*/ 275861 h 603193"/>
              <a:gd name="connsiteX101" fmla="*/ 169663 w 607639"/>
              <a:gd name="connsiteY101" fmla="*/ 258886 h 603193"/>
              <a:gd name="connsiteX102" fmla="*/ 207930 w 607639"/>
              <a:gd name="connsiteY102" fmla="*/ 201208 h 603193"/>
              <a:gd name="connsiteX103" fmla="*/ 265686 w 607639"/>
              <a:gd name="connsiteY103" fmla="*/ 147173 h 603193"/>
              <a:gd name="connsiteX104" fmla="*/ 303776 w 607639"/>
              <a:gd name="connsiteY104" fmla="*/ 161570 h 603193"/>
              <a:gd name="connsiteX105" fmla="*/ 341954 w 607639"/>
              <a:gd name="connsiteY105" fmla="*/ 147173 h 603193"/>
              <a:gd name="connsiteX106" fmla="*/ 399710 w 607639"/>
              <a:gd name="connsiteY106" fmla="*/ 201208 h 603193"/>
              <a:gd name="connsiteX107" fmla="*/ 437977 w 607639"/>
              <a:gd name="connsiteY107" fmla="*/ 258886 h 603193"/>
              <a:gd name="connsiteX108" fmla="*/ 435574 w 607639"/>
              <a:gd name="connsiteY108" fmla="*/ 275861 h 603193"/>
              <a:gd name="connsiteX109" fmla="*/ 454886 w 607639"/>
              <a:gd name="connsiteY109" fmla="*/ 275861 h 603193"/>
              <a:gd name="connsiteX110" fmla="*/ 518783 w 607639"/>
              <a:gd name="connsiteY110" fmla="*/ 215338 h 603193"/>
              <a:gd name="connsiteX111" fmla="*/ 455598 w 607639"/>
              <a:gd name="connsiteY111" fmla="*/ 154816 h 603193"/>
              <a:gd name="connsiteX112" fmla="*/ 436375 w 607639"/>
              <a:gd name="connsiteY112" fmla="*/ 154638 h 603193"/>
              <a:gd name="connsiteX113" fmla="*/ 435930 w 607639"/>
              <a:gd name="connsiteY113" fmla="*/ 135531 h 603193"/>
              <a:gd name="connsiteX114" fmla="*/ 405317 w 607639"/>
              <a:gd name="connsiteY114" fmla="*/ 67899 h 603193"/>
              <a:gd name="connsiteX115" fmla="*/ 332965 w 607639"/>
              <a:gd name="connsiteY115" fmla="*/ 39548 h 603193"/>
              <a:gd name="connsiteX116" fmla="*/ 332965 w 607639"/>
              <a:gd name="connsiteY116" fmla="*/ 0 h 603193"/>
              <a:gd name="connsiteX117" fmla="*/ 432549 w 607639"/>
              <a:gd name="connsiteY117" fmla="*/ 39015 h 603193"/>
              <a:gd name="connsiteX118" fmla="*/ 474019 w 607639"/>
              <a:gd name="connsiteY118" fmla="*/ 116956 h 603193"/>
              <a:gd name="connsiteX119" fmla="*/ 528127 w 607639"/>
              <a:gd name="connsiteY119" fmla="*/ 144685 h 603193"/>
              <a:gd name="connsiteX120" fmla="*/ 558385 w 607639"/>
              <a:gd name="connsiteY120" fmla="*/ 215338 h 603193"/>
              <a:gd name="connsiteX121" fmla="*/ 491017 w 607639"/>
              <a:gd name="connsiteY121" fmla="*/ 309099 h 603193"/>
              <a:gd name="connsiteX122" fmla="*/ 491017 w 607639"/>
              <a:gd name="connsiteY122" fmla="*/ 351580 h 603193"/>
              <a:gd name="connsiteX123" fmla="*/ 451415 w 607639"/>
              <a:gd name="connsiteY123" fmla="*/ 351580 h 603193"/>
              <a:gd name="connsiteX124" fmla="*/ 451415 w 607639"/>
              <a:gd name="connsiteY124" fmla="*/ 315409 h 603193"/>
              <a:gd name="connsiteX125" fmla="*/ 437888 w 607639"/>
              <a:gd name="connsiteY125" fmla="*/ 315409 h 603193"/>
              <a:gd name="connsiteX126" fmla="*/ 437977 w 607639"/>
              <a:gd name="connsiteY126" fmla="*/ 317542 h 603193"/>
              <a:gd name="connsiteX127" fmla="*/ 399710 w 607639"/>
              <a:gd name="connsiteY127" fmla="*/ 375220 h 603193"/>
              <a:gd name="connsiteX128" fmla="*/ 379420 w 607639"/>
              <a:gd name="connsiteY128" fmla="*/ 415391 h 603193"/>
              <a:gd name="connsiteX129" fmla="*/ 379420 w 607639"/>
              <a:gd name="connsiteY129" fmla="*/ 442586 h 603193"/>
              <a:gd name="connsiteX130" fmla="*/ 339818 w 607639"/>
              <a:gd name="connsiteY130" fmla="*/ 442586 h 603193"/>
              <a:gd name="connsiteX131" fmla="*/ 339818 w 607639"/>
              <a:gd name="connsiteY131" fmla="*/ 429166 h 603193"/>
              <a:gd name="connsiteX132" fmla="*/ 303776 w 607639"/>
              <a:gd name="connsiteY132" fmla="*/ 414858 h 603193"/>
              <a:gd name="connsiteX133" fmla="*/ 267822 w 607639"/>
              <a:gd name="connsiteY133" fmla="*/ 429166 h 603193"/>
              <a:gd name="connsiteX134" fmla="*/ 267822 w 607639"/>
              <a:gd name="connsiteY134" fmla="*/ 442586 h 603193"/>
              <a:gd name="connsiteX135" fmla="*/ 228220 w 607639"/>
              <a:gd name="connsiteY135" fmla="*/ 442586 h 603193"/>
              <a:gd name="connsiteX136" fmla="*/ 228220 w 607639"/>
              <a:gd name="connsiteY136" fmla="*/ 415391 h 603193"/>
              <a:gd name="connsiteX137" fmla="*/ 207930 w 607639"/>
              <a:gd name="connsiteY137" fmla="*/ 375220 h 603193"/>
              <a:gd name="connsiteX138" fmla="*/ 169663 w 607639"/>
              <a:gd name="connsiteY138" fmla="*/ 317542 h 603193"/>
              <a:gd name="connsiteX139" fmla="*/ 169752 w 607639"/>
              <a:gd name="connsiteY139" fmla="*/ 315409 h 603193"/>
              <a:gd name="connsiteX140" fmla="*/ 156225 w 607639"/>
              <a:gd name="connsiteY140" fmla="*/ 315409 h 603193"/>
              <a:gd name="connsiteX141" fmla="*/ 156225 w 607639"/>
              <a:gd name="connsiteY141" fmla="*/ 351580 h 603193"/>
              <a:gd name="connsiteX142" fmla="*/ 116623 w 607639"/>
              <a:gd name="connsiteY142" fmla="*/ 351580 h 603193"/>
              <a:gd name="connsiteX143" fmla="*/ 116623 w 607639"/>
              <a:gd name="connsiteY143" fmla="*/ 309099 h 603193"/>
              <a:gd name="connsiteX144" fmla="*/ 49255 w 607639"/>
              <a:gd name="connsiteY144" fmla="*/ 215338 h 603193"/>
              <a:gd name="connsiteX145" fmla="*/ 103274 w 607639"/>
              <a:gd name="connsiteY145" fmla="*/ 127354 h 603193"/>
              <a:gd name="connsiteX146" fmla="*/ 136735 w 607639"/>
              <a:gd name="connsiteY146" fmla="*/ 76253 h 603193"/>
              <a:gd name="connsiteX147" fmla="*/ 205705 w 607639"/>
              <a:gd name="connsiteY147" fmla="*/ 51635 h 603193"/>
              <a:gd name="connsiteX148" fmla="*/ 220745 w 607639"/>
              <a:gd name="connsiteY148" fmla="*/ 52701 h 603193"/>
              <a:gd name="connsiteX149" fmla="*/ 332965 w 607639"/>
              <a:gd name="connsiteY149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607639" h="603193">
                <a:moveTo>
                  <a:pt x="359592" y="539929"/>
                </a:moveTo>
                <a:cubicBezTo>
                  <a:pt x="353096" y="539929"/>
                  <a:pt x="347757" y="545260"/>
                  <a:pt x="347757" y="551746"/>
                </a:cubicBezTo>
                <a:cubicBezTo>
                  <a:pt x="347757" y="558321"/>
                  <a:pt x="353096" y="563564"/>
                  <a:pt x="359592" y="563564"/>
                </a:cubicBezTo>
                <a:cubicBezTo>
                  <a:pt x="366177" y="563564"/>
                  <a:pt x="371427" y="558321"/>
                  <a:pt x="371427" y="551746"/>
                </a:cubicBezTo>
                <a:cubicBezTo>
                  <a:pt x="371427" y="545260"/>
                  <a:pt x="366177" y="539929"/>
                  <a:pt x="359592" y="539929"/>
                </a:cubicBezTo>
                <a:close/>
                <a:moveTo>
                  <a:pt x="247958" y="539929"/>
                </a:moveTo>
                <a:cubicBezTo>
                  <a:pt x="241462" y="539929"/>
                  <a:pt x="236123" y="545260"/>
                  <a:pt x="236123" y="551746"/>
                </a:cubicBezTo>
                <a:cubicBezTo>
                  <a:pt x="236123" y="558321"/>
                  <a:pt x="241462" y="563564"/>
                  <a:pt x="247958" y="563564"/>
                </a:cubicBezTo>
                <a:cubicBezTo>
                  <a:pt x="254543" y="563564"/>
                  <a:pt x="259793" y="558321"/>
                  <a:pt x="259793" y="551746"/>
                </a:cubicBezTo>
                <a:cubicBezTo>
                  <a:pt x="259793" y="545260"/>
                  <a:pt x="254543" y="539929"/>
                  <a:pt x="247958" y="539929"/>
                </a:cubicBezTo>
                <a:close/>
                <a:moveTo>
                  <a:pt x="339837" y="482173"/>
                </a:moveTo>
                <a:lnTo>
                  <a:pt x="379436" y="482173"/>
                </a:lnTo>
                <a:lnTo>
                  <a:pt x="379436" y="504298"/>
                </a:lnTo>
                <a:cubicBezTo>
                  <a:pt x="398033" y="512117"/>
                  <a:pt x="411114" y="530421"/>
                  <a:pt x="411114" y="551746"/>
                </a:cubicBezTo>
                <a:cubicBezTo>
                  <a:pt x="411114" y="580091"/>
                  <a:pt x="387978" y="603193"/>
                  <a:pt x="359592" y="603193"/>
                </a:cubicBezTo>
                <a:cubicBezTo>
                  <a:pt x="331206" y="603193"/>
                  <a:pt x="308159" y="580091"/>
                  <a:pt x="308159" y="551746"/>
                </a:cubicBezTo>
                <a:cubicBezTo>
                  <a:pt x="308159" y="530421"/>
                  <a:pt x="321240" y="512117"/>
                  <a:pt x="339837" y="504298"/>
                </a:cubicBezTo>
                <a:close/>
                <a:moveTo>
                  <a:pt x="228203" y="482173"/>
                </a:moveTo>
                <a:lnTo>
                  <a:pt x="267802" y="482173"/>
                </a:lnTo>
                <a:lnTo>
                  <a:pt x="267802" y="504298"/>
                </a:lnTo>
                <a:cubicBezTo>
                  <a:pt x="286399" y="512117"/>
                  <a:pt x="299480" y="530421"/>
                  <a:pt x="299480" y="551746"/>
                </a:cubicBezTo>
                <a:cubicBezTo>
                  <a:pt x="299480" y="580091"/>
                  <a:pt x="276344" y="603193"/>
                  <a:pt x="247958" y="603193"/>
                </a:cubicBezTo>
                <a:cubicBezTo>
                  <a:pt x="219572" y="603193"/>
                  <a:pt x="196525" y="580091"/>
                  <a:pt x="196525" y="551746"/>
                </a:cubicBezTo>
                <a:cubicBezTo>
                  <a:pt x="196525" y="530421"/>
                  <a:pt x="209606" y="512117"/>
                  <a:pt x="228203" y="504298"/>
                </a:cubicBezTo>
                <a:close/>
                <a:moveTo>
                  <a:pt x="556096" y="418860"/>
                </a:moveTo>
                <a:cubicBezTo>
                  <a:pt x="549597" y="418860"/>
                  <a:pt x="544256" y="424195"/>
                  <a:pt x="544256" y="430686"/>
                </a:cubicBezTo>
                <a:cubicBezTo>
                  <a:pt x="544256" y="437267"/>
                  <a:pt x="549597" y="442602"/>
                  <a:pt x="556096" y="442602"/>
                </a:cubicBezTo>
                <a:cubicBezTo>
                  <a:pt x="562683" y="442602"/>
                  <a:pt x="567936" y="437267"/>
                  <a:pt x="567936" y="430686"/>
                </a:cubicBezTo>
                <a:cubicBezTo>
                  <a:pt x="567936" y="424195"/>
                  <a:pt x="562683" y="418860"/>
                  <a:pt x="556096" y="418860"/>
                </a:cubicBezTo>
                <a:close/>
                <a:moveTo>
                  <a:pt x="51454" y="418860"/>
                </a:moveTo>
                <a:cubicBezTo>
                  <a:pt x="44956" y="418860"/>
                  <a:pt x="39614" y="424195"/>
                  <a:pt x="39614" y="430686"/>
                </a:cubicBezTo>
                <a:cubicBezTo>
                  <a:pt x="39614" y="437267"/>
                  <a:pt x="44956" y="442602"/>
                  <a:pt x="51454" y="442602"/>
                </a:cubicBezTo>
                <a:cubicBezTo>
                  <a:pt x="58042" y="442602"/>
                  <a:pt x="63294" y="437267"/>
                  <a:pt x="63294" y="430686"/>
                </a:cubicBezTo>
                <a:cubicBezTo>
                  <a:pt x="63294" y="424195"/>
                  <a:pt x="58042" y="418860"/>
                  <a:pt x="51454" y="418860"/>
                </a:cubicBezTo>
                <a:close/>
                <a:moveTo>
                  <a:pt x="556096" y="379289"/>
                </a:moveTo>
                <a:cubicBezTo>
                  <a:pt x="584494" y="379289"/>
                  <a:pt x="607639" y="402409"/>
                  <a:pt x="607639" y="430686"/>
                </a:cubicBezTo>
                <a:cubicBezTo>
                  <a:pt x="607639" y="459053"/>
                  <a:pt x="584494" y="482173"/>
                  <a:pt x="556096" y="482173"/>
                </a:cubicBezTo>
                <a:cubicBezTo>
                  <a:pt x="534731" y="482173"/>
                  <a:pt x="516392" y="469101"/>
                  <a:pt x="508648" y="450516"/>
                </a:cubicBezTo>
                <a:lnTo>
                  <a:pt x="451407" y="450516"/>
                </a:lnTo>
                <a:lnTo>
                  <a:pt x="451407" y="391116"/>
                </a:lnTo>
                <a:lnTo>
                  <a:pt x="491021" y="391116"/>
                </a:lnTo>
                <a:lnTo>
                  <a:pt x="491021" y="410946"/>
                </a:lnTo>
                <a:lnTo>
                  <a:pt x="508648" y="410946"/>
                </a:lnTo>
                <a:cubicBezTo>
                  <a:pt x="516392" y="392361"/>
                  <a:pt x="534731" y="379289"/>
                  <a:pt x="556096" y="379289"/>
                </a:cubicBezTo>
                <a:close/>
                <a:moveTo>
                  <a:pt x="51454" y="379289"/>
                </a:moveTo>
                <a:cubicBezTo>
                  <a:pt x="72819" y="379289"/>
                  <a:pt x="91247" y="392361"/>
                  <a:pt x="98991" y="410946"/>
                </a:cubicBezTo>
                <a:lnTo>
                  <a:pt x="116618" y="410946"/>
                </a:lnTo>
                <a:lnTo>
                  <a:pt x="116618" y="391116"/>
                </a:lnTo>
                <a:lnTo>
                  <a:pt x="156232" y="391116"/>
                </a:lnTo>
                <a:lnTo>
                  <a:pt x="156232" y="450516"/>
                </a:lnTo>
                <a:lnTo>
                  <a:pt x="98991" y="450516"/>
                </a:lnTo>
                <a:cubicBezTo>
                  <a:pt x="91247" y="469101"/>
                  <a:pt x="72819" y="482173"/>
                  <a:pt x="51454" y="482173"/>
                </a:cubicBezTo>
                <a:cubicBezTo>
                  <a:pt x="23056" y="482173"/>
                  <a:pt x="0" y="459053"/>
                  <a:pt x="0" y="430686"/>
                </a:cubicBezTo>
                <a:cubicBezTo>
                  <a:pt x="0" y="402409"/>
                  <a:pt x="23056" y="379289"/>
                  <a:pt x="51454" y="379289"/>
                </a:cubicBezTo>
                <a:close/>
                <a:moveTo>
                  <a:pt x="341954" y="186810"/>
                </a:moveTo>
                <a:cubicBezTo>
                  <a:pt x="331808" y="186810"/>
                  <a:pt x="323621" y="194987"/>
                  <a:pt x="323621" y="205029"/>
                </a:cubicBezTo>
                <a:lnTo>
                  <a:pt x="323621" y="371399"/>
                </a:lnTo>
                <a:cubicBezTo>
                  <a:pt x="323621" y="381442"/>
                  <a:pt x="331808" y="389618"/>
                  <a:pt x="341954" y="389618"/>
                </a:cubicBezTo>
                <a:cubicBezTo>
                  <a:pt x="349696" y="389618"/>
                  <a:pt x="356281" y="384819"/>
                  <a:pt x="358951" y="378064"/>
                </a:cubicBezTo>
                <a:cubicBezTo>
                  <a:pt x="347382" y="374954"/>
                  <a:pt x="336881" y="368555"/>
                  <a:pt x="328694" y="359579"/>
                </a:cubicBezTo>
                <a:lnTo>
                  <a:pt x="358061" y="333006"/>
                </a:lnTo>
                <a:cubicBezTo>
                  <a:pt x="362511" y="337894"/>
                  <a:pt x="368652" y="340649"/>
                  <a:pt x="375237" y="340649"/>
                </a:cubicBezTo>
                <a:cubicBezTo>
                  <a:pt x="387963" y="340649"/>
                  <a:pt x="398286" y="330251"/>
                  <a:pt x="398375" y="317542"/>
                </a:cubicBezTo>
                <a:cubicBezTo>
                  <a:pt x="398375" y="317364"/>
                  <a:pt x="398286" y="317275"/>
                  <a:pt x="398286" y="317098"/>
                </a:cubicBezTo>
                <a:cubicBezTo>
                  <a:pt x="391167" y="319942"/>
                  <a:pt x="383335" y="321541"/>
                  <a:pt x="375237" y="321541"/>
                </a:cubicBezTo>
                <a:lnTo>
                  <a:pt x="375237" y="281993"/>
                </a:lnTo>
                <a:cubicBezTo>
                  <a:pt x="387963" y="281993"/>
                  <a:pt x="398286" y="271595"/>
                  <a:pt x="398286" y="258886"/>
                </a:cubicBezTo>
                <a:cubicBezTo>
                  <a:pt x="398286" y="251065"/>
                  <a:pt x="394282" y="243955"/>
                  <a:pt x="388141" y="239778"/>
                </a:cubicBezTo>
                <a:cubicBezTo>
                  <a:pt x="381645" y="248488"/>
                  <a:pt x="372745" y="255331"/>
                  <a:pt x="362244" y="259242"/>
                </a:cubicBezTo>
                <a:lnTo>
                  <a:pt x="348361" y="222182"/>
                </a:lnTo>
                <a:cubicBezTo>
                  <a:pt x="355481" y="219515"/>
                  <a:pt x="360197" y="212672"/>
                  <a:pt x="360197" y="205029"/>
                </a:cubicBezTo>
                <a:cubicBezTo>
                  <a:pt x="360197" y="194987"/>
                  <a:pt x="352010" y="186810"/>
                  <a:pt x="341954" y="186810"/>
                </a:cubicBezTo>
                <a:close/>
                <a:moveTo>
                  <a:pt x="265686" y="186810"/>
                </a:moveTo>
                <a:cubicBezTo>
                  <a:pt x="255630" y="186810"/>
                  <a:pt x="247354" y="194987"/>
                  <a:pt x="247354" y="205029"/>
                </a:cubicBezTo>
                <a:cubicBezTo>
                  <a:pt x="247354" y="212672"/>
                  <a:pt x="252159" y="219515"/>
                  <a:pt x="259279" y="222182"/>
                </a:cubicBezTo>
                <a:lnTo>
                  <a:pt x="245396" y="259242"/>
                </a:lnTo>
                <a:cubicBezTo>
                  <a:pt x="234895" y="255331"/>
                  <a:pt x="225995" y="248399"/>
                  <a:pt x="219499" y="239778"/>
                </a:cubicBezTo>
                <a:cubicBezTo>
                  <a:pt x="213358" y="243955"/>
                  <a:pt x="209265" y="251065"/>
                  <a:pt x="209265" y="258886"/>
                </a:cubicBezTo>
                <a:cubicBezTo>
                  <a:pt x="209265" y="271595"/>
                  <a:pt x="219677" y="281993"/>
                  <a:pt x="232403" y="281993"/>
                </a:cubicBezTo>
                <a:lnTo>
                  <a:pt x="232403" y="321541"/>
                </a:lnTo>
                <a:cubicBezTo>
                  <a:pt x="224216" y="321541"/>
                  <a:pt x="216473" y="319942"/>
                  <a:pt x="209265" y="317098"/>
                </a:cubicBezTo>
                <a:cubicBezTo>
                  <a:pt x="209265" y="317275"/>
                  <a:pt x="209265" y="317364"/>
                  <a:pt x="209265" y="317542"/>
                </a:cubicBezTo>
                <a:cubicBezTo>
                  <a:pt x="209265" y="330251"/>
                  <a:pt x="219677" y="340649"/>
                  <a:pt x="232403" y="340649"/>
                </a:cubicBezTo>
                <a:cubicBezTo>
                  <a:pt x="238988" y="340649"/>
                  <a:pt x="245040" y="337894"/>
                  <a:pt x="249490" y="333006"/>
                </a:cubicBezTo>
                <a:lnTo>
                  <a:pt x="278857" y="359579"/>
                </a:lnTo>
                <a:cubicBezTo>
                  <a:pt x="270759" y="368555"/>
                  <a:pt x="260169" y="374954"/>
                  <a:pt x="248689" y="378064"/>
                </a:cubicBezTo>
                <a:cubicBezTo>
                  <a:pt x="251359" y="384819"/>
                  <a:pt x="257944" y="389618"/>
                  <a:pt x="265686" y="389618"/>
                </a:cubicBezTo>
                <a:cubicBezTo>
                  <a:pt x="275743" y="389618"/>
                  <a:pt x="284019" y="381442"/>
                  <a:pt x="284019" y="371399"/>
                </a:cubicBezTo>
                <a:lnTo>
                  <a:pt x="284019" y="205029"/>
                </a:lnTo>
                <a:cubicBezTo>
                  <a:pt x="284019" y="194987"/>
                  <a:pt x="275832" y="186810"/>
                  <a:pt x="265686" y="186810"/>
                </a:cubicBezTo>
                <a:close/>
                <a:moveTo>
                  <a:pt x="332965" y="39548"/>
                </a:moveTo>
                <a:cubicBezTo>
                  <a:pt x="297368" y="39548"/>
                  <a:pt x="264796" y="56701"/>
                  <a:pt x="245752" y="85407"/>
                </a:cubicBezTo>
                <a:lnTo>
                  <a:pt x="237832" y="97404"/>
                </a:lnTo>
                <a:lnTo>
                  <a:pt x="224038" y="93583"/>
                </a:lnTo>
                <a:cubicBezTo>
                  <a:pt x="218075" y="91983"/>
                  <a:pt x="211935" y="91183"/>
                  <a:pt x="205705" y="91183"/>
                </a:cubicBezTo>
                <a:cubicBezTo>
                  <a:pt x="173223" y="91183"/>
                  <a:pt x="145012" y="114112"/>
                  <a:pt x="140028" y="144418"/>
                </a:cubicBezTo>
                <a:lnTo>
                  <a:pt x="138248" y="155438"/>
                </a:lnTo>
                <a:lnTo>
                  <a:pt x="127836" y="159615"/>
                </a:lnTo>
                <a:cubicBezTo>
                  <a:pt x="104164" y="169125"/>
                  <a:pt x="88857" y="190987"/>
                  <a:pt x="88857" y="215338"/>
                </a:cubicBezTo>
                <a:cubicBezTo>
                  <a:pt x="88857" y="248666"/>
                  <a:pt x="117513" y="275861"/>
                  <a:pt x="152754" y="275861"/>
                </a:cubicBezTo>
                <a:lnTo>
                  <a:pt x="171977" y="275861"/>
                </a:lnTo>
                <a:cubicBezTo>
                  <a:pt x="170464" y="270440"/>
                  <a:pt x="169663" y="264752"/>
                  <a:pt x="169663" y="258886"/>
                </a:cubicBezTo>
                <a:cubicBezTo>
                  <a:pt x="169663" y="233291"/>
                  <a:pt x="185415" y="210895"/>
                  <a:pt x="207930" y="201208"/>
                </a:cubicBezTo>
                <a:cubicBezTo>
                  <a:pt x="209888" y="171169"/>
                  <a:pt x="235073" y="147173"/>
                  <a:pt x="265686" y="147173"/>
                </a:cubicBezTo>
                <a:cubicBezTo>
                  <a:pt x="280281" y="147173"/>
                  <a:pt x="293630" y="152594"/>
                  <a:pt x="303776" y="161570"/>
                </a:cubicBezTo>
                <a:cubicBezTo>
                  <a:pt x="314010" y="152594"/>
                  <a:pt x="327359" y="147173"/>
                  <a:pt x="341954" y="147173"/>
                </a:cubicBezTo>
                <a:cubicBezTo>
                  <a:pt x="372567" y="147173"/>
                  <a:pt x="397752" y="171169"/>
                  <a:pt x="399710" y="201208"/>
                </a:cubicBezTo>
                <a:cubicBezTo>
                  <a:pt x="422225" y="210895"/>
                  <a:pt x="437977" y="233291"/>
                  <a:pt x="437977" y="258886"/>
                </a:cubicBezTo>
                <a:cubicBezTo>
                  <a:pt x="437977" y="264752"/>
                  <a:pt x="437087" y="270440"/>
                  <a:pt x="435574" y="275861"/>
                </a:cubicBezTo>
                <a:lnTo>
                  <a:pt x="454886" y="275861"/>
                </a:lnTo>
                <a:cubicBezTo>
                  <a:pt x="490038" y="275861"/>
                  <a:pt x="518783" y="248666"/>
                  <a:pt x="518783" y="215338"/>
                </a:cubicBezTo>
                <a:cubicBezTo>
                  <a:pt x="518783" y="182367"/>
                  <a:pt x="490394" y="155172"/>
                  <a:pt x="455598" y="154816"/>
                </a:cubicBezTo>
                <a:lnTo>
                  <a:pt x="436375" y="154638"/>
                </a:lnTo>
                <a:lnTo>
                  <a:pt x="435930" y="135531"/>
                </a:lnTo>
                <a:cubicBezTo>
                  <a:pt x="435396" y="109935"/>
                  <a:pt x="424539" y="85851"/>
                  <a:pt x="405317" y="67899"/>
                </a:cubicBezTo>
                <a:cubicBezTo>
                  <a:pt x="385916" y="49591"/>
                  <a:pt x="360286" y="39548"/>
                  <a:pt x="332965" y="39548"/>
                </a:cubicBezTo>
                <a:close/>
                <a:moveTo>
                  <a:pt x="332965" y="0"/>
                </a:moveTo>
                <a:cubicBezTo>
                  <a:pt x="370342" y="0"/>
                  <a:pt x="405762" y="13864"/>
                  <a:pt x="432549" y="39015"/>
                </a:cubicBezTo>
                <a:cubicBezTo>
                  <a:pt x="455064" y="60256"/>
                  <a:pt x="469392" y="87451"/>
                  <a:pt x="474019" y="116956"/>
                </a:cubicBezTo>
                <a:cubicBezTo>
                  <a:pt x="494399" y="120600"/>
                  <a:pt x="513176" y="130198"/>
                  <a:pt x="528127" y="144685"/>
                </a:cubicBezTo>
                <a:cubicBezTo>
                  <a:pt x="547617" y="163526"/>
                  <a:pt x="558385" y="188677"/>
                  <a:pt x="558385" y="215338"/>
                </a:cubicBezTo>
                <a:cubicBezTo>
                  <a:pt x="558385" y="258175"/>
                  <a:pt x="530352" y="294880"/>
                  <a:pt x="491017" y="309099"/>
                </a:cubicBezTo>
                <a:lnTo>
                  <a:pt x="491017" y="351580"/>
                </a:lnTo>
                <a:lnTo>
                  <a:pt x="451415" y="351580"/>
                </a:lnTo>
                <a:lnTo>
                  <a:pt x="451415" y="315409"/>
                </a:lnTo>
                <a:lnTo>
                  <a:pt x="437888" y="315409"/>
                </a:lnTo>
                <a:cubicBezTo>
                  <a:pt x="437888" y="316120"/>
                  <a:pt x="437977" y="316831"/>
                  <a:pt x="437977" y="317542"/>
                </a:cubicBezTo>
                <a:cubicBezTo>
                  <a:pt x="437977" y="343404"/>
                  <a:pt x="422136" y="365711"/>
                  <a:pt x="399710" y="375220"/>
                </a:cubicBezTo>
                <a:cubicBezTo>
                  <a:pt x="398642" y="391306"/>
                  <a:pt x="390989" y="405615"/>
                  <a:pt x="379420" y="415391"/>
                </a:cubicBezTo>
                <a:lnTo>
                  <a:pt x="379420" y="442586"/>
                </a:lnTo>
                <a:lnTo>
                  <a:pt x="339818" y="442586"/>
                </a:lnTo>
                <a:lnTo>
                  <a:pt x="339818" y="429166"/>
                </a:lnTo>
                <a:cubicBezTo>
                  <a:pt x="326024" y="428722"/>
                  <a:pt x="313476" y="423389"/>
                  <a:pt x="303776" y="414858"/>
                </a:cubicBezTo>
                <a:cubicBezTo>
                  <a:pt x="294075" y="423389"/>
                  <a:pt x="281527" y="428633"/>
                  <a:pt x="267822" y="429166"/>
                </a:cubicBezTo>
                <a:lnTo>
                  <a:pt x="267822" y="442586"/>
                </a:lnTo>
                <a:lnTo>
                  <a:pt x="228220" y="442586"/>
                </a:lnTo>
                <a:lnTo>
                  <a:pt x="228220" y="415391"/>
                </a:lnTo>
                <a:cubicBezTo>
                  <a:pt x="216651" y="405615"/>
                  <a:pt x="208998" y="391306"/>
                  <a:pt x="207930" y="375220"/>
                </a:cubicBezTo>
                <a:cubicBezTo>
                  <a:pt x="185415" y="365711"/>
                  <a:pt x="169663" y="343404"/>
                  <a:pt x="169663" y="317542"/>
                </a:cubicBezTo>
                <a:cubicBezTo>
                  <a:pt x="169663" y="316831"/>
                  <a:pt x="169663" y="316120"/>
                  <a:pt x="169752" y="315409"/>
                </a:cubicBezTo>
                <a:lnTo>
                  <a:pt x="156225" y="315409"/>
                </a:lnTo>
                <a:lnTo>
                  <a:pt x="156225" y="351580"/>
                </a:lnTo>
                <a:lnTo>
                  <a:pt x="116623" y="351580"/>
                </a:lnTo>
                <a:lnTo>
                  <a:pt x="116623" y="309099"/>
                </a:lnTo>
                <a:cubicBezTo>
                  <a:pt x="77288" y="294880"/>
                  <a:pt x="49255" y="258175"/>
                  <a:pt x="49255" y="215338"/>
                </a:cubicBezTo>
                <a:cubicBezTo>
                  <a:pt x="49255" y="178279"/>
                  <a:pt x="70168" y="144774"/>
                  <a:pt x="103274" y="127354"/>
                </a:cubicBezTo>
                <a:cubicBezTo>
                  <a:pt x="108791" y="107625"/>
                  <a:pt x="120450" y="89761"/>
                  <a:pt x="136735" y="76253"/>
                </a:cubicBezTo>
                <a:cubicBezTo>
                  <a:pt x="155869" y="60344"/>
                  <a:pt x="180431" y="51635"/>
                  <a:pt x="205705" y="51635"/>
                </a:cubicBezTo>
                <a:cubicBezTo>
                  <a:pt x="210778" y="51635"/>
                  <a:pt x="215761" y="51990"/>
                  <a:pt x="220745" y="52701"/>
                </a:cubicBezTo>
                <a:cubicBezTo>
                  <a:pt x="247710" y="19463"/>
                  <a:pt x="288736" y="0"/>
                  <a:pt x="332965" y="0"/>
                </a:cubicBezTo>
                <a:close/>
              </a:path>
            </a:pathLst>
          </a:custGeom>
          <a:solidFill>
            <a:srgbClr val="0386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96256" y="3433283"/>
            <a:ext cx="364617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171450" indent="-171450">
              <a:buFont typeface="Wingdings" panose="05000000000000000000" pitchFamily="2" charset="2"/>
              <a:buChar char="n"/>
              <a:defRPr sz="140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ea typeface="楷体" panose="02010609060101010101" pitchFamily="49" charset="-122"/>
                <a:sym typeface="Arial" panose="020B0604020202020204" pitchFamily="34" charset="0"/>
              </a:rPr>
              <a:t>突破传统</a:t>
            </a:r>
            <a:r>
              <a:rPr lang="en-US" altLang="zh-CN" dirty="0">
                <a:ea typeface="楷体" panose="02010609060101010101" pitchFamily="49" charset="-122"/>
                <a:sym typeface="Arial" panose="020B0604020202020204" pitchFamily="34" charset="0"/>
              </a:rPr>
              <a:t>AI</a:t>
            </a:r>
            <a:r>
              <a:rPr lang="zh-CN" altLang="en-US" dirty="0">
                <a:ea typeface="楷体" panose="02010609060101010101" pitchFamily="49" charset="-122"/>
                <a:sym typeface="Arial" panose="020B0604020202020204" pitchFamily="34" charset="0"/>
              </a:rPr>
              <a:t>芯片“存储墙”的关键瓶颈</a:t>
            </a:r>
            <a:endParaRPr lang="en-US" altLang="zh-CN" dirty="0">
              <a:ea typeface="楷体" panose="02010609060101010101" pitchFamily="49" charset="-122"/>
              <a:sym typeface="Arial" panose="020B0604020202020204" pitchFamily="34" charset="0"/>
            </a:endParaRPr>
          </a:p>
          <a:p>
            <a:r>
              <a:rPr lang="zh-CN" altLang="en-US" dirty="0">
                <a:ea typeface="楷体" panose="02010609060101010101" pitchFamily="49" charset="-122"/>
                <a:sym typeface="Arial" panose="020B0604020202020204" pitchFamily="34" charset="0"/>
              </a:rPr>
              <a:t>性能强，功耗低，能效比强，业内最优</a:t>
            </a:r>
            <a:endParaRPr lang="en-US" altLang="zh-CN" dirty="0">
              <a:ea typeface="楷体" panose="02010609060101010101" pitchFamily="49" charset="-122"/>
              <a:sym typeface="Arial" panose="020B0604020202020204" pitchFamily="34" charset="0"/>
            </a:endParaRPr>
          </a:p>
          <a:p>
            <a:r>
              <a:rPr lang="zh-CN" altLang="en-US" dirty="0">
                <a:ea typeface="楷体" panose="02010609060101010101" pitchFamily="49" charset="-122"/>
                <a:sym typeface="Arial" panose="020B0604020202020204" pitchFamily="34" charset="0"/>
              </a:rPr>
              <a:t>通用易用，支持所有神经网络</a:t>
            </a:r>
            <a:endParaRPr lang="zh-CN" altLang="en-US" dirty="0"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8742614" y="3343987"/>
            <a:ext cx="33958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en-US" altLang="zh-CN" sz="1400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SFA</a:t>
            </a:r>
            <a:r>
              <a:rPr lang="zh-CN" altLang="en-US" sz="1400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架构的强大性能得以支撑更复杂优异的</a:t>
            </a:r>
            <a:r>
              <a:rPr lang="en-US" altLang="zh-CN" sz="1400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AI</a:t>
            </a:r>
            <a:r>
              <a:rPr lang="zh-CN" altLang="en-US" sz="1400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算法</a:t>
            </a:r>
            <a:endParaRPr lang="en-US" altLang="zh-CN" sz="1400" dirty="0">
              <a:solidFill>
                <a:srgbClr val="0386C1"/>
              </a:solidFill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400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基于</a:t>
            </a:r>
            <a:r>
              <a:rPr lang="en-US" altLang="zh-CN" sz="1400" b="1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Multi-task</a:t>
            </a:r>
            <a:r>
              <a:rPr lang="zh-CN" altLang="en-US" sz="1400" b="1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的</a:t>
            </a:r>
            <a:r>
              <a:rPr lang="zh-CN" altLang="en-US" sz="1400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端到端深度学习算法</a:t>
            </a:r>
            <a:endParaRPr lang="en-US" altLang="zh-CN" sz="1400" dirty="0">
              <a:solidFill>
                <a:srgbClr val="0386C1"/>
              </a:solidFill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-26513" y="968419"/>
            <a:ext cx="121459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ym typeface="Arial" panose="020B0604020202020204" pitchFamily="34" charset="0"/>
              </a:rPr>
              <a:t>将智能家居的人机语音交互体验提升到一个新的水平</a:t>
            </a:r>
            <a:br>
              <a:rPr lang="zh-CN" altLang="en-US" dirty="0"/>
            </a:br>
            <a:endParaRPr lang="zh-CN" altLang="en-US" dirty="0"/>
          </a:p>
        </p:txBody>
      </p:sp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41" name="直线连接符 40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标题 1"/>
          <p:cNvSpPr txBox="1"/>
          <p:nvPr/>
        </p:nvSpPr>
        <p:spPr>
          <a:xfrm>
            <a:off x="0" y="389656"/>
            <a:ext cx="12191999" cy="5190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自研</a:t>
            </a:r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FA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架构，完美解决存储墙问题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2" name="合并 71"/>
          <p:cNvSpPr/>
          <p:nvPr/>
        </p:nvSpPr>
        <p:spPr>
          <a:xfrm rot="10800000">
            <a:off x="1831704" y="3808334"/>
            <a:ext cx="8493981" cy="1163593"/>
          </a:xfrm>
          <a:prstGeom prst="flowChartMerge">
            <a:avLst/>
          </a:prstGeom>
          <a:gradFill flip="none" rotWithShape="1">
            <a:gsLst>
              <a:gs pos="0">
                <a:schemeClr val="bg1">
                  <a:lumMod val="95000"/>
                  <a:alpha val="20000"/>
                </a:schemeClr>
              </a:gs>
              <a:gs pos="100000">
                <a:srgbClr val="0386C1">
                  <a:alpha val="2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3" name="合并 72"/>
          <p:cNvSpPr/>
          <p:nvPr/>
        </p:nvSpPr>
        <p:spPr>
          <a:xfrm rot="10800000">
            <a:off x="2307101" y="4157357"/>
            <a:ext cx="7554345" cy="1163593"/>
          </a:xfrm>
          <a:prstGeom prst="flowChartMerge">
            <a:avLst/>
          </a:prstGeom>
          <a:gradFill flip="none" rotWithShape="1">
            <a:gsLst>
              <a:gs pos="0">
                <a:schemeClr val="bg1">
                  <a:lumMod val="95000"/>
                  <a:alpha val="20000"/>
                </a:schemeClr>
              </a:gs>
              <a:gs pos="98000">
                <a:srgbClr val="0386C1">
                  <a:alpha val="3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4" name="圆角矩形 73"/>
          <p:cNvSpPr/>
          <p:nvPr/>
        </p:nvSpPr>
        <p:spPr>
          <a:xfrm>
            <a:off x="570385" y="1607640"/>
            <a:ext cx="3238014" cy="2080800"/>
          </a:xfrm>
          <a:prstGeom prst="roundRect">
            <a:avLst>
              <a:gd name="adj" fmla="val 816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5" name="圆角矩形 74"/>
          <p:cNvSpPr/>
          <p:nvPr/>
        </p:nvSpPr>
        <p:spPr>
          <a:xfrm>
            <a:off x="8453299" y="1601956"/>
            <a:ext cx="3238014" cy="2080800"/>
          </a:xfrm>
          <a:prstGeom prst="roundRect">
            <a:avLst>
              <a:gd name="adj" fmla="val 816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pSp>
        <p:nvGrpSpPr>
          <p:cNvPr id="76" name="组合 75"/>
          <p:cNvGrpSpPr/>
          <p:nvPr/>
        </p:nvGrpSpPr>
        <p:grpSpPr>
          <a:xfrm>
            <a:off x="570385" y="4498588"/>
            <a:ext cx="11081958" cy="1971710"/>
            <a:chOff x="618323" y="4381037"/>
            <a:chExt cx="10667602" cy="1971710"/>
          </a:xfrm>
        </p:grpSpPr>
        <p:grpSp>
          <p:nvGrpSpPr>
            <p:cNvPr id="77" name="组合 76"/>
            <p:cNvGrpSpPr/>
            <p:nvPr/>
          </p:nvGrpSpPr>
          <p:grpSpPr>
            <a:xfrm>
              <a:off x="618323" y="4660297"/>
              <a:ext cx="10667602" cy="1692450"/>
              <a:chOff x="846858" y="1545829"/>
              <a:chExt cx="10667602" cy="1692450"/>
            </a:xfrm>
          </p:grpSpPr>
          <p:sp>
            <p:nvSpPr>
              <p:cNvPr id="79" name="Google Shape;659;p60"/>
              <p:cNvSpPr/>
              <p:nvPr/>
            </p:nvSpPr>
            <p:spPr>
              <a:xfrm>
                <a:off x="846858" y="1656917"/>
                <a:ext cx="10646139" cy="1581362"/>
              </a:xfrm>
              <a:prstGeom prst="roundRect">
                <a:avLst>
                  <a:gd name="adj" fmla="val 6331"/>
                </a:avLst>
              </a:prstGeom>
              <a:solidFill>
                <a:srgbClr val="399AC1">
                  <a:alpha val="8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b="0" i="0" u="none" strike="noStrike" cap="none">
                  <a:solidFill>
                    <a:schemeClr val="bg1"/>
                  </a:solidFill>
                  <a:latin typeface="Arial" panose="020B0604020202020204" pitchFamily="34" charset="0"/>
                  <a:ea typeface="楷体" panose="02010609060101010101" pitchFamily="49" charset="-122"/>
                  <a:cs typeface="Arial" panose="020B0604020202020204"/>
                  <a:sym typeface="Arial" panose="020B0604020202020204" pitchFamily="34" charset="0"/>
                </a:endParaRPr>
              </a:p>
            </p:txBody>
          </p:sp>
          <p:sp>
            <p:nvSpPr>
              <p:cNvPr id="80" name="矩形 79"/>
              <p:cNvSpPr/>
              <p:nvPr/>
            </p:nvSpPr>
            <p:spPr>
              <a:xfrm>
                <a:off x="1197327" y="1789348"/>
                <a:ext cx="289655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颠覆性的芯片架构：</a:t>
                </a:r>
                <a:endPara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  <a:p>
                <a:pPr algn="ctr"/>
                <a:r>
                  <a:rPr lang="zh-CN" altLang="en-US" b="1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以存储来驱动计算资源</a:t>
                </a:r>
                <a:endParaRPr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81" name="矩形 80"/>
              <p:cNvSpPr/>
              <p:nvPr/>
            </p:nvSpPr>
            <p:spPr>
              <a:xfrm>
                <a:off x="4689230" y="1736058"/>
                <a:ext cx="2744503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实现存储、计算、调度一体化</a:t>
                </a:r>
                <a:endParaRPr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82" name="矩形 81"/>
              <p:cNvSpPr/>
              <p:nvPr/>
            </p:nvSpPr>
            <p:spPr>
              <a:xfrm>
                <a:off x="8223769" y="1736058"/>
                <a:ext cx="3266147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数据调度管理</a:t>
                </a:r>
                <a:endPara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  <a:p>
                <a:pPr algn="ctr"/>
                <a:r>
                  <a:rPr lang="zh-CN" altLang="en-US" b="1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由自主研发的微处理器控制</a:t>
                </a:r>
                <a:endParaRPr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83" name="文本框 82"/>
              <p:cNvSpPr txBox="1"/>
              <p:nvPr/>
            </p:nvSpPr>
            <p:spPr>
              <a:xfrm>
                <a:off x="1217866" y="2443239"/>
                <a:ext cx="296388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zh-CN" altLang="en-US" sz="1400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SFA架构推翻冯诺依曼体系，不同于之前的类</a:t>
                </a:r>
                <a:r>
                  <a:rPr lang="en-US" altLang="zh-CN" sz="1400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CPU</a:t>
                </a:r>
                <a:r>
                  <a:rPr lang="zh-CN" altLang="en-US" sz="1400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架构</a:t>
                </a:r>
                <a:endParaRPr lang="zh-CN" altLang="en-US" sz="1400" dirty="0">
                  <a:solidFill>
                    <a:schemeClr val="bg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84" name="文本框 83"/>
              <p:cNvSpPr txBox="1"/>
              <p:nvPr/>
            </p:nvSpPr>
            <p:spPr>
              <a:xfrm>
                <a:off x="4689230" y="2389949"/>
                <a:ext cx="2875730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zh-CN" altLang="en-US" sz="1400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数据在存储之间的搬移过程中就完成了计算，计算对于数据来说只是一种“演变”</a:t>
                </a:r>
                <a:endParaRPr lang="zh-CN" altLang="en-US" sz="1400" dirty="0">
                  <a:solidFill>
                    <a:schemeClr val="bg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85" name="文本框 84"/>
              <p:cNvSpPr txBox="1"/>
              <p:nvPr/>
            </p:nvSpPr>
            <p:spPr>
              <a:xfrm>
                <a:off x="8217938" y="2389949"/>
                <a:ext cx="3266144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zh-CN" altLang="en-US" sz="1400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高效执行复杂算法，控制运行期的动态数据流，配合专有硬件电路，解决了包括</a:t>
                </a:r>
                <a:r>
                  <a:rPr lang="en-US" altLang="zh-CN" sz="1400" dirty="0" err="1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datashuffle</a:t>
                </a:r>
                <a:r>
                  <a:rPr lang="zh-CN" altLang="en-US" sz="1400" dirty="0">
                    <a:solidFill>
                      <a:schemeClr val="bg1"/>
                    </a:solidFill>
                    <a:latin typeface="Arial" panose="020B0604020202020204" pitchFamily="34" charset="0"/>
                    <a:ea typeface="楷体" panose="02010609060101010101" pitchFamily="49" charset="-122"/>
                    <a:sym typeface="Arial" panose="020B0604020202020204" pitchFamily="34" charset="0"/>
                  </a:rPr>
                  <a:t>在内的诸多疑难问题</a:t>
                </a:r>
                <a:endParaRPr lang="zh-CN" altLang="en-US" sz="1400" dirty="0">
                  <a:solidFill>
                    <a:schemeClr val="bg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86" name="Freeform 94"/>
              <p:cNvSpPr/>
              <p:nvPr/>
            </p:nvSpPr>
            <p:spPr bwMode="auto">
              <a:xfrm>
                <a:off x="10385871" y="1545829"/>
                <a:ext cx="1128589" cy="1091770"/>
              </a:xfrm>
              <a:custGeom>
                <a:avLst/>
                <a:gdLst>
                  <a:gd name="T0" fmla="*/ 189 w 189"/>
                  <a:gd name="T1" fmla="*/ 56 h 188"/>
                  <a:gd name="T2" fmla="*/ 127 w 189"/>
                  <a:gd name="T3" fmla="*/ 30 h 188"/>
                  <a:gd name="T4" fmla="*/ 127 w 189"/>
                  <a:gd name="T5" fmla="*/ 0 h 188"/>
                  <a:gd name="T6" fmla="*/ 120 w 189"/>
                  <a:gd name="T7" fmla="*/ 30 h 188"/>
                  <a:gd name="T8" fmla="*/ 111 w 189"/>
                  <a:gd name="T9" fmla="*/ 0 h 188"/>
                  <a:gd name="T10" fmla="*/ 104 w 189"/>
                  <a:gd name="T11" fmla="*/ 30 h 188"/>
                  <a:gd name="T12" fmla="*/ 95 w 189"/>
                  <a:gd name="T13" fmla="*/ 0 h 188"/>
                  <a:gd name="T14" fmla="*/ 88 w 189"/>
                  <a:gd name="T15" fmla="*/ 30 h 188"/>
                  <a:gd name="T16" fmla="*/ 79 w 189"/>
                  <a:gd name="T17" fmla="*/ 0 h 188"/>
                  <a:gd name="T18" fmla="*/ 72 w 189"/>
                  <a:gd name="T19" fmla="*/ 30 h 188"/>
                  <a:gd name="T20" fmla="*/ 62 w 189"/>
                  <a:gd name="T21" fmla="*/ 0 h 188"/>
                  <a:gd name="T22" fmla="*/ 56 w 189"/>
                  <a:gd name="T23" fmla="*/ 30 h 188"/>
                  <a:gd name="T24" fmla="*/ 0 w 189"/>
                  <a:gd name="T25" fmla="*/ 56 h 188"/>
                  <a:gd name="T26" fmla="*/ 27 w 189"/>
                  <a:gd name="T27" fmla="*/ 63 h 188"/>
                  <a:gd name="T28" fmla="*/ 0 w 189"/>
                  <a:gd name="T29" fmla="*/ 72 h 188"/>
                  <a:gd name="T30" fmla="*/ 27 w 189"/>
                  <a:gd name="T31" fmla="*/ 79 h 188"/>
                  <a:gd name="T32" fmla="*/ 0 w 189"/>
                  <a:gd name="T33" fmla="*/ 88 h 188"/>
                  <a:gd name="T34" fmla="*/ 27 w 189"/>
                  <a:gd name="T35" fmla="*/ 95 h 188"/>
                  <a:gd name="T36" fmla="*/ 0 w 189"/>
                  <a:gd name="T37" fmla="*/ 104 h 188"/>
                  <a:gd name="T38" fmla="*/ 27 w 189"/>
                  <a:gd name="T39" fmla="*/ 110 h 188"/>
                  <a:gd name="T40" fmla="*/ 0 w 189"/>
                  <a:gd name="T41" fmla="*/ 120 h 188"/>
                  <a:gd name="T42" fmla="*/ 27 w 189"/>
                  <a:gd name="T43" fmla="*/ 126 h 188"/>
                  <a:gd name="T44" fmla="*/ 56 w 189"/>
                  <a:gd name="T45" fmla="*/ 159 h 188"/>
                  <a:gd name="T46" fmla="*/ 62 w 189"/>
                  <a:gd name="T47" fmla="*/ 188 h 188"/>
                  <a:gd name="T48" fmla="*/ 72 w 189"/>
                  <a:gd name="T49" fmla="*/ 159 h 188"/>
                  <a:gd name="T50" fmla="*/ 79 w 189"/>
                  <a:gd name="T51" fmla="*/ 188 h 188"/>
                  <a:gd name="T52" fmla="*/ 88 w 189"/>
                  <a:gd name="T53" fmla="*/ 159 h 188"/>
                  <a:gd name="T54" fmla="*/ 95 w 189"/>
                  <a:gd name="T55" fmla="*/ 188 h 188"/>
                  <a:gd name="T56" fmla="*/ 104 w 189"/>
                  <a:gd name="T57" fmla="*/ 159 h 188"/>
                  <a:gd name="T58" fmla="*/ 111 w 189"/>
                  <a:gd name="T59" fmla="*/ 188 h 188"/>
                  <a:gd name="T60" fmla="*/ 120 w 189"/>
                  <a:gd name="T61" fmla="*/ 159 h 188"/>
                  <a:gd name="T62" fmla="*/ 127 w 189"/>
                  <a:gd name="T63" fmla="*/ 188 h 188"/>
                  <a:gd name="T64" fmla="*/ 127 w 189"/>
                  <a:gd name="T65" fmla="*/ 159 h 188"/>
                  <a:gd name="T66" fmla="*/ 158 w 189"/>
                  <a:gd name="T67" fmla="*/ 126 h 188"/>
                  <a:gd name="T68" fmla="*/ 189 w 189"/>
                  <a:gd name="T69" fmla="*/ 120 h 188"/>
                  <a:gd name="T70" fmla="*/ 158 w 189"/>
                  <a:gd name="T71" fmla="*/ 110 h 188"/>
                  <a:gd name="T72" fmla="*/ 189 w 189"/>
                  <a:gd name="T73" fmla="*/ 104 h 188"/>
                  <a:gd name="T74" fmla="*/ 158 w 189"/>
                  <a:gd name="T75" fmla="*/ 95 h 188"/>
                  <a:gd name="T76" fmla="*/ 189 w 189"/>
                  <a:gd name="T77" fmla="*/ 88 h 188"/>
                  <a:gd name="T78" fmla="*/ 158 w 189"/>
                  <a:gd name="T79" fmla="*/ 79 h 188"/>
                  <a:gd name="T80" fmla="*/ 189 w 189"/>
                  <a:gd name="T81" fmla="*/ 72 h 188"/>
                  <a:gd name="T82" fmla="*/ 158 w 189"/>
                  <a:gd name="T83" fmla="*/ 6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9" h="188">
                    <a:moveTo>
                      <a:pt x="189" y="63"/>
                    </a:moveTo>
                    <a:cubicBezTo>
                      <a:pt x="189" y="56"/>
                      <a:pt x="189" y="56"/>
                      <a:pt x="189" y="56"/>
                    </a:cubicBezTo>
                    <a:cubicBezTo>
                      <a:pt x="158" y="56"/>
                      <a:pt x="158" y="56"/>
                      <a:pt x="158" y="56"/>
                    </a:cubicBezTo>
                    <a:cubicBezTo>
                      <a:pt x="156" y="42"/>
                      <a:pt x="143" y="30"/>
                      <a:pt x="127" y="30"/>
                    </a:cubicBezTo>
                    <a:cubicBezTo>
                      <a:pt x="127" y="30"/>
                      <a:pt x="127" y="30"/>
                      <a:pt x="127" y="3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11" y="30"/>
                      <a:pt x="111" y="30"/>
                      <a:pt x="111" y="3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104" y="30"/>
                      <a:pt x="104" y="30"/>
                      <a:pt x="104" y="30"/>
                    </a:cubicBezTo>
                    <a:cubicBezTo>
                      <a:pt x="95" y="30"/>
                      <a:pt x="95" y="30"/>
                      <a:pt x="95" y="30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79" y="30"/>
                      <a:pt x="79" y="30"/>
                      <a:pt x="79" y="3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30"/>
                      <a:pt x="56" y="30"/>
                      <a:pt x="56" y="30"/>
                    </a:cubicBezTo>
                    <a:cubicBezTo>
                      <a:pt x="41" y="31"/>
                      <a:pt x="29" y="42"/>
                      <a:pt x="27" y="5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27" y="63"/>
                      <a:pt x="27" y="63"/>
                      <a:pt x="27" y="63"/>
                    </a:cubicBezTo>
                    <a:cubicBezTo>
                      <a:pt x="27" y="72"/>
                      <a:pt x="27" y="72"/>
                      <a:pt x="27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27" y="95"/>
                      <a:pt x="27" y="95"/>
                      <a:pt x="27" y="95"/>
                    </a:cubicBezTo>
                    <a:cubicBezTo>
                      <a:pt x="27" y="104"/>
                      <a:pt x="27" y="104"/>
                      <a:pt x="27" y="104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27" y="110"/>
                      <a:pt x="27" y="110"/>
                      <a:pt x="27" y="11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27" y="126"/>
                      <a:pt x="27" y="126"/>
                      <a:pt x="27" y="126"/>
                    </a:cubicBezTo>
                    <a:cubicBezTo>
                      <a:pt x="27" y="129"/>
                      <a:pt x="27" y="129"/>
                      <a:pt x="27" y="129"/>
                    </a:cubicBezTo>
                    <a:cubicBezTo>
                      <a:pt x="27" y="145"/>
                      <a:pt x="40" y="159"/>
                      <a:pt x="56" y="15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62" y="159"/>
                      <a:pt x="62" y="159"/>
                      <a:pt x="62" y="159"/>
                    </a:cubicBezTo>
                    <a:cubicBezTo>
                      <a:pt x="72" y="159"/>
                      <a:pt x="72" y="159"/>
                      <a:pt x="72" y="159"/>
                    </a:cubicBezTo>
                    <a:cubicBezTo>
                      <a:pt x="72" y="188"/>
                      <a:pt x="72" y="188"/>
                      <a:pt x="72" y="188"/>
                    </a:cubicBezTo>
                    <a:cubicBezTo>
                      <a:pt x="79" y="188"/>
                      <a:pt x="79" y="188"/>
                      <a:pt x="79" y="188"/>
                    </a:cubicBezTo>
                    <a:cubicBezTo>
                      <a:pt x="79" y="159"/>
                      <a:pt x="79" y="159"/>
                      <a:pt x="79" y="159"/>
                    </a:cubicBezTo>
                    <a:cubicBezTo>
                      <a:pt x="88" y="159"/>
                      <a:pt x="88" y="159"/>
                      <a:pt x="88" y="159"/>
                    </a:cubicBezTo>
                    <a:cubicBezTo>
                      <a:pt x="88" y="188"/>
                      <a:pt x="88" y="188"/>
                      <a:pt x="88" y="188"/>
                    </a:cubicBezTo>
                    <a:cubicBezTo>
                      <a:pt x="95" y="188"/>
                      <a:pt x="95" y="188"/>
                      <a:pt x="95" y="188"/>
                    </a:cubicBezTo>
                    <a:cubicBezTo>
                      <a:pt x="95" y="159"/>
                      <a:pt x="95" y="159"/>
                      <a:pt x="95" y="159"/>
                    </a:cubicBezTo>
                    <a:cubicBezTo>
                      <a:pt x="104" y="159"/>
                      <a:pt x="104" y="159"/>
                      <a:pt x="104" y="159"/>
                    </a:cubicBezTo>
                    <a:cubicBezTo>
                      <a:pt x="104" y="188"/>
                      <a:pt x="104" y="188"/>
                      <a:pt x="104" y="188"/>
                    </a:cubicBezTo>
                    <a:cubicBezTo>
                      <a:pt x="111" y="188"/>
                      <a:pt x="111" y="188"/>
                      <a:pt x="111" y="188"/>
                    </a:cubicBezTo>
                    <a:cubicBezTo>
                      <a:pt x="111" y="159"/>
                      <a:pt x="111" y="159"/>
                      <a:pt x="111" y="159"/>
                    </a:cubicBezTo>
                    <a:cubicBezTo>
                      <a:pt x="120" y="159"/>
                      <a:pt x="120" y="159"/>
                      <a:pt x="120" y="159"/>
                    </a:cubicBezTo>
                    <a:cubicBezTo>
                      <a:pt x="120" y="188"/>
                      <a:pt x="120" y="188"/>
                      <a:pt x="120" y="188"/>
                    </a:cubicBezTo>
                    <a:cubicBezTo>
                      <a:pt x="127" y="188"/>
                      <a:pt x="127" y="188"/>
                      <a:pt x="127" y="188"/>
                    </a:cubicBezTo>
                    <a:cubicBezTo>
                      <a:pt x="127" y="159"/>
                      <a:pt x="127" y="159"/>
                      <a:pt x="127" y="159"/>
                    </a:cubicBezTo>
                    <a:cubicBezTo>
                      <a:pt x="127" y="159"/>
                      <a:pt x="127" y="159"/>
                      <a:pt x="127" y="159"/>
                    </a:cubicBezTo>
                    <a:cubicBezTo>
                      <a:pt x="144" y="159"/>
                      <a:pt x="158" y="146"/>
                      <a:pt x="158" y="129"/>
                    </a:cubicBezTo>
                    <a:cubicBezTo>
                      <a:pt x="158" y="126"/>
                      <a:pt x="158" y="126"/>
                      <a:pt x="158" y="126"/>
                    </a:cubicBezTo>
                    <a:cubicBezTo>
                      <a:pt x="189" y="126"/>
                      <a:pt x="189" y="126"/>
                      <a:pt x="189" y="126"/>
                    </a:cubicBezTo>
                    <a:cubicBezTo>
                      <a:pt x="189" y="120"/>
                      <a:pt x="189" y="120"/>
                      <a:pt x="189" y="120"/>
                    </a:cubicBezTo>
                    <a:cubicBezTo>
                      <a:pt x="158" y="120"/>
                      <a:pt x="158" y="120"/>
                      <a:pt x="158" y="120"/>
                    </a:cubicBezTo>
                    <a:cubicBezTo>
                      <a:pt x="158" y="110"/>
                      <a:pt x="158" y="110"/>
                      <a:pt x="158" y="110"/>
                    </a:cubicBezTo>
                    <a:cubicBezTo>
                      <a:pt x="189" y="110"/>
                      <a:pt x="189" y="110"/>
                      <a:pt x="189" y="110"/>
                    </a:cubicBezTo>
                    <a:cubicBezTo>
                      <a:pt x="189" y="104"/>
                      <a:pt x="189" y="104"/>
                      <a:pt x="189" y="104"/>
                    </a:cubicBezTo>
                    <a:cubicBezTo>
                      <a:pt x="158" y="104"/>
                      <a:pt x="158" y="104"/>
                      <a:pt x="158" y="104"/>
                    </a:cubicBezTo>
                    <a:cubicBezTo>
                      <a:pt x="158" y="95"/>
                      <a:pt x="158" y="95"/>
                      <a:pt x="158" y="95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58" y="88"/>
                      <a:pt x="158" y="88"/>
                      <a:pt x="158" y="88"/>
                    </a:cubicBezTo>
                    <a:cubicBezTo>
                      <a:pt x="158" y="79"/>
                      <a:pt x="158" y="79"/>
                      <a:pt x="158" y="79"/>
                    </a:cubicBezTo>
                    <a:cubicBezTo>
                      <a:pt x="189" y="79"/>
                      <a:pt x="189" y="79"/>
                      <a:pt x="189" y="79"/>
                    </a:cubicBezTo>
                    <a:cubicBezTo>
                      <a:pt x="189" y="72"/>
                      <a:pt x="189" y="72"/>
                      <a:pt x="189" y="72"/>
                    </a:cubicBezTo>
                    <a:cubicBezTo>
                      <a:pt x="158" y="72"/>
                      <a:pt x="158" y="72"/>
                      <a:pt x="158" y="72"/>
                    </a:cubicBezTo>
                    <a:cubicBezTo>
                      <a:pt x="158" y="63"/>
                      <a:pt x="158" y="63"/>
                      <a:pt x="158" y="63"/>
                    </a:cubicBezTo>
                    <a:lnTo>
                      <a:pt x="189" y="63"/>
                    </a:lnTo>
                    <a:close/>
                  </a:path>
                </a:pathLst>
              </a:custGeom>
              <a:solidFill>
                <a:sysClr val="window" lastClr="FFFFFF">
                  <a:alpha val="13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cxnSp>
            <p:nvCxnSpPr>
              <p:cNvPr id="87" name="直线连接符 29"/>
              <p:cNvCxnSpPr/>
              <p:nvPr/>
            </p:nvCxnSpPr>
            <p:spPr>
              <a:xfrm>
                <a:off x="4339525" y="1676216"/>
                <a:ext cx="0" cy="1485438"/>
              </a:xfrm>
              <a:prstGeom prst="line">
                <a:avLst/>
              </a:prstGeom>
              <a:ln w="12700">
                <a:solidFill>
                  <a:schemeClr val="bg1"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线连接符 59"/>
              <p:cNvCxnSpPr/>
              <p:nvPr/>
            </p:nvCxnSpPr>
            <p:spPr>
              <a:xfrm>
                <a:off x="7878618" y="1676216"/>
                <a:ext cx="0" cy="1485438"/>
              </a:xfrm>
              <a:prstGeom prst="line">
                <a:avLst/>
              </a:prstGeom>
              <a:ln w="12700">
                <a:solidFill>
                  <a:schemeClr val="bg1"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8" name="文本框 77"/>
            <p:cNvSpPr txBox="1"/>
            <p:nvPr/>
          </p:nvSpPr>
          <p:spPr>
            <a:xfrm>
              <a:off x="2176795" y="4381037"/>
              <a:ext cx="764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存储优先架构（</a:t>
              </a:r>
              <a:r>
                <a:rPr lang="en-US" altLang="zh-CN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SFA</a:t>
              </a: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，</a:t>
              </a:r>
              <a:r>
                <a:rPr lang="en-US" altLang="zh-CN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StorageFirstArchitectures</a:t>
              </a: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）完美解决存储墙问题</a:t>
              </a:r>
              <a:endPara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89" name="组合 88"/>
          <p:cNvGrpSpPr/>
          <p:nvPr/>
        </p:nvGrpSpPr>
        <p:grpSpPr>
          <a:xfrm>
            <a:off x="7618723" y="1262668"/>
            <a:ext cx="3771680" cy="2262287"/>
            <a:chOff x="858175" y="867339"/>
            <a:chExt cx="7038400" cy="2262287"/>
          </a:xfrm>
        </p:grpSpPr>
        <p:sp>
          <p:nvSpPr>
            <p:cNvPr id="90" name="文本框 89"/>
            <p:cNvSpPr txBox="1"/>
            <p:nvPr/>
          </p:nvSpPr>
          <p:spPr>
            <a:xfrm>
              <a:off x="858175" y="867339"/>
              <a:ext cx="344730" cy="375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91" name="矩形 90"/>
            <p:cNvSpPr/>
            <p:nvPr/>
          </p:nvSpPr>
          <p:spPr>
            <a:xfrm>
              <a:off x="2806919" y="1421466"/>
              <a:ext cx="5089656" cy="17081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运算单元与内存之间的性能差距越来越大，内存子系统成为芯片整体处理能力提高的障碍， “存储墙”问题成为</a:t>
              </a:r>
              <a:r>
                <a:rPr lang="en-US" altLang="zh-C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AI</a:t>
              </a:r>
              <a:r>
                <a:rPr lang="zh-CN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芯片性能的最大瓶颈</a:t>
              </a:r>
              <a:endPara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92" name="object 4"/>
          <p:cNvSpPr/>
          <p:nvPr/>
        </p:nvSpPr>
        <p:spPr>
          <a:xfrm>
            <a:off x="4620776" y="2353701"/>
            <a:ext cx="2965757" cy="1207867"/>
          </a:xfrm>
          <a:custGeom>
            <a:avLst/>
            <a:gdLst/>
            <a:ahLst/>
            <a:cxnLst/>
            <a:rect l="l" t="t" r="r" b="b"/>
            <a:pathLst>
              <a:path w="2889885" h="1144904">
                <a:moveTo>
                  <a:pt x="2824988" y="0"/>
                </a:moveTo>
                <a:lnTo>
                  <a:pt x="64515" y="0"/>
                </a:lnTo>
                <a:lnTo>
                  <a:pt x="39433" y="5079"/>
                </a:lnTo>
                <a:lnTo>
                  <a:pt x="18922" y="18922"/>
                </a:lnTo>
                <a:lnTo>
                  <a:pt x="5079" y="39433"/>
                </a:lnTo>
                <a:lnTo>
                  <a:pt x="0" y="64515"/>
                </a:lnTo>
                <a:lnTo>
                  <a:pt x="0" y="1079982"/>
                </a:lnTo>
                <a:lnTo>
                  <a:pt x="5079" y="1105106"/>
                </a:lnTo>
                <a:lnTo>
                  <a:pt x="18922" y="1125621"/>
                </a:lnTo>
                <a:lnTo>
                  <a:pt x="39433" y="1139452"/>
                </a:lnTo>
                <a:lnTo>
                  <a:pt x="64515" y="1144523"/>
                </a:lnTo>
                <a:lnTo>
                  <a:pt x="2824988" y="1144523"/>
                </a:lnTo>
                <a:lnTo>
                  <a:pt x="2850070" y="1139452"/>
                </a:lnTo>
                <a:lnTo>
                  <a:pt x="2870581" y="1125621"/>
                </a:lnTo>
                <a:lnTo>
                  <a:pt x="2884424" y="1105106"/>
                </a:lnTo>
                <a:lnTo>
                  <a:pt x="2889504" y="1079982"/>
                </a:lnTo>
                <a:lnTo>
                  <a:pt x="2889504" y="64515"/>
                </a:lnTo>
                <a:lnTo>
                  <a:pt x="2884424" y="39433"/>
                </a:lnTo>
                <a:lnTo>
                  <a:pt x="2870581" y="18923"/>
                </a:lnTo>
                <a:lnTo>
                  <a:pt x="2850070" y="5080"/>
                </a:lnTo>
                <a:lnTo>
                  <a:pt x="282498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3" name="object 24"/>
          <p:cNvSpPr/>
          <p:nvPr/>
        </p:nvSpPr>
        <p:spPr>
          <a:xfrm>
            <a:off x="4765387" y="3067160"/>
            <a:ext cx="2733040" cy="511155"/>
          </a:xfrm>
          <a:prstGeom prst="roundRect">
            <a:avLst>
              <a:gd name="adj" fmla="val 16297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4" name="object 2"/>
          <p:cNvSpPr/>
          <p:nvPr/>
        </p:nvSpPr>
        <p:spPr>
          <a:xfrm>
            <a:off x="5195123" y="1672982"/>
            <a:ext cx="339090" cy="374015"/>
          </a:xfrm>
          <a:custGeom>
            <a:avLst/>
            <a:gdLst/>
            <a:ahLst/>
            <a:cxnLst/>
            <a:rect l="l" t="t" r="r" b="b"/>
            <a:pathLst>
              <a:path w="339089" h="374014">
                <a:moveTo>
                  <a:pt x="329692" y="24765"/>
                </a:moveTo>
                <a:lnTo>
                  <a:pt x="279653" y="24765"/>
                </a:lnTo>
                <a:lnTo>
                  <a:pt x="283972" y="26924"/>
                </a:lnTo>
                <a:lnTo>
                  <a:pt x="285241" y="30861"/>
                </a:lnTo>
                <a:lnTo>
                  <a:pt x="286512" y="34925"/>
                </a:lnTo>
                <a:lnTo>
                  <a:pt x="284352" y="39243"/>
                </a:lnTo>
                <a:lnTo>
                  <a:pt x="280288" y="40512"/>
                </a:lnTo>
                <a:lnTo>
                  <a:pt x="267942" y="44584"/>
                </a:lnTo>
                <a:lnTo>
                  <a:pt x="275970" y="73406"/>
                </a:lnTo>
                <a:lnTo>
                  <a:pt x="329692" y="24765"/>
                </a:lnTo>
                <a:close/>
              </a:path>
              <a:path w="339089" h="374014">
                <a:moveTo>
                  <a:pt x="263848" y="29886"/>
                </a:moveTo>
                <a:lnTo>
                  <a:pt x="251587" y="33909"/>
                </a:lnTo>
                <a:lnTo>
                  <a:pt x="246252" y="36068"/>
                </a:lnTo>
                <a:lnTo>
                  <a:pt x="242315" y="37718"/>
                </a:lnTo>
                <a:lnTo>
                  <a:pt x="240537" y="42164"/>
                </a:lnTo>
                <a:lnTo>
                  <a:pt x="242062" y="46101"/>
                </a:lnTo>
                <a:lnTo>
                  <a:pt x="243712" y="49911"/>
                </a:lnTo>
                <a:lnTo>
                  <a:pt x="248157" y="51816"/>
                </a:lnTo>
                <a:lnTo>
                  <a:pt x="256412" y="48387"/>
                </a:lnTo>
                <a:lnTo>
                  <a:pt x="267942" y="44584"/>
                </a:lnTo>
                <a:lnTo>
                  <a:pt x="263848" y="29886"/>
                </a:lnTo>
                <a:close/>
              </a:path>
              <a:path w="339089" h="374014">
                <a:moveTo>
                  <a:pt x="279653" y="24765"/>
                </a:moveTo>
                <a:lnTo>
                  <a:pt x="275589" y="26035"/>
                </a:lnTo>
                <a:lnTo>
                  <a:pt x="263848" y="29886"/>
                </a:lnTo>
                <a:lnTo>
                  <a:pt x="267942" y="44584"/>
                </a:lnTo>
                <a:lnTo>
                  <a:pt x="280288" y="40512"/>
                </a:lnTo>
                <a:lnTo>
                  <a:pt x="284352" y="39243"/>
                </a:lnTo>
                <a:lnTo>
                  <a:pt x="286512" y="34925"/>
                </a:lnTo>
                <a:lnTo>
                  <a:pt x="285241" y="30861"/>
                </a:lnTo>
                <a:lnTo>
                  <a:pt x="283972" y="26924"/>
                </a:lnTo>
                <a:lnTo>
                  <a:pt x="279653" y="24765"/>
                </a:lnTo>
                <a:close/>
              </a:path>
              <a:path w="339089" h="374014">
                <a:moveTo>
                  <a:pt x="255524" y="0"/>
                </a:moveTo>
                <a:lnTo>
                  <a:pt x="263848" y="29886"/>
                </a:lnTo>
                <a:lnTo>
                  <a:pt x="275589" y="26035"/>
                </a:lnTo>
                <a:lnTo>
                  <a:pt x="279653" y="24765"/>
                </a:lnTo>
                <a:lnTo>
                  <a:pt x="329692" y="24765"/>
                </a:lnTo>
                <a:lnTo>
                  <a:pt x="339089" y="16256"/>
                </a:lnTo>
                <a:lnTo>
                  <a:pt x="255524" y="0"/>
                </a:lnTo>
                <a:close/>
              </a:path>
              <a:path w="339089" h="374014">
                <a:moveTo>
                  <a:pt x="221868" y="47243"/>
                </a:moveTo>
                <a:lnTo>
                  <a:pt x="187198" y="65912"/>
                </a:lnTo>
                <a:lnTo>
                  <a:pt x="185927" y="70612"/>
                </a:lnTo>
                <a:lnTo>
                  <a:pt x="188087" y="74295"/>
                </a:lnTo>
                <a:lnTo>
                  <a:pt x="190245" y="77851"/>
                </a:lnTo>
                <a:lnTo>
                  <a:pt x="194944" y="78993"/>
                </a:lnTo>
                <a:lnTo>
                  <a:pt x="198500" y="76962"/>
                </a:lnTo>
                <a:lnTo>
                  <a:pt x="210565" y="69723"/>
                </a:lnTo>
                <a:lnTo>
                  <a:pt x="224916" y="62737"/>
                </a:lnTo>
                <a:lnTo>
                  <a:pt x="228600" y="60833"/>
                </a:lnTo>
                <a:lnTo>
                  <a:pt x="230124" y="56261"/>
                </a:lnTo>
                <a:lnTo>
                  <a:pt x="228345" y="52578"/>
                </a:lnTo>
                <a:lnTo>
                  <a:pt x="226440" y="48768"/>
                </a:lnTo>
                <a:lnTo>
                  <a:pt x="221868" y="47243"/>
                </a:lnTo>
                <a:close/>
              </a:path>
              <a:path w="339089" h="374014">
                <a:moveTo>
                  <a:pt x="168020" y="77978"/>
                </a:moveTo>
                <a:lnTo>
                  <a:pt x="146430" y="93091"/>
                </a:lnTo>
                <a:lnTo>
                  <a:pt x="139445" y="98806"/>
                </a:lnTo>
                <a:lnTo>
                  <a:pt x="136270" y="101473"/>
                </a:lnTo>
                <a:lnTo>
                  <a:pt x="135762" y="106299"/>
                </a:lnTo>
                <a:lnTo>
                  <a:pt x="138556" y="109474"/>
                </a:lnTo>
                <a:lnTo>
                  <a:pt x="141224" y="112776"/>
                </a:lnTo>
                <a:lnTo>
                  <a:pt x="146050" y="113157"/>
                </a:lnTo>
                <a:lnTo>
                  <a:pt x="155066" y="105537"/>
                </a:lnTo>
                <a:lnTo>
                  <a:pt x="173227" y="92837"/>
                </a:lnTo>
                <a:lnTo>
                  <a:pt x="176784" y="90424"/>
                </a:lnTo>
                <a:lnTo>
                  <a:pt x="177545" y="85725"/>
                </a:lnTo>
                <a:lnTo>
                  <a:pt x="175132" y="82168"/>
                </a:lnTo>
                <a:lnTo>
                  <a:pt x="172719" y="78740"/>
                </a:lnTo>
                <a:lnTo>
                  <a:pt x="168020" y="77978"/>
                </a:lnTo>
                <a:close/>
              </a:path>
              <a:path w="339089" h="374014">
                <a:moveTo>
                  <a:pt x="123698" y="116078"/>
                </a:moveTo>
                <a:lnTo>
                  <a:pt x="118872" y="116078"/>
                </a:lnTo>
                <a:lnTo>
                  <a:pt x="115950" y="118999"/>
                </a:lnTo>
                <a:lnTo>
                  <a:pt x="96774" y="137668"/>
                </a:lnTo>
                <a:lnTo>
                  <a:pt x="93852" y="140843"/>
                </a:lnTo>
                <a:lnTo>
                  <a:pt x="91059" y="144018"/>
                </a:lnTo>
                <a:lnTo>
                  <a:pt x="91439" y="148844"/>
                </a:lnTo>
                <a:lnTo>
                  <a:pt x="94487" y="151637"/>
                </a:lnTo>
                <a:lnTo>
                  <a:pt x="97662" y="154432"/>
                </a:lnTo>
                <a:lnTo>
                  <a:pt x="102488" y="154178"/>
                </a:lnTo>
                <a:lnTo>
                  <a:pt x="105282" y="151003"/>
                </a:lnTo>
                <a:lnTo>
                  <a:pt x="107441" y="148590"/>
                </a:lnTo>
                <a:lnTo>
                  <a:pt x="126491" y="129921"/>
                </a:lnTo>
                <a:lnTo>
                  <a:pt x="129539" y="127000"/>
                </a:lnTo>
                <a:lnTo>
                  <a:pt x="129666" y="122174"/>
                </a:lnTo>
                <a:lnTo>
                  <a:pt x="126497" y="118999"/>
                </a:lnTo>
                <a:lnTo>
                  <a:pt x="123698" y="116078"/>
                </a:lnTo>
                <a:close/>
              </a:path>
              <a:path w="339089" h="374014">
                <a:moveTo>
                  <a:pt x="81152" y="160528"/>
                </a:moveTo>
                <a:lnTo>
                  <a:pt x="76326" y="161162"/>
                </a:lnTo>
                <a:lnTo>
                  <a:pt x="73787" y="164592"/>
                </a:lnTo>
                <a:lnTo>
                  <a:pt x="65277" y="175768"/>
                </a:lnTo>
                <a:lnTo>
                  <a:pt x="56134" y="189230"/>
                </a:lnTo>
                <a:lnTo>
                  <a:pt x="55625" y="189865"/>
                </a:lnTo>
                <a:lnTo>
                  <a:pt x="53466" y="193421"/>
                </a:lnTo>
                <a:lnTo>
                  <a:pt x="54482" y="198120"/>
                </a:lnTo>
                <a:lnTo>
                  <a:pt x="58038" y="200406"/>
                </a:lnTo>
                <a:lnTo>
                  <a:pt x="61722" y="202565"/>
                </a:lnTo>
                <a:lnTo>
                  <a:pt x="66420" y="201549"/>
                </a:lnTo>
                <a:lnTo>
                  <a:pt x="68579" y="197866"/>
                </a:lnTo>
                <a:lnTo>
                  <a:pt x="77469" y="184912"/>
                </a:lnTo>
                <a:lnTo>
                  <a:pt x="85978" y="173736"/>
                </a:lnTo>
                <a:lnTo>
                  <a:pt x="88518" y="170307"/>
                </a:lnTo>
                <a:lnTo>
                  <a:pt x="87756" y="165608"/>
                </a:lnTo>
                <a:lnTo>
                  <a:pt x="81152" y="160528"/>
                </a:lnTo>
                <a:close/>
              </a:path>
              <a:path w="339089" h="374014">
                <a:moveTo>
                  <a:pt x="46609" y="211455"/>
                </a:moveTo>
                <a:lnTo>
                  <a:pt x="42037" y="212725"/>
                </a:lnTo>
                <a:lnTo>
                  <a:pt x="40004" y="216408"/>
                </a:lnTo>
                <a:lnTo>
                  <a:pt x="39497" y="217043"/>
                </a:lnTo>
                <a:lnTo>
                  <a:pt x="32257" y="231521"/>
                </a:lnTo>
                <a:lnTo>
                  <a:pt x="26415" y="244475"/>
                </a:lnTo>
                <a:lnTo>
                  <a:pt x="24764" y="248412"/>
                </a:lnTo>
                <a:lnTo>
                  <a:pt x="26542" y="252857"/>
                </a:lnTo>
                <a:lnTo>
                  <a:pt x="30352" y="254635"/>
                </a:lnTo>
                <a:lnTo>
                  <a:pt x="34162" y="256286"/>
                </a:lnTo>
                <a:lnTo>
                  <a:pt x="38735" y="254508"/>
                </a:lnTo>
                <a:lnTo>
                  <a:pt x="40386" y="250698"/>
                </a:lnTo>
                <a:lnTo>
                  <a:pt x="45847" y="238379"/>
                </a:lnTo>
                <a:lnTo>
                  <a:pt x="53212" y="223901"/>
                </a:lnTo>
                <a:lnTo>
                  <a:pt x="55244" y="220218"/>
                </a:lnTo>
                <a:lnTo>
                  <a:pt x="53975" y="215519"/>
                </a:lnTo>
                <a:lnTo>
                  <a:pt x="46609" y="211455"/>
                </a:lnTo>
                <a:close/>
              </a:path>
              <a:path w="339089" h="374014">
                <a:moveTo>
                  <a:pt x="21209" y="267589"/>
                </a:moveTo>
                <a:lnTo>
                  <a:pt x="16890" y="269748"/>
                </a:lnTo>
                <a:lnTo>
                  <a:pt x="15620" y="273685"/>
                </a:lnTo>
                <a:lnTo>
                  <a:pt x="14604" y="276733"/>
                </a:lnTo>
                <a:lnTo>
                  <a:pt x="10160" y="292354"/>
                </a:lnTo>
                <a:lnTo>
                  <a:pt x="7492" y="303911"/>
                </a:lnTo>
                <a:lnTo>
                  <a:pt x="6603" y="307975"/>
                </a:lnTo>
                <a:lnTo>
                  <a:pt x="9143" y="312039"/>
                </a:lnTo>
                <a:lnTo>
                  <a:pt x="13207" y="313055"/>
                </a:lnTo>
                <a:lnTo>
                  <a:pt x="17399" y="313944"/>
                </a:lnTo>
                <a:lnTo>
                  <a:pt x="21462" y="311404"/>
                </a:lnTo>
                <a:lnTo>
                  <a:pt x="22351" y="307340"/>
                </a:lnTo>
                <a:lnTo>
                  <a:pt x="24891" y="296418"/>
                </a:lnTo>
                <a:lnTo>
                  <a:pt x="28955" y="281559"/>
                </a:lnTo>
                <a:lnTo>
                  <a:pt x="31368" y="274574"/>
                </a:lnTo>
                <a:lnTo>
                  <a:pt x="29210" y="270256"/>
                </a:lnTo>
                <a:lnTo>
                  <a:pt x="25273" y="268986"/>
                </a:lnTo>
                <a:lnTo>
                  <a:pt x="21209" y="267589"/>
                </a:lnTo>
                <a:close/>
              </a:path>
              <a:path w="339089" h="374014">
                <a:moveTo>
                  <a:pt x="6603" y="327533"/>
                </a:moveTo>
                <a:lnTo>
                  <a:pt x="2793" y="330454"/>
                </a:lnTo>
                <a:lnTo>
                  <a:pt x="1524" y="340741"/>
                </a:lnTo>
                <a:lnTo>
                  <a:pt x="253" y="357124"/>
                </a:lnTo>
                <a:lnTo>
                  <a:pt x="0" y="365887"/>
                </a:lnTo>
                <a:lnTo>
                  <a:pt x="0" y="370078"/>
                </a:lnTo>
                <a:lnTo>
                  <a:pt x="3301" y="373507"/>
                </a:lnTo>
                <a:lnTo>
                  <a:pt x="11684" y="373761"/>
                </a:lnTo>
                <a:lnTo>
                  <a:pt x="15239" y="370332"/>
                </a:lnTo>
                <a:lnTo>
                  <a:pt x="15248" y="365887"/>
                </a:lnTo>
                <a:lnTo>
                  <a:pt x="15493" y="358267"/>
                </a:lnTo>
                <a:lnTo>
                  <a:pt x="16637" y="342519"/>
                </a:lnTo>
                <a:lnTo>
                  <a:pt x="17399" y="336550"/>
                </a:lnTo>
                <a:lnTo>
                  <a:pt x="17906" y="332359"/>
                </a:lnTo>
                <a:lnTo>
                  <a:pt x="14986" y="328549"/>
                </a:lnTo>
                <a:lnTo>
                  <a:pt x="6603" y="32753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5" name="object 3"/>
          <p:cNvSpPr/>
          <p:nvPr/>
        </p:nvSpPr>
        <p:spPr>
          <a:xfrm>
            <a:off x="4778817" y="1698382"/>
            <a:ext cx="372110" cy="340995"/>
          </a:xfrm>
          <a:custGeom>
            <a:avLst/>
            <a:gdLst/>
            <a:ahLst/>
            <a:cxnLst/>
            <a:rect l="l" t="t" r="r" b="b"/>
            <a:pathLst>
              <a:path w="372110" h="340995">
                <a:moveTo>
                  <a:pt x="326996" y="269397"/>
                </a:moveTo>
                <a:lnTo>
                  <a:pt x="298069" y="277241"/>
                </a:lnTo>
                <a:lnTo>
                  <a:pt x="354838" y="340741"/>
                </a:lnTo>
                <a:lnTo>
                  <a:pt x="365427" y="288036"/>
                </a:lnTo>
                <a:lnTo>
                  <a:pt x="336550" y="288036"/>
                </a:lnTo>
                <a:lnTo>
                  <a:pt x="332232" y="285877"/>
                </a:lnTo>
                <a:lnTo>
                  <a:pt x="330962" y="281813"/>
                </a:lnTo>
                <a:lnTo>
                  <a:pt x="326996" y="269397"/>
                </a:lnTo>
                <a:close/>
              </a:path>
              <a:path w="372110" h="340995">
                <a:moveTo>
                  <a:pt x="341669" y="265418"/>
                </a:moveTo>
                <a:lnTo>
                  <a:pt x="326996" y="269397"/>
                </a:lnTo>
                <a:lnTo>
                  <a:pt x="330962" y="281813"/>
                </a:lnTo>
                <a:lnTo>
                  <a:pt x="332232" y="285877"/>
                </a:lnTo>
                <a:lnTo>
                  <a:pt x="336550" y="288036"/>
                </a:lnTo>
                <a:lnTo>
                  <a:pt x="340487" y="286766"/>
                </a:lnTo>
                <a:lnTo>
                  <a:pt x="344550" y="285496"/>
                </a:lnTo>
                <a:lnTo>
                  <a:pt x="346710" y="281178"/>
                </a:lnTo>
                <a:lnTo>
                  <a:pt x="341669" y="265418"/>
                </a:lnTo>
                <a:close/>
              </a:path>
              <a:path w="372110" h="340995">
                <a:moveTo>
                  <a:pt x="371601" y="257302"/>
                </a:moveTo>
                <a:lnTo>
                  <a:pt x="341669" y="265418"/>
                </a:lnTo>
                <a:lnTo>
                  <a:pt x="346710" y="281178"/>
                </a:lnTo>
                <a:lnTo>
                  <a:pt x="344550" y="285496"/>
                </a:lnTo>
                <a:lnTo>
                  <a:pt x="340487" y="286766"/>
                </a:lnTo>
                <a:lnTo>
                  <a:pt x="336550" y="288036"/>
                </a:lnTo>
                <a:lnTo>
                  <a:pt x="365427" y="288036"/>
                </a:lnTo>
                <a:lnTo>
                  <a:pt x="371601" y="257302"/>
                </a:lnTo>
                <a:close/>
              </a:path>
              <a:path w="372110" h="340995">
                <a:moveTo>
                  <a:pt x="329565" y="241935"/>
                </a:moveTo>
                <a:lnTo>
                  <a:pt x="325628" y="243586"/>
                </a:lnTo>
                <a:lnTo>
                  <a:pt x="321818" y="245110"/>
                </a:lnTo>
                <a:lnTo>
                  <a:pt x="319913" y="249555"/>
                </a:lnTo>
                <a:lnTo>
                  <a:pt x="321563" y="253492"/>
                </a:lnTo>
                <a:lnTo>
                  <a:pt x="323215" y="257556"/>
                </a:lnTo>
                <a:lnTo>
                  <a:pt x="326996" y="269397"/>
                </a:lnTo>
                <a:lnTo>
                  <a:pt x="341669" y="265418"/>
                </a:lnTo>
                <a:lnTo>
                  <a:pt x="337693" y="252984"/>
                </a:lnTo>
                <a:lnTo>
                  <a:pt x="335661" y="247777"/>
                </a:lnTo>
                <a:lnTo>
                  <a:pt x="334010" y="243840"/>
                </a:lnTo>
                <a:lnTo>
                  <a:pt x="329565" y="241935"/>
                </a:lnTo>
                <a:close/>
              </a:path>
              <a:path w="372110" h="340995">
                <a:moveTo>
                  <a:pt x="301751" y="187198"/>
                </a:moveTo>
                <a:lnTo>
                  <a:pt x="298069" y="189230"/>
                </a:lnTo>
                <a:lnTo>
                  <a:pt x="294386" y="191389"/>
                </a:lnTo>
                <a:lnTo>
                  <a:pt x="293116" y="196087"/>
                </a:lnTo>
                <a:lnTo>
                  <a:pt x="295275" y="199644"/>
                </a:lnTo>
                <a:lnTo>
                  <a:pt x="302133" y="211455"/>
                </a:lnTo>
                <a:lnTo>
                  <a:pt x="309118" y="226187"/>
                </a:lnTo>
                <a:lnTo>
                  <a:pt x="311023" y="229997"/>
                </a:lnTo>
                <a:lnTo>
                  <a:pt x="315595" y="231521"/>
                </a:lnTo>
                <a:lnTo>
                  <a:pt x="319278" y="229743"/>
                </a:lnTo>
                <a:lnTo>
                  <a:pt x="323088" y="227837"/>
                </a:lnTo>
                <a:lnTo>
                  <a:pt x="324738" y="223393"/>
                </a:lnTo>
                <a:lnTo>
                  <a:pt x="322961" y="219583"/>
                </a:lnTo>
                <a:lnTo>
                  <a:pt x="315849" y="204978"/>
                </a:lnTo>
                <a:lnTo>
                  <a:pt x="308483" y="192024"/>
                </a:lnTo>
                <a:lnTo>
                  <a:pt x="306324" y="188468"/>
                </a:lnTo>
                <a:lnTo>
                  <a:pt x="301751" y="187198"/>
                </a:lnTo>
                <a:close/>
              </a:path>
              <a:path w="372110" h="340995">
                <a:moveTo>
                  <a:pt x="266573" y="136652"/>
                </a:moveTo>
                <a:lnTo>
                  <a:pt x="259969" y="141986"/>
                </a:lnTo>
                <a:lnTo>
                  <a:pt x="259587" y="146812"/>
                </a:lnTo>
                <a:lnTo>
                  <a:pt x="262128" y="149987"/>
                </a:lnTo>
                <a:lnTo>
                  <a:pt x="266954" y="155829"/>
                </a:lnTo>
                <a:lnTo>
                  <a:pt x="279654" y="174244"/>
                </a:lnTo>
                <a:lnTo>
                  <a:pt x="281940" y="177800"/>
                </a:lnTo>
                <a:lnTo>
                  <a:pt x="286766" y="178689"/>
                </a:lnTo>
                <a:lnTo>
                  <a:pt x="293624" y="173862"/>
                </a:lnTo>
                <a:lnTo>
                  <a:pt x="294513" y="169164"/>
                </a:lnTo>
                <a:lnTo>
                  <a:pt x="279526" y="147193"/>
                </a:lnTo>
                <a:lnTo>
                  <a:pt x="271399" y="137160"/>
                </a:lnTo>
                <a:lnTo>
                  <a:pt x="266573" y="136652"/>
                </a:lnTo>
                <a:close/>
              </a:path>
              <a:path w="372110" h="340995">
                <a:moveTo>
                  <a:pt x="229362" y="91567"/>
                </a:moveTo>
                <a:lnTo>
                  <a:pt x="224536" y="91821"/>
                </a:lnTo>
                <a:lnTo>
                  <a:pt x="221615" y="94868"/>
                </a:lnTo>
                <a:lnTo>
                  <a:pt x="218821" y="97917"/>
                </a:lnTo>
                <a:lnTo>
                  <a:pt x="219075" y="102743"/>
                </a:lnTo>
                <a:lnTo>
                  <a:pt x="222123" y="105664"/>
                </a:lnTo>
                <a:lnTo>
                  <a:pt x="224662" y="107950"/>
                </a:lnTo>
                <a:lnTo>
                  <a:pt x="245999" y="130175"/>
                </a:lnTo>
                <a:lnTo>
                  <a:pt x="250825" y="130302"/>
                </a:lnTo>
                <a:lnTo>
                  <a:pt x="256921" y="124460"/>
                </a:lnTo>
                <a:lnTo>
                  <a:pt x="256921" y="119634"/>
                </a:lnTo>
                <a:lnTo>
                  <a:pt x="235712" y="97409"/>
                </a:lnTo>
                <a:lnTo>
                  <a:pt x="232410" y="94487"/>
                </a:lnTo>
                <a:lnTo>
                  <a:pt x="229362" y="91567"/>
                </a:lnTo>
                <a:close/>
              </a:path>
              <a:path w="372110" h="340995">
                <a:moveTo>
                  <a:pt x="180212" y="53467"/>
                </a:moveTo>
                <a:lnTo>
                  <a:pt x="175513" y="54483"/>
                </a:lnTo>
                <a:lnTo>
                  <a:pt x="170942" y="61595"/>
                </a:lnTo>
                <a:lnTo>
                  <a:pt x="171958" y="66293"/>
                </a:lnTo>
                <a:lnTo>
                  <a:pt x="175513" y="68580"/>
                </a:lnTo>
                <a:lnTo>
                  <a:pt x="176275" y="68961"/>
                </a:lnTo>
                <a:lnTo>
                  <a:pt x="188975" y="77851"/>
                </a:lnTo>
                <a:lnTo>
                  <a:pt x="202946" y="88646"/>
                </a:lnTo>
                <a:lnTo>
                  <a:pt x="207772" y="88011"/>
                </a:lnTo>
                <a:lnTo>
                  <a:pt x="212851" y="81407"/>
                </a:lnTo>
                <a:lnTo>
                  <a:pt x="212217" y="76581"/>
                </a:lnTo>
                <a:lnTo>
                  <a:pt x="198247" y="65786"/>
                </a:lnTo>
                <a:lnTo>
                  <a:pt x="185038" y="56515"/>
                </a:lnTo>
                <a:lnTo>
                  <a:pt x="183769" y="55753"/>
                </a:lnTo>
                <a:lnTo>
                  <a:pt x="180212" y="53467"/>
                </a:lnTo>
                <a:close/>
              </a:path>
              <a:path w="372110" h="340995">
                <a:moveTo>
                  <a:pt x="125475" y="24384"/>
                </a:moveTo>
                <a:lnTo>
                  <a:pt x="120904" y="26035"/>
                </a:lnTo>
                <a:lnTo>
                  <a:pt x="119253" y="29972"/>
                </a:lnTo>
                <a:lnTo>
                  <a:pt x="117475" y="33782"/>
                </a:lnTo>
                <a:lnTo>
                  <a:pt x="119125" y="38227"/>
                </a:lnTo>
                <a:lnTo>
                  <a:pt x="122936" y="40005"/>
                </a:lnTo>
                <a:lnTo>
                  <a:pt x="136398" y="46101"/>
                </a:lnTo>
                <a:lnTo>
                  <a:pt x="153797" y="55118"/>
                </a:lnTo>
                <a:lnTo>
                  <a:pt x="158369" y="53593"/>
                </a:lnTo>
                <a:lnTo>
                  <a:pt x="160274" y="49911"/>
                </a:lnTo>
                <a:lnTo>
                  <a:pt x="162306" y="46101"/>
                </a:lnTo>
                <a:lnTo>
                  <a:pt x="160782" y="41529"/>
                </a:lnTo>
                <a:lnTo>
                  <a:pt x="143383" y="32512"/>
                </a:lnTo>
                <a:lnTo>
                  <a:pt x="129286" y="26162"/>
                </a:lnTo>
                <a:lnTo>
                  <a:pt x="125475" y="24384"/>
                </a:lnTo>
                <a:close/>
              </a:path>
              <a:path w="372110" h="340995">
                <a:moveTo>
                  <a:pt x="65786" y="6223"/>
                </a:moveTo>
                <a:lnTo>
                  <a:pt x="61722" y="8636"/>
                </a:lnTo>
                <a:lnTo>
                  <a:pt x="60706" y="12827"/>
                </a:lnTo>
                <a:lnTo>
                  <a:pt x="59817" y="16891"/>
                </a:lnTo>
                <a:lnTo>
                  <a:pt x="62357" y="20955"/>
                </a:lnTo>
                <a:lnTo>
                  <a:pt x="66421" y="21971"/>
                </a:lnTo>
                <a:lnTo>
                  <a:pt x="79375" y="25018"/>
                </a:lnTo>
                <a:lnTo>
                  <a:pt x="93980" y="29210"/>
                </a:lnTo>
                <a:lnTo>
                  <a:pt x="95123" y="29591"/>
                </a:lnTo>
                <a:lnTo>
                  <a:pt x="99060" y="30987"/>
                </a:lnTo>
                <a:lnTo>
                  <a:pt x="103505" y="28829"/>
                </a:lnTo>
                <a:lnTo>
                  <a:pt x="104775" y="24892"/>
                </a:lnTo>
                <a:lnTo>
                  <a:pt x="106172" y="20828"/>
                </a:lnTo>
                <a:lnTo>
                  <a:pt x="104012" y="16510"/>
                </a:lnTo>
                <a:lnTo>
                  <a:pt x="100075" y="15240"/>
                </a:lnTo>
                <a:lnTo>
                  <a:pt x="98933" y="14732"/>
                </a:lnTo>
                <a:lnTo>
                  <a:pt x="83566" y="10414"/>
                </a:lnTo>
                <a:lnTo>
                  <a:pt x="69976" y="7112"/>
                </a:lnTo>
                <a:lnTo>
                  <a:pt x="65786" y="6223"/>
                </a:lnTo>
                <a:close/>
              </a:path>
              <a:path w="372110" h="340995">
                <a:moveTo>
                  <a:pt x="3683" y="0"/>
                </a:moveTo>
                <a:lnTo>
                  <a:pt x="126" y="3302"/>
                </a:lnTo>
                <a:lnTo>
                  <a:pt x="0" y="11811"/>
                </a:lnTo>
                <a:lnTo>
                  <a:pt x="3301" y="15240"/>
                </a:lnTo>
                <a:lnTo>
                  <a:pt x="18542" y="15621"/>
                </a:lnTo>
                <a:lnTo>
                  <a:pt x="34162" y="16764"/>
                </a:lnTo>
                <a:lnTo>
                  <a:pt x="37084" y="17145"/>
                </a:lnTo>
                <a:lnTo>
                  <a:pt x="41275" y="17780"/>
                </a:lnTo>
                <a:lnTo>
                  <a:pt x="45085" y="14732"/>
                </a:lnTo>
                <a:lnTo>
                  <a:pt x="45720" y="10541"/>
                </a:lnTo>
                <a:lnTo>
                  <a:pt x="46228" y="6477"/>
                </a:lnTo>
                <a:lnTo>
                  <a:pt x="43180" y="2540"/>
                </a:lnTo>
                <a:lnTo>
                  <a:pt x="36068" y="1651"/>
                </a:lnTo>
                <a:lnTo>
                  <a:pt x="19812" y="381"/>
                </a:lnTo>
                <a:lnTo>
                  <a:pt x="368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pSp>
        <p:nvGrpSpPr>
          <p:cNvPr id="96" name="object 5"/>
          <p:cNvGrpSpPr/>
          <p:nvPr/>
        </p:nvGrpSpPr>
        <p:grpSpPr>
          <a:xfrm>
            <a:off x="5632385" y="1605354"/>
            <a:ext cx="558165" cy="137160"/>
            <a:chOff x="4197096" y="4189412"/>
            <a:chExt cx="558165" cy="137160"/>
          </a:xfrm>
        </p:grpSpPr>
        <p:sp>
          <p:nvSpPr>
            <p:cNvPr id="97" name="object 6"/>
            <p:cNvSpPr/>
            <p:nvPr/>
          </p:nvSpPr>
          <p:spPr>
            <a:xfrm>
              <a:off x="4199382" y="4191698"/>
              <a:ext cx="553720" cy="132715"/>
            </a:xfrm>
            <a:custGeom>
              <a:avLst/>
              <a:gdLst/>
              <a:ahLst/>
              <a:cxnLst/>
              <a:rect l="l" t="t" r="r" b="b"/>
              <a:pathLst>
                <a:path w="553720" h="132714">
                  <a:moveTo>
                    <a:pt x="553389" y="0"/>
                  </a:moveTo>
                  <a:lnTo>
                    <a:pt x="0" y="0"/>
                  </a:lnTo>
                  <a:lnTo>
                    <a:pt x="0" y="132524"/>
                  </a:lnTo>
                  <a:lnTo>
                    <a:pt x="553389" y="132524"/>
                  </a:lnTo>
                  <a:lnTo>
                    <a:pt x="553389" y="0"/>
                  </a:lnTo>
                  <a:close/>
                </a:path>
              </a:pathLst>
            </a:custGeom>
            <a:solidFill>
              <a:srgbClr val="E6E7E8">
                <a:alpha val="70199"/>
              </a:srgb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98" name="object 7"/>
            <p:cNvSpPr/>
            <p:nvPr/>
          </p:nvSpPr>
          <p:spPr>
            <a:xfrm>
              <a:off x="4199382" y="4191698"/>
              <a:ext cx="553720" cy="132715"/>
            </a:xfrm>
            <a:custGeom>
              <a:avLst/>
              <a:gdLst/>
              <a:ahLst/>
              <a:cxnLst/>
              <a:rect l="l" t="t" r="r" b="b"/>
              <a:pathLst>
                <a:path w="553720" h="132714">
                  <a:moveTo>
                    <a:pt x="0" y="132524"/>
                  </a:moveTo>
                  <a:lnTo>
                    <a:pt x="553389" y="132524"/>
                  </a:lnTo>
                  <a:lnTo>
                    <a:pt x="553389" y="0"/>
                  </a:lnTo>
                  <a:lnTo>
                    <a:pt x="0" y="0"/>
                  </a:lnTo>
                  <a:lnTo>
                    <a:pt x="0" y="132524"/>
                  </a:lnTo>
                  <a:close/>
                </a:path>
              </a:pathLst>
            </a:custGeom>
            <a:ln w="4571">
              <a:solidFill>
                <a:srgbClr val="919CAB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99" name="object 8"/>
          <p:cNvGrpSpPr/>
          <p:nvPr/>
        </p:nvGrpSpPr>
        <p:grpSpPr>
          <a:xfrm>
            <a:off x="5632385" y="1789773"/>
            <a:ext cx="1005840" cy="139065"/>
            <a:chOff x="4197096" y="4373831"/>
            <a:chExt cx="1005840" cy="139065"/>
          </a:xfrm>
        </p:grpSpPr>
        <p:sp>
          <p:nvSpPr>
            <p:cNvPr id="100" name="object 9"/>
            <p:cNvSpPr/>
            <p:nvPr/>
          </p:nvSpPr>
          <p:spPr>
            <a:xfrm>
              <a:off x="4199382" y="4376117"/>
              <a:ext cx="1001394" cy="67310"/>
            </a:xfrm>
            <a:custGeom>
              <a:avLst/>
              <a:gdLst/>
              <a:ahLst/>
              <a:cxnLst/>
              <a:rect l="l" t="t" r="r" b="b"/>
              <a:pathLst>
                <a:path w="1001395" h="67310">
                  <a:moveTo>
                    <a:pt x="1001052" y="0"/>
                  </a:moveTo>
                  <a:lnTo>
                    <a:pt x="0" y="0"/>
                  </a:lnTo>
                  <a:lnTo>
                    <a:pt x="0" y="67104"/>
                  </a:lnTo>
                  <a:lnTo>
                    <a:pt x="1001052" y="67104"/>
                  </a:lnTo>
                  <a:lnTo>
                    <a:pt x="1001052" y="0"/>
                  </a:lnTo>
                  <a:close/>
                </a:path>
              </a:pathLst>
            </a:custGeom>
            <a:solidFill>
              <a:srgbClr val="E6E7E8">
                <a:alpha val="70199"/>
              </a:srgb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01" name="object 10"/>
            <p:cNvSpPr/>
            <p:nvPr/>
          </p:nvSpPr>
          <p:spPr>
            <a:xfrm>
              <a:off x="4199382" y="4376117"/>
              <a:ext cx="1001394" cy="67310"/>
            </a:xfrm>
            <a:custGeom>
              <a:avLst/>
              <a:gdLst/>
              <a:ahLst/>
              <a:cxnLst/>
              <a:rect l="l" t="t" r="r" b="b"/>
              <a:pathLst>
                <a:path w="1001395" h="67310">
                  <a:moveTo>
                    <a:pt x="0" y="67104"/>
                  </a:moveTo>
                  <a:lnTo>
                    <a:pt x="1001052" y="67104"/>
                  </a:lnTo>
                  <a:lnTo>
                    <a:pt x="1001052" y="0"/>
                  </a:lnTo>
                  <a:lnTo>
                    <a:pt x="0" y="0"/>
                  </a:lnTo>
                  <a:lnTo>
                    <a:pt x="0" y="67104"/>
                  </a:lnTo>
                  <a:close/>
                </a:path>
              </a:pathLst>
            </a:custGeom>
            <a:ln w="4572">
              <a:solidFill>
                <a:srgbClr val="919CAB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02" name="object 11"/>
            <p:cNvSpPr/>
            <p:nvPr/>
          </p:nvSpPr>
          <p:spPr>
            <a:xfrm>
              <a:off x="4199382" y="4443173"/>
              <a:ext cx="914400" cy="67310"/>
            </a:xfrm>
            <a:custGeom>
              <a:avLst/>
              <a:gdLst/>
              <a:ahLst/>
              <a:cxnLst/>
              <a:rect l="l" t="t" r="r" b="b"/>
              <a:pathLst>
                <a:path w="914400" h="67310">
                  <a:moveTo>
                    <a:pt x="914120" y="0"/>
                  </a:moveTo>
                  <a:lnTo>
                    <a:pt x="0" y="0"/>
                  </a:lnTo>
                  <a:lnTo>
                    <a:pt x="0" y="67104"/>
                  </a:lnTo>
                  <a:lnTo>
                    <a:pt x="914120" y="67104"/>
                  </a:lnTo>
                  <a:lnTo>
                    <a:pt x="914120" y="0"/>
                  </a:lnTo>
                  <a:close/>
                </a:path>
              </a:pathLst>
            </a:custGeom>
            <a:solidFill>
              <a:srgbClr val="E6E7E8">
                <a:alpha val="70199"/>
              </a:srgb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03" name="object 12"/>
            <p:cNvSpPr/>
            <p:nvPr/>
          </p:nvSpPr>
          <p:spPr>
            <a:xfrm>
              <a:off x="4199382" y="4443173"/>
              <a:ext cx="914400" cy="67310"/>
            </a:xfrm>
            <a:custGeom>
              <a:avLst/>
              <a:gdLst/>
              <a:ahLst/>
              <a:cxnLst/>
              <a:rect l="l" t="t" r="r" b="b"/>
              <a:pathLst>
                <a:path w="914400" h="67310">
                  <a:moveTo>
                    <a:pt x="0" y="67104"/>
                  </a:moveTo>
                  <a:lnTo>
                    <a:pt x="914120" y="67104"/>
                  </a:lnTo>
                  <a:lnTo>
                    <a:pt x="914120" y="0"/>
                  </a:lnTo>
                  <a:lnTo>
                    <a:pt x="0" y="0"/>
                  </a:lnTo>
                  <a:lnTo>
                    <a:pt x="0" y="67104"/>
                  </a:lnTo>
                  <a:close/>
                </a:path>
              </a:pathLst>
            </a:custGeom>
            <a:ln w="4571">
              <a:solidFill>
                <a:srgbClr val="919CAB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04" name="object 13"/>
          <p:cNvGrpSpPr/>
          <p:nvPr/>
        </p:nvGrpSpPr>
        <p:grpSpPr>
          <a:xfrm>
            <a:off x="6388289" y="1605354"/>
            <a:ext cx="249554" cy="137160"/>
            <a:chOff x="4953000" y="4189412"/>
            <a:chExt cx="249554" cy="137160"/>
          </a:xfrm>
        </p:grpSpPr>
        <p:sp>
          <p:nvSpPr>
            <p:cNvPr id="105" name="object 14"/>
            <p:cNvSpPr/>
            <p:nvPr/>
          </p:nvSpPr>
          <p:spPr>
            <a:xfrm>
              <a:off x="4955286" y="4191698"/>
              <a:ext cx="245110" cy="132715"/>
            </a:xfrm>
            <a:custGeom>
              <a:avLst/>
              <a:gdLst/>
              <a:ahLst/>
              <a:cxnLst/>
              <a:rect l="l" t="t" r="r" b="b"/>
              <a:pathLst>
                <a:path w="245110" h="132714">
                  <a:moveTo>
                    <a:pt x="244868" y="0"/>
                  </a:moveTo>
                  <a:lnTo>
                    <a:pt x="0" y="0"/>
                  </a:lnTo>
                  <a:lnTo>
                    <a:pt x="0" y="132524"/>
                  </a:lnTo>
                  <a:lnTo>
                    <a:pt x="244868" y="132524"/>
                  </a:lnTo>
                  <a:lnTo>
                    <a:pt x="244868" y="0"/>
                  </a:lnTo>
                  <a:close/>
                </a:path>
              </a:pathLst>
            </a:custGeom>
            <a:solidFill>
              <a:srgbClr val="E6E7E8">
                <a:alpha val="70199"/>
              </a:srgb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06" name="object 15"/>
            <p:cNvSpPr/>
            <p:nvPr/>
          </p:nvSpPr>
          <p:spPr>
            <a:xfrm>
              <a:off x="4955286" y="4191698"/>
              <a:ext cx="245110" cy="132715"/>
            </a:xfrm>
            <a:custGeom>
              <a:avLst/>
              <a:gdLst/>
              <a:ahLst/>
              <a:cxnLst/>
              <a:rect l="l" t="t" r="r" b="b"/>
              <a:pathLst>
                <a:path w="245110" h="132714">
                  <a:moveTo>
                    <a:pt x="0" y="132524"/>
                  </a:moveTo>
                  <a:lnTo>
                    <a:pt x="244868" y="132524"/>
                  </a:lnTo>
                  <a:lnTo>
                    <a:pt x="244868" y="0"/>
                  </a:lnTo>
                  <a:lnTo>
                    <a:pt x="0" y="0"/>
                  </a:lnTo>
                  <a:lnTo>
                    <a:pt x="0" y="132524"/>
                  </a:lnTo>
                  <a:close/>
                </a:path>
              </a:pathLst>
            </a:custGeom>
            <a:ln w="4572">
              <a:solidFill>
                <a:srgbClr val="919CAB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07" name="object 16"/>
          <p:cNvSpPr/>
          <p:nvPr/>
        </p:nvSpPr>
        <p:spPr>
          <a:xfrm>
            <a:off x="4847524" y="2114433"/>
            <a:ext cx="784860" cy="297180"/>
          </a:xfrm>
          <a:custGeom>
            <a:avLst/>
            <a:gdLst/>
            <a:ahLst/>
            <a:cxnLst/>
            <a:rect l="l" t="t" r="r" b="b"/>
            <a:pathLst>
              <a:path w="784860" h="297179">
                <a:moveTo>
                  <a:pt x="740537" y="0"/>
                </a:moveTo>
                <a:lnTo>
                  <a:pt x="43941" y="0"/>
                </a:lnTo>
                <a:lnTo>
                  <a:pt x="26842" y="3432"/>
                </a:lnTo>
                <a:lnTo>
                  <a:pt x="12874" y="12795"/>
                </a:lnTo>
                <a:lnTo>
                  <a:pt x="3454" y="26681"/>
                </a:lnTo>
                <a:lnTo>
                  <a:pt x="0" y="43687"/>
                </a:lnTo>
                <a:lnTo>
                  <a:pt x="0" y="297052"/>
                </a:lnTo>
                <a:lnTo>
                  <a:pt x="784478" y="297052"/>
                </a:lnTo>
                <a:lnTo>
                  <a:pt x="784478" y="43687"/>
                </a:lnTo>
                <a:lnTo>
                  <a:pt x="781024" y="26681"/>
                </a:lnTo>
                <a:lnTo>
                  <a:pt x="771604" y="12795"/>
                </a:lnTo>
                <a:lnTo>
                  <a:pt x="757636" y="3432"/>
                </a:lnTo>
                <a:lnTo>
                  <a:pt x="740537" y="0"/>
                </a:lnTo>
                <a:close/>
              </a:path>
            </a:pathLst>
          </a:custGeom>
          <a:solidFill>
            <a:srgbClr val="0386C1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8" name="object 17"/>
          <p:cNvSpPr txBox="1"/>
          <p:nvPr/>
        </p:nvSpPr>
        <p:spPr>
          <a:xfrm>
            <a:off x="5115241" y="2175520"/>
            <a:ext cx="24511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800" spc="-5" dirty="0">
                <a:solidFill>
                  <a:srgbClr val="FFFFFF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/>
                <a:sym typeface="Arial" panose="020B0604020202020204" pitchFamily="34" charset="0"/>
              </a:rPr>
              <a:t>D</a:t>
            </a:r>
            <a:r>
              <a:rPr sz="800" spc="-5" dirty="0">
                <a:solidFill>
                  <a:srgbClr val="FFFFFF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/>
                <a:sym typeface="Arial" panose="020B0604020202020204" pitchFamily="34" charset="0"/>
              </a:rPr>
              <a:t>NN</a:t>
            </a:r>
            <a:endParaRPr sz="800" dirty="0">
              <a:latin typeface="Arial" panose="020B0604020202020204" pitchFamily="34" charset="0"/>
              <a:ea typeface="楷体" panose="02010609060101010101" pitchFamily="49" charset="-122"/>
              <a:cs typeface="Arial" panose="020B0604020202020204"/>
              <a:sym typeface="Arial" panose="020B0604020202020204" pitchFamily="34" charset="0"/>
            </a:endParaRPr>
          </a:p>
        </p:txBody>
      </p:sp>
      <p:sp>
        <p:nvSpPr>
          <p:cNvPr id="109" name="object 18"/>
          <p:cNvSpPr/>
          <p:nvPr/>
        </p:nvSpPr>
        <p:spPr>
          <a:xfrm>
            <a:off x="6302944" y="2114433"/>
            <a:ext cx="1120140" cy="297180"/>
          </a:xfrm>
          <a:custGeom>
            <a:avLst/>
            <a:gdLst/>
            <a:ahLst/>
            <a:cxnLst/>
            <a:rect l="l" t="t" r="r" b="b"/>
            <a:pathLst>
              <a:path w="1120139" h="297179">
                <a:moveTo>
                  <a:pt x="1076071" y="0"/>
                </a:moveTo>
                <a:lnTo>
                  <a:pt x="43815" y="0"/>
                </a:lnTo>
                <a:lnTo>
                  <a:pt x="26789" y="3432"/>
                </a:lnTo>
                <a:lnTo>
                  <a:pt x="12858" y="12795"/>
                </a:lnTo>
                <a:lnTo>
                  <a:pt x="3452" y="26681"/>
                </a:lnTo>
                <a:lnTo>
                  <a:pt x="0" y="43687"/>
                </a:lnTo>
                <a:lnTo>
                  <a:pt x="0" y="297052"/>
                </a:lnTo>
                <a:lnTo>
                  <a:pt x="1119886" y="297052"/>
                </a:lnTo>
                <a:lnTo>
                  <a:pt x="1119886" y="43687"/>
                </a:lnTo>
                <a:lnTo>
                  <a:pt x="1116451" y="26681"/>
                </a:lnTo>
                <a:lnTo>
                  <a:pt x="1107074" y="12795"/>
                </a:lnTo>
                <a:lnTo>
                  <a:pt x="1093150" y="3432"/>
                </a:lnTo>
                <a:lnTo>
                  <a:pt x="1076071" y="0"/>
                </a:lnTo>
                <a:close/>
              </a:path>
            </a:pathLst>
          </a:custGeom>
          <a:solidFill>
            <a:srgbClr val="0386C1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0" name="object 19"/>
          <p:cNvSpPr txBox="1"/>
          <p:nvPr/>
        </p:nvSpPr>
        <p:spPr>
          <a:xfrm>
            <a:off x="6739639" y="2182351"/>
            <a:ext cx="70929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800" spc="-5" dirty="0">
                <a:solidFill>
                  <a:srgbClr val="FFFFFF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/>
                <a:sym typeface="Arial" panose="020B0604020202020204" pitchFamily="34" charset="0"/>
              </a:rPr>
              <a:t>HONN</a:t>
            </a:r>
            <a:endParaRPr sz="800" dirty="0">
              <a:latin typeface="Arial" panose="020B0604020202020204" pitchFamily="34" charset="0"/>
              <a:ea typeface="楷体" panose="02010609060101010101" pitchFamily="49" charset="-122"/>
              <a:cs typeface="Arial" panose="020B0604020202020204"/>
              <a:sym typeface="Arial" panose="020B0604020202020204" pitchFamily="34" charset="0"/>
            </a:endParaRPr>
          </a:p>
        </p:txBody>
      </p:sp>
      <p:sp>
        <p:nvSpPr>
          <p:cNvPr id="111" name="object 20"/>
          <p:cNvSpPr/>
          <p:nvPr/>
        </p:nvSpPr>
        <p:spPr>
          <a:xfrm>
            <a:off x="4766753" y="2410089"/>
            <a:ext cx="2733040" cy="285115"/>
          </a:xfrm>
          <a:custGeom>
            <a:avLst/>
            <a:gdLst/>
            <a:ahLst/>
            <a:cxnLst/>
            <a:rect l="l" t="t" r="r" b="b"/>
            <a:pathLst>
              <a:path w="2733040" h="285114">
                <a:moveTo>
                  <a:pt x="2685034" y="0"/>
                </a:moveTo>
                <a:lnTo>
                  <a:pt x="47498" y="0"/>
                </a:lnTo>
                <a:lnTo>
                  <a:pt x="28985" y="3724"/>
                </a:lnTo>
                <a:lnTo>
                  <a:pt x="13890" y="13890"/>
                </a:lnTo>
                <a:lnTo>
                  <a:pt x="3724" y="28985"/>
                </a:lnTo>
                <a:lnTo>
                  <a:pt x="0" y="47497"/>
                </a:lnTo>
                <a:lnTo>
                  <a:pt x="0" y="237489"/>
                </a:lnTo>
                <a:lnTo>
                  <a:pt x="3724" y="256002"/>
                </a:lnTo>
                <a:lnTo>
                  <a:pt x="13890" y="271097"/>
                </a:lnTo>
                <a:lnTo>
                  <a:pt x="28985" y="281263"/>
                </a:lnTo>
                <a:lnTo>
                  <a:pt x="47498" y="284988"/>
                </a:lnTo>
                <a:lnTo>
                  <a:pt x="2685034" y="284988"/>
                </a:lnTo>
                <a:lnTo>
                  <a:pt x="2703546" y="281263"/>
                </a:lnTo>
                <a:lnTo>
                  <a:pt x="2718641" y="271097"/>
                </a:lnTo>
                <a:lnTo>
                  <a:pt x="2728807" y="256002"/>
                </a:lnTo>
                <a:lnTo>
                  <a:pt x="2732532" y="237489"/>
                </a:lnTo>
                <a:lnTo>
                  <a:pt x="2732532" y="47497"/>
                </a:lnTo>
                <a:lnTo>
                  <a:pt x="2728807" y="28985"/>
                </a:lnTo>
                <a:lnTo>
                  <a:pt x="2718641" y="13890"/>
                </a:lnTo>
                <a:lnTo>
                  <a:pt x="2703546" y="3724"/>
                </a:lnTo>
                <a:lnTo>
                  <a:pt x="2685034" y="0"/>
                </a:lnTo>
                <a:close/>
              </a:path>
            </a:pathLst>
          </a:custGeom>
          <a:solidFill>
            <a:srgbClr val="21B9CE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2" name="object 21"/>
          <p:cNvSpPr txBox="1"/>
          <p:nvPr/>
        </p:nvSpPr>
        <p:spPr>
          <a:xfrm>
            <a:off x="5934751" y="2479237"/>
            <a:ext cx="817244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5" dirty="0">
                <a:solidFill>
                  <a:srgbClr val="FFFFFF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/>
                <a:sym typeface="Arial" panose="020B0604020202020204" pitchFamily="34" charset="0"/>
              </a:rPr>
              <a:t>NN</a:t>
            </a:r>
            <a:r>
              <a:rPr sz="800" spc="-50" dirty="0">
                <a:solidFill>
                  <a:srgbClr val="FFFFFF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/>
                <a:sym typeface="Arial" panose="020B0604020202020204" pitchFamily="34" charset="0"/>
              </a:rPr>
              <a:t> </a:t>
            </a:r>
            <a:r>
              <a:rPr sz="800" dirty="0">
                <a:solidFill>
                  <a:srgbClr val="FFFFFF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/>
                <a:sym typeface="Arial" panose="020B0604020202020204" pitchFamily="34" charset="0"/>
              </a:rPr>
              <a:t>API</a:t>
            </a:r>
            <a:endParaRPr sz="800" dirty="0">
              <a:latin typeface="Arial" panose="020B0604020202020204" pitchFamily="34" charset="0"/>
              <a:ea typeface="楷体" panose="02010609060101010101" pitchFamily="49" charset="-122"/>
              <a:cs typeface="Arial" panose="020B0604020202020204"/>
              <a:sym typeface="Arial" panose="020B0604020202020204" pitchFamily="34" charset="0"/>
            </a:endParaRPr>
          </a:p>
        </p:txBody>
      </p:sp>
      <p:sp>
        <p:nvSpPr>
          <p:cNvPr id="113" name="object 22"/>
          <p:cNvSpPr/>
          <p:nvPr/>
        </p:nvSpPr>
        <p:spPr>
          <a:xfrm>
            <a:off x="6629389" y="3195553"/>
            <a:ext cx="820419" cy="287020"/>
          </a:xfrm>
          <a:custGeom>
            <a:avLst/>
            <a:gdLst/>
            <a:ahLst/>
            <a:cxnLst/>
            <a:rect l="l" t="t" r="r" b="b"/>
            <a:pathLst>
              <a:path w="820420" h="287020">
                <a:moveTo>
                  <a:pt x="772160" y="0"/>
                </a:moveTo>
                <a:lnTo>
                  <a:pt x="47751" y="0"/>
                </a:lnTo>
                <a:lnTo>
                  <a:pt x="29146" y="3751"/>
                </a:lnTo>
                <a:lnTo>
                  <a:pt x="13970" y="13984"/>
                </a:lnTo>
                <a:lnTo>
                  <a:pt x="3746" y="29162"/>
                </a:lnTo>
                <a:lnTo>
                  <a:pt x="0" y="47752"/>
                </a:lnTo>
                <a:lnTo>
                  <a:pt x="0" y="238759"/>
                </a:lnTo>
                <a:lnTo>
                  <a:pt x="3746" y="257349"/>
                </a:lnTo>
                <a:lnTo>
                  <a:pt x="13970" y="272527"/>
                </a:lnTo>
                <a:lnTo>
                  <a:pt x="29146" y="282760"/>
                </a:lnTo>
                <a:lnTo>
                  <a:pt x="47751" y="286512"/>
                </a:lnTo>
                <a:lnTo>
                  <a:pt x="772160" y="286512"/>
                </a:lnTo>
                <a:lnTo>
                  <a:pt x="790765" y="282760"/>
                </a:lnTo>
                <a:lnTo>
                  <a:pt x="805941" y="272527"/>
                </a:lnTo>
                <a:lnTo>
                  <a:pt x="816165" y="257349"/>
                </a:lnTo>
                <a:lnTo>
                  <a:pt x="819912" y="238759"/>
                </a:lnTo>
                <a:lnTo>
                  <a:pt x="819912" y="47752"/>
                </a:lnTo>
                <a:lnTo>
                  <a:pt x="816165" y="29162"/>
                </a:lnTo>
                <a:lnTo>
                  <a:pt x="805941" y="13984"/>
                </a:lnTo>
                <a:lnTo>
                  <a:pt x="790765" y="3751"/>
                </a:lnTo>
                <a:lnTo>
                  <a:pt x="772160" y="0"/>
                </a:lnTo>
                <a:close/>
              </a:path>
            </a:pathLst>
          </a:custGeom>
          <a:solidFill>
            <a:srgbClr val="0386C1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4" name="object 23"/>
          <p:cNvSpPr txBox="1"/>
          <p:nvPr/>
        </p:nvSpPr>
        <p:spPr>
          <a:xfrm>
            <a:off x="6787139" y="3256919"/>
            <a:ext cx="43307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altLang="zh-CN" sz="800" spc="-5" dirty="0">
                <a:solidFill>
                  <a:srgbClr val="FFFFFF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/>
                <a:sym typeface="Arial" panose="020B0604020202020204" pitchFamily="34" charset="0"/>
              </a:rPr>
              <a:t>NPU</a:t>
            </a:r>
            <a:endParaRPr sz="800" dirty="0">
              <a:latin typeface="Arial" panose="020B0604020202020204" pitchFamily="34" charset="0"/>
              <a:ea typeface="楷体" panose="02010609060101010101" pitchFamily="49" charset="-122"/>
              <a:cs typeface="Arial" panose="020B0604020202020204"/>
              <a:sym typeface="Arial" panose="020B0604020202020204" pitchFamily="34" charset="0"/>
            </a:endParaRPr>
          </a:p>
        </p:txBody>
      </p:sp>
      <p:sp>
        <p:nvSpPr>
          <p:cNvPr id="115" name="object 24"/>
          <p:cNvSpPr/>
          <p:nvPr/>
        </p:nvSpPr>
        <p:spPr>
          <a:xfrm>
            <a:off x="4824403" y="3195553"/>
            <a:ext cx="820419" cy="287020"/>
          </a:xfrm>
          <a:custGeom>
            <a:avLst/>
            <a:gdLst/>
            <a:ahLst/>
            <a:cxnLst/>
            <a:rect l="l" t="t" r="r" b="b"/>
            <a:pathLst>
              <a:path w="820420" h="287020">
                <a:moveTo>
                  <a:pt x="772160" y="0"/>
                </a:moveTo>
                <a:lnTo>
                  <a:pt x="47751" y="0"/>
                </a:lnTo>
                <a:lnTo>
                  <a:pt x="29146" y="3751"/>
                </a:lnTo>
                <a:lnTo>
                  <a:pt x="13970" y="13984"/>
                </a:lnTo>
                <a:lnTo>
                  <a:pt x="3746" y="29162"/>
                </a:lnTo>
                <a:lnTo>
                  <a:pt x="0" y="47752"/>
                </a:lnTo>
                <a:lnTo>
                  <a:pt x="0" y="238759"/>
                </a:lnTo>
                <a:lnTo>
                  <a:pt x="3746" y="257349"/>
                </a:lnTo>
                <a:lnTo>
                  <a:pt x="13970" y="272527"/>
                </a:lnTo>
                <a:lnTo>
                  <a:pt x="29146" y="282760"/>
                </a:lnTo>
                <a:lnTo>
                  <a:pt x="47751" y="286512"/>
                </a:lnTo>
                <a:lnTo>
                  <a:pt x="772160" y="286512"/>
                </a:lnTo>
                <a:lnTo>
                  <a:pt x="790765" y="282760"/>
                </a:lnTo>
                <a:lnTo>
                  <a:pt x="805941" y="272527"/>
                </a:lnTo>
                <a:lnTo>
                  <a:pt x="816165" y="257349"/>
                </a:lnTo>
                <a:lnTo>
                  <a:pt x="819912" y="238759"/>
                </a:lnTo>
                <a:lnTo>
                  <a:pt x="819912" y="47752"/>
                </a:lnTo>
                <a:lnTo>
                  <a:pt x="816165" y="29162"/>
                </a:lnTo>
                <a:lnTo>
                  <a:pt x="805941" y="13984"/>
                </a:lnTo>
                <a:lnTo>
                  <a:pt x="790765" y="3751"/>
                </a:lnTo>
                <a:lnTo>
                  <a:pt x="772160" y="0"/>
                </a:lnTo>
                <a:close/>
              </a:path>
            </a:pathLst>
          </a:custGeom>
          <a:solidFill>
            <a:srgbClr val="21B9CE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6" name="object 25"/>
          <p:cNvSpPr txBox="1"/>
          <p:nvPr/>
        </p:nvSpPr>
        <p:spPr>
          <a:xfrm>
            <a:off x="5114724" y="3256919"/>
            <a:ext cx="24130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800" spc="-10" dirty="0">
                <a:solidFill>
                  <a:srgbClr val="FFFFFF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/>
                <a:sym typeface="Arial" panose="020B0604020202020204" pitchFamily="34" charset="0"/>
              </a:rPr>
              <a:t>MCU</a:t>
            </a:r>
            <a:endParaRPr sz="800" dirty="0">
              <a:latin typeface="Arial" panose="020B0604020202020204" pitchFamily="34" charset="0"/>
              <a:ea typeface="楷体" panose="02010609060101010101" pitchFamily="49" charset="-122"/>
              <a:cs typeface="Arial" panose="020B0604020202020204"/>
              <a:sym typeface="Arial" panose="020B0604020202020204" pitchFamily="34" charset="0"/>
            </a:endParaRPr>
          </a:p>
        </p:txBody>
      </p:sp>
      <p:sp>
        <p:nvSpPr>
          <p:cNvPr id="117" name="object 26"/>
          <p:cNvSpPr/>
          <p:nvPr/>
        </p:nvSpPr>
        <p:spPr>
          <a:xfrm>
            <a:off x="5727501" y="3195553"/>
            <a:ext cx="820419" cy="287020"/>
          </a:xfrm>
          <a:custGeom>
            <a:avLst/>
            <a:gdLst/>
            <a:ahLst/>
            <a:cxnLst/>
            <a:rect l="l" t="t" r="r" b="b"/>
            <a:pathLst>
              <a:path w="820420" h="287020">
                <a:moveTo>
                  <a:pt x="772160" y="0"/>
                </a:moveTo>
                <a:lnTo>
                  <a:pt x="47751" y="0"/>
                </a:lnTo>
                <a:lnTo>
                  <a:pt x="29146" y="3751"/>
                </a:lnTo>
                <a:lnTo>
                  <a:pt x="13970" y="13984"/>
                </a:lnTo>
                <a:lnTo>
                  <a:pt x="3746" y="29162"/>
                </a:lnTo>
                <a:lnTo>
                  <a:pt x="0" y="47752"/>
                </a:lnTo>
                <a:lnTo>
                  <a:pt x="0" y="238759"/>
                </a:lnTo>
                <a:lnTo>
                  <a:pt x="3746" y="257349"/>
                </a:lnTo>
                <a:lnTo>
                  <a:pt x="13970" y="272527"/>
                </a:lnTo>
                <a:lnTo>
                  <a:pt x="29146" y="282760"/>
                </a:lnTo>
                <a:lnTo>
                  <a:pt x="47751" y="286512"/>
                </a:lnTo>
                <a:lnTo>
                  <a:pt x="772160" y="286512"/>
                </a:lnTo>
                <a:lnTo>
                  <a:pt x="790765" y="282760"/>
                </a:lnTo>
                <a:lnTo>
                  <a:pt x="805941" y="272527"/>
                </a:lnTo>
                <a:lnTo>
                  <a:pt x="816165" y="257349"/>
                </a:lnTo>
                <a:lnTo>
                  <a:pt x="819912" y="238759"/>
                </a:lnTo>
                <a:lnTo>
                  <a:pt x="819912" y="47752"/>
                </a:lnTo>
                <a:lnTo>
                  <a:pt x="816165" y="29162"/>
                </a:lnTo>
                <a:lnTo>
                  <a:pt x="805941" y="13984"/>
                </a:lnTo>
                <a:lnTo>
                  <a:pt x="790765" y="3751"/>
                </a:lnTo>
                <a:lnTo>
                  <a:pt x="772160" y="0"/>
                </a:lnTo>
                <a:close/>
              </a:path>
            </a:pathLst>
          </a:custGeom>
          <a:solidFill>
            <a:srgbClr val="21B9CE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8" name="object 27"/>
          <p:cNvSpPr txBox="1"/>
          <p:nvPr/>
        </p:nvSpPr>
        <p:spPr>
          <a:xfrm>
            <a:off x="6061957" y="3256919"/>
            <a:ext cx="24130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800" spc="-10" dirty="0">
                <a:solidFill>
                  <a:srgbClr val="FFFFFF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/>
                <a:sym typeface="Arial" panose="020B0604020202020204" pitchFamily="34" charset="0"/>
              </a:rPr>
              <a:t>DSP</a:t>
            </a:r>
            <a:endParaRPr sz="800" dirty="0">
              <a:latin typeface="Arial" panose="020B0604020202020204" pitchFamily="34" charset="0"/>
              <a:ea typeface="楷体" panose="02010609060101010101" pitchFamily="49" charset="-122"/>
              <a:cs typeface="Arial" panose="020B0604020202020204"/>
              <a:sym typeface="Arial" panose="020B0604020202020204" pitchFamily="34" charset="0"/>
            </a:endParaRPr>
          </a:p>
        </p:txBody>
      </p:sp>
      <p:sp>
        <p:nvSpPr>
          <p:cNvPr id="119" name="object 29"/>
          <p:cNvSpPr/>
          <p:nvPr/>
        </p:nvSpPr>
        <p:spPr>
          <a:xfrm>
            <a:off x="7124508" y="1672982"/>
            <a:ext cx="339090" cy="374015"/>
          </a:xfrm>
          <a:custGeom>
            <a:avLst/>
            <a:gdLst/>
            <a:ahLst/>
            <a:cxnLst/>
            <a:rect l="l" t="t" r="r" b="b"/>
            <a:pathLst>
              <a:path w="339089" h="374014">
                <a:moveTo>
                  <a:pt x="329692" y="24765"/>
                </a:moveTo>
                <a:lnTo>
                  <a:pt x="279653" y="24765"/>
                </a:lnTo>
                <a:lnTo>
                  <a:pt x="283971" y="26924"/>
                </a:lnTo>
                <a:lnTo>
                  <a:pt x="285241" y="30861"/>
                </a:lnTo>
                <a:lnTo>
                  <a:pt x="286511" y="34925"/>
                </a:lnTo>
                <a:lnTo>
                  <a:pt x="284352" y="39243"/>
                </a:lnTo>
                <a:lnTo>
                  <a:pt x="280288" y="40512"/>
                </a:lnTo>
                <a:lnTo>
                  <a:pt x="267942" y="44584"/>
                </a:lnTo>
                <a:lnTo>
                  <a:pt x="275970" y="73406"/>
                </a:lnTo>
                <a:lnTo>
                  <a:pt x="329692" y="24765"/>
                </a:lnTo>
                <a:close/>
              </a:path>
              <a:path w="339089" h="374014">
                <a:moveTo>
                  <a:pt x="263848" y="29886"/>
                </a:moveTo>
                <a:lnTo>
                  <a:pt x="251586" y="33909"/>
                </a:lnTo>
                <a:lnTo>
                  <a:pt x="246252" y="36068"/>
                </a:lnTo>
                <a:lnTo>
                  <a:pt x="242315" y="37718"/>
                </a:lnTo>
                <a:lnTo>
                  <a:pt x="240537" y="42164"/>
                </a:lnTo>
                <a:lnTo>
                  <a:pt x="242061" y="46101"/>
                </a:lnTo>
                <a:lnTo>
                  <a:pt x="243712" y="49911"/>
                </a:lnTo>
                <a:lnTo>
                  <a:pt x="248157" y="51816"/>
                </a:lnTo>
                <a:lnTo>
                  <a:pt x="256412" y="48387"/>
                </a:lnTo>
                <a:lnTo>
                  <a:pt x="267942" y="44584"/>
                </a:lnTo>
                <a:lnTo>
                  <a:pt x="263848" y="29886"/>
                </a:lnTo>
                <a:close/>
              </a:path>
              <a:path w="339089" h="374014">
                <a:moveTo>
                  <a:pt x="279653" y="24765"/>
                </a:moveTo>
                <a:lnTo>
                  <a:pt x="275589" y="26035"/>
                </a:lnTo>
                <a:lnTo>
                  <a:pt x="263848" y="29886"/>
                </a:lnTo>
                <a:lnTo>
                  <a:pt x="267942" y="44584"/>
                </a:lnTo>
                <a:lnTo>
                  <a:pt x="280288" y="40512"/>
                </a:lnTo>
                <a:lnTo>
                  <a:pt x="284352" y="39243"/>
                </a:lnTo>
                <a:lnTo>
                  <a:pt x="286511" y="34925"/>
                </a:lnTo>
                <a:lnTo>
                  <a:pt x="285241" y="30861"/>
                </a:lnTo>
                <a:lnTo>
                  <a:pt x="283971" y="26924"/>
                </a:lnTo>
                <a:lnTo>
                  <a:pt x="279653" y="24765"/>
                </a:lnTo>
                <a:close/>
              </a:path>
              <a:path w="339089" h="374014">
                <a:moveTo>
                  <a:pt x="255523" y="0"/>
                </a:moveTo>
                <a:lnTo>
                  <a:pt x="263848" y="29886"/>
                </a:lnTo>
                <a:lnTo>
                  <a:pt x="275589" y="26035"/>
                </a:lnTo>
                <a:lnTo>
                  <a:pt x="279653" y="24765"/>
                </a:lnTo>
                <a:lnTo>
                  <a:pt x="329692" y="24765"/>
                </a:lnTo>
                <a:lnTo>
                  <a:pt x="339089" y="16256"/>
                </a:lnTo>
                <a:lnTo>
                  <a:pt x="255523" y="0"/>
                </a:lnTo>
                <a:close/>
              </a:path>
              <a:path w="339089" h="374014">
                <a:moveTo>
                  <a:pt x="221868" y="47243"/>
                </a:moveTo>
                <a:lnTo>
                  <a:pt x="187197" y="65912"/>
                </a:lnTo>
                <a:lnTo>
                  <a:pt x="185927" y="70612"/>
                </a:lnTo>
                <a:lnTo>
                  <a:pt x="188086" y="74295"/>
                </a:lnTo>
                <a:lnTo>
                  <a:pt x="190245" y="77851"/>
                </a:lnTo>
                <a:lnTo>
                  <a:pt x="194944" y="78993"/>
                </a:lnTo>
                <a:lnTo>
                  <a:pt x="198500" y="76962"/>
                </a:lnTo>
                <a:lnTo>
                  <a:pt x="210565" y="69723"/>
                </a:lnTo>
                <a:lnTo>
                  <a:pt x="224916" y="62737"/>
                </a:lnTo>
                <a:lnTo>
                  <a:pt x="228600" y="60833"/>
                </a:lnTo>
                <a:lnTo>
                  <a:pt x="230123" y="56261"/>
                </a:lnTo>
                <a:lnTo>
                  <a:pt x="228345" y="52578"/>
                </a:lnTo>
                <a:lnTo>
                  <a:pt x="226440" y="48768"/>
                </a:lnTo>
                <a:lnTo>
                  <a:pt x="221868" y="47243"/>
                </a:lnTo>
                <a:close/>
              </a:path>
              <a:path w="339089" h="374014">
                <a:moveTo>
                  <a:pt x="168020" y="77978"/>
                </a:moveTo>
                <a:lnTo>
                  <a:pt x="146430" y="93091"/>
                </a:lnTo>
                <a:lnTo>
                  <a:pt x="139445" y="98806"/>
                </a:lnTo>
                <a:lnTo>
                  <a:pt x="136270" y="101473"/>
                </a:lnTo>
                <a:lnTo>
                  <a:pt x="135762" y="106299"/>
                </a:lnTo>
                <a:lnTo>
                  <a:pt x="138556" y="109474"/>
                </a:lnTo>
                <a:lnTo>
                  <a:pt x="141223" y="112776"/>
                </a:lnTo>
                <a:lnTo>
                  <a:pt x="146050" y="113157"/>
                </a:lnTo>
                <a:lnTo>
                  <a:pt x="155066" y="105537"/>
                </a:lnTo>
                <a:lnTo>
                  <a:pt x="173227" y="92837"/>
                </a:lnTo>
                <a:lnTo>
                  <a:pt x="176783" y="90424"/>
                </a:lnTo>
                <a:lnTo>
                  <a:pt x="177545" y="85725"/>
                </a:lnTo>
                <a:lnTo>
                  <a:pt x="175132" y="82168"/>
                </a:lnTo>
                <a:lnTo>
                  <a:pt x="172719" y="78740"/>
                </a:lnTo>
                <a:lnTo>
                  <a:pt x="168020" y="77978"/>
                </a:lnTo>
                <a:close/>
              </a:path>
              <a:path w="339089" h="374014">
                <a:moveTo>
                  <a:pt x="123697" y="116078"/>
                </a:moveTo>
                <a:lnTo>
                  <a:pt x="118871" y="116078"/>
                </a:lnTo>
                <a:lnTo>
                  <a:pt x="115950" y="118999"/>
                </a:lnTo>
                <a:lnTo>
                  <a:pt x="96773" y="137668"/>
                </a:lnTo>
                <a:lnTo>
                  <a:pt x="93852" y="140843"/>
                </a:lnTo>
                <a:lnTo>
                  <a:pt x="91058" y="144018"/>
                </a:lnTo>
                <a:lnTo>
                  <a:pt x="91439" y="148844"/>
                </a:lnTo>
                <a:lnTo>
                  <a:pt x="94487" y="151637"/>
                </a:lnTo>
                <a:lnTo>
                  <a:pt x="97662" y="154432"/>
                </a:lnTo>
                <a:lnTo>
                  <a:pt x="102488" y="154178"/>
                </a:lnTo>
                <a:lnTo>
                  <a:pt x="105282" y="151003"/>
                </a:lnTo>
                <a:lnTo>
                  <a:pt x="107441" y="148590"/>
                </a:lnTo>
                <a:lnTo>
                  <a:pt x="126491" y="129921"/>
                </a:lnTo>
                <a:lnTo>
                  <a:pt x="129539" y="127000"/>
                </a:lnTo>
                <a:lnTo>
                  <a:pt x="129666" y="122174"/>
                </a:lnTo>
                <a:lnTo>
                  <a:pt x="126497" y="118999"/>
                </a:lnTo>
                <a:lnTo>
                  <a:pt x="123697" y="116078"/>
                </a:lnTo>
                <a:close/>
              </a:path>
              <a:path w="339089" h="374014">
                <a:moveTo>
                  <a:pt x="81152" y="160528"/>
                </a:moveTo>
                <a:lnTo>
                  <a:pt x="76326" y="161162"/>
                </a:lnTo>
                <a:lnTo>
                  <a:pt x="73786" y="164592"/>
                </a:lnTo>
                <a:lnTo>
                  <a:pt x="65277" y="175768"/>
                </a:lnTo>
                <a:lnTo>
                  <a:pt x="56133" y="189230"/>
                </a:lnTo>
                <a:lnTo>
                  <a:pt x="55625" y="189865"/>
                </a:lnTo>
                <a:lnTo>
                  <a:pt x="53466" y="193421"/>
                </a:lnTo>
                <a:lnTo>
                  <a:pt x="54482" y="198120"/>
                </a:lnTo>
                <a:lnTo>
                  <a:pt x="58038" y="200406"/>
                </a:lnTo>
                <a:lnTo>
                  <a:pt x="61721" y="202565"/>
                </a:lnTo>
                <a:lnTo>
                  <a:pt x="66420" y="201549"/>
                </a:lnTo>
                <a:lnTo>
                  <a:pt x="68579" y="197866"/>
                </a:lnTo>
                <a:lnTo>
                  <a:pt x="77469" y="184912"/>
                </a:lnTo>
                <a:lnTo>
                  <a:pt x="85978" y="173736"/>
                </a:lnTo>
                <a:lnTo>
                  <a:pt x="88518" y="170307"/>
                </a:lnTo>
                <a:lnTo>
                  <a:pt x="87756" y="165608"/>
                </a:lnTo>
                <a:lnTo>
                  <a:pt x="81152" y="160528"/>
                </a:lnTo>
                <a:close/>
              </a:path>
              <a:path w="339089" h="374014">
                <a:moveTo>
                  <a:pt x="46608" y="211455"/>
                </a:moveTo>
                <a:lnTo>
                  <a:pt x="42036" y="212725"/>
                </a:lnTo>
                <a:lnTo>
                  <a:pt x="40004" y="216408"/>
                </a:lnTo>
                <a:lnTo>
                  <a:pt x="39496" y="217043"/>
                </a:lnTo>
                <a:lnTo>
                  <a:pt x="32257" y="231521"/>
                </a:lnTo>
                <a:lnTo>
                  <a:pt x="26415" y="244475"/>
                </a:lnTo>
                <a:lnTo>
                  <a:pt x="24764" y="248412"/>
                </a:lnTo>
                <a:lnTo>
                  <a:pt x="26542" y="252857"/>
                </a:lnTo>
                <a:lnTo>
                  <a:pt x="30352" y="254635"/>
                </a:lnTo>
                <a:lnTo>
                  <a:pt x="34162" y="256286"/>
                </a:lnTo>
                <a:lnTo>
                  <a:pt x="38734" y="254508"/>
                </a:lnTo>
                <a:lnTo>
                  <a:pt x="40385" y="250698"/>
                </a:lnTo>
                <a:lnTo>
                  <a:pt x="45846" y="238379"/>
                </a:lnTo>
                <a:lnTo>
                  <a:pt x="53212" y="223901"/>
                </a:lnTo>
                <a:lnTo>
                  <a:pt x="55244" y="220218"/>
                </a:lnTo>
                <a:lnTo>
                  <a:pt x="53975" y="215519"/>
                </a:lnTo>
                <a:lnTo>
                  <a:pt x="46608" y="211455"/>
                </a:lnTo>
                <a:close/>
              </a:path>
              <a:path w="339089" h="374014">
                <a:moveTo>
                  <a:pt x="21208" y="267589"/>
                </a:moveTo>
                <a:lnTo>
                  <a:pt x="16890" y="269748"/>
                </a:lnTo>
                <a:lnTo>
                  <a:pt x="15620" y="273685"/>
                </a:lnTo>
                <a:lnTo>
                  <a:pt x="14604" y="276733"/>
                </a:lnTo>
                <a:lnTo>
                  <a:pt x="10159" y="292354"/>
                </a:lnTo>
                <a:lnTo>
                  <a:pt x="7492" y="303911"/>
                </a:lnTo>
                <a:lnTo>
                  <a:pt x="6603" y="307975"/>
                </a:lnTo>
                <a:lnTo>
                  <a:pt x="9143" y="312039"/>
                </a:lnTo>
                <a:lnTo>
                  <a:pt x="13207" y="313055"/>
                </a:lnTo>
                <a:lnTo>
                  <a:pt x="17398" y="313944"/>
                </a:lnTo>
                <a:lnTo>
                  <a:pt x="21462" y="311404"/>
                </a:lnTo>
                <a:lnTo>
                  <a:pt x="24764" y="296418"/>
                </a:lnTo>
                <a:lnTo>
                  <a:pt x="28955" y="281559"/>
                </a:lnTo>
                <a:lnTo>
                  <a:pt x="31368" y="274574"/>
                </a:lnTo>
                <a:lnTo>
                  <a:pt x="29209" y="270256"/>
                </a:lnTo>
                <a:lnTo>
                  <a:pt x="25272" y="268986"/>
                </a:lnTo>
                <a:lnTo>
                  <a:pt x="21208" y="267589"/>
                </a:lnTo>
                <a:close/>
              </a:path>
              <a:path w="339089" h="374014">
                <a:moveTo>
                  <a:pt x="6603" y="327533"/>
                </a:moveTo>
                <a:lnTo>
                  <a:pt x="2793" y="330454"/>
                </a:lnTo>
                <a:lnTo>
                  <a:pt x="1523" y="340741"/>
                </a:lnTo>
                <a:lnTo>
                  <a:pt x="253" y="357124"/>
                </a:lnTo>
                <a:lnTo>
                  <a:pt x="0" y="365887"/>
                </a:lnTo>
                <a:lnTo>
                  <a:pt x="0" y="370078"/>
                </a:lnTo>
                <a:lnTo>
                  <a:pt x="3301" y="373507"/>
                </a:lnTo>
                <a:lnTo>
                  <a:pt x="11683" y="373761"/>
                </a:lnTo>
                <a:lnTo>
                  <a:pt x="15239" y="370332"/>
                </a:lnTo>
                <a:lnTo>
                  <a:pt x="15248" y="365887"/>
                </a:lnTo>
                <a:lnTo>
                  <a:pt x="15493" y="358267"/>
                </a:lnTo>
                <a:lnTo>
                  <a:pt x="16636" y="342519"/>
                </a:lnTo>
                <a:lnTo>
                  <a:pt x="17398" y="336550"/>
                </a:lnTo>
                <a:lnTo>
                  <a:pt x="17906" y="332359"/>
                </a:lnTo>
                <a:lnTo>
                  <a:pt x="14985" y="328549"/>
                </a:lnTo>
                <a:lnTo>
                  <a:pt x="6603" y="32753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0" name="object 30"/>
          <p:cNvSpPr/>
          <p:nvPr/>
        </p:nvSpPr>
        <p:spPr>
          <a:xfrm>
            <a:off x="6707821" y="1698382"/>
            <a:ext cx="372110" cy="340995"/>
          </a:xfrm>
          <a:custGeom>
            <a:avLst/>
            <a:gdLst/>
            <a:ahLst/>
            <a:cxnLst/>
            <a:rect l="l" t="t" r="r" b="b"/>
            <a:pathLst>
              <a:path w="372110" h="340995">
                <a:moveTo>
                  <a:pt x="327260" y="269428"/>
                </a:moveTo>
                <a:lnTo>
                  <a:pt x="298450" y="277241"/>
                </a:lnTo>
                <a:lnTo>
                  <a:pt x="355218" y="340741"/>
                </a:lnTo>
                <a:lnTo>
                  <a:pt x="365808" y="288036"/>
                </a:lnTo>
                <a:lnTo>
                  <a:pt x="336803" y="288036"/>
                </a:lnTo>
                <a:lnTo>
                  <a:pt x="332613" y="285877"/>
                </a:lnTo>
                <a:lnTo>
                  <a:pt x="331215" y="281813"/>
                </a:lnTo>
                <a:lnTo>
                  <a:pt x="327260" y="269428"/>
                </a:lnTo>
                <a:close/>
              </a:path>
              <a:path w="372110" h="340995">
                <a:moveTo>
                  <a:pt x="341985" y="265436"/>
                </a:moveTo>
                <a:lnTo>
                  <a:pt x="327260" y="269428"/>
                </a:lnTo>
                <a:lnTo>
                  <a:pt x="331215" y="281813"/>
                </a:lnTo>
                <a:lnTo>
                  <a:pt x="332613" y="285877"/>
                </a:lnTo>
                <a:lnTo>
                  <a:pt x="336803" y="288036"/>
                </a:lnTo>
                <a:lnTo>
                  <a:pt x="340867" y="286766"/>
                </a:lnTo>
                <a:lnTo>
                  <a:pt x="344804" y="285496"/>
                </a:lnTo>
                <a:lnTo>
                  <a:pt x="347090" y="281178"/>
                </a:lnTo>
                <a:lnTo>
                  <a:pt x="341985" y="265436"/>
                </a:lnTo>
                <a:close/>
              </a:path>
              <a:path w="372110" h="340995">
                <a:moveTo>
                  <a:pt x="371982" y="257302"/>
                </a:moveTo>
                <a:lnTo>
                  <a:pt x="341985" y="265436"/>
                </a:lnTo>
                <a:lnTo>
                  <a:pt x="347090" y="281178"/>
                </a:lnTo>
                <a:lnTo>
                  <a:pt x="344804" y="285496"/>
                </a:lnTo>
                <a:lnTo>
                  <a:pt x="340867" y="286766"/>
                </a:lnTo>
                <a:lnTo>
                  <a:pt x="336803" y="288036"/>
                </a:lnTo>
                <a:lnTo>
                  <a:pt x="365808" y="288036"/>
                </a:lnTo>
                <a:lnTo>
                  <a:pt x="371982" y="257302"/>
                </a:lnTo>
                <a:close/>
              </a:path>
              <a:path w="372110" h="340995">
                <a:moveTo>
                  <a:pt x="329818" y="242062"/>
                </a:moveTo>
                <a:lnTo>
                  <a:pt x="325881" y="243586"/>
                </a:lnTo>
                <a:lnTo>
                  <a:pt x="322071" y="245237"/>
                </a:lnTo>
                <a:lnTo>
                  <a:pt x="320166" y="249682"/>
                </a:lnTo>
                <a:lnTo>
                  <a:pt x="323468" y="257556"/>
                </a:lnTo>
                <a:lnTo>
                  <a:pt x="327260" y="269428"/>
                </a:lnTo>
                <a:lnTo>
                  <a:pt x="341985" y="265436"/>
                </a:lnTo>
                <a:lnTo>
                  <a:pt x="337946" y="252984"/>
                </a:lnTo>
                <a:lnTo>
                  <a:pt x="335914" y="247777"/>
                </a:lnTo>
                <a:lnTo>
                  <a:pt x="334263" y="243840"/>
                </a:lnTo>
                <a:lnTo>
                  <a:pt x="329818" y="242062"/>
                </a:lnTo>
                <a:close/>
              </a:path>
              <a:path w="372110" h="340995">
                <a:moveTo>
                  <a:pt x="301878" y="187325"/>
                </a:moveTo>
                <a:lnTo>
                  <a:pt x="298195" y="189357"/>
                </a:lnTo>
                <a:lnTo>
                  <a:pt x="294513" y="191516"/>
                </a:lnTo>
                <a:lnTo>
                  <a:pt x="293369" y="196215"/>
                </a:lnTo>
                <a:lnTo>
                  <a:pt x="295401" y="199771"/>
                </a:lnTo>
                <a:lnTo>
                  <a:pt x="302259" y="211582"/>
                </a:lnTo>
                <a:lnTo>
                  <a:pt x="309371" y="226187"/>
                </a:lnTo>
                <a:lnTo>
                  <a:pt x="311150" y="229997"/>
                </a:lnTo>
                <a:lnTo>
                  <a:pt x="315721" y="231648"/>
                </a:lnTo>
                <a:lnTo>
                  <a:pt x="319531" y="229743"/>
                </a:lnTo>
                <a:lnTo>
                  <a:pt x="323341" y="227965"/>
                </a:lnTo>
                <a:lnTo>
                  <a:pt x="308609" y="192151"/>
                </a:lnTo>
                <a:lnTo>
                  <a:pt x="306450" y="188468"/>
                </a:lnTo>
                <a:lnTo>
                  <a:pt x="301878" y="187325"/>
                </a:lnTo>
                <a:close/>
              </a:path>
              <a:path w="372110" h="340995">
                <a:moveTo>
                  <a:pt x="266700" y="136779"/>
                </a:moveTo>
                <a:lnTo>
                  <a:pt x="260095" y="142112"/>
                </a:lnTo>
                <a:lnTo>
                  <a:pt x="259587" y="146939"/>
                </a:lnTo>
                <a:lnTo>
                  <a:pt x="262254" y="150114"/>
                </a:lnTo>
                <a:lnTo>
                  <a:pt x="266953" y="155829"/>
                </a:lnTo>
                <a:lnTo>
                  <a:pt x="279780" y="174371"/>
                </a:lnTo>
                <a:lnTo>
                  <a:pt x="282066" y="177800"/>
                </a:lnTo>
                <a:lnTo>
                  <a:pt x="286892" y="178689"/>
                </a:lnTo>
                <a:lnTo>
                  <a:pt x="290321" y="176276"/>
                </a:lnTo>
                <a:lnTo>
                  <a:pt x="293750" y="173990"/>
                </a:lnTo>
                <a:lnTo>
                  <a:pt x="294639" y="169164"/>
                </a:lnTo>
                <a:lnTo>
                  <a:pt x="292226" y="165735"/>
                </a:lnTo>
                <a:lnTo>
                  <a:pt x="279526" y="147193"/>
                </a:lnTo>
                <a:lnTo>
                  <a:pt x="274065" y="140589"/>
                </a:lnTo>
                <a:lnTo>
                  <a:pt x="271398" y="137287"/>
                </a:lnTo>
                <a:lnTo>
                  <a:pt x="266700" y="136779"/>
                </a:lnTo>
                <a:close/>
              </a:path>
              <a:path w="372110" h="340995">
                <a:moveTo>
                  <a:pt x="229362" y="91821"/>
                </a:moveTo>
                <a:lnTo>
                  <a:pt x="224535" y="91948"/>
                </a:lnTo>
                <a:lnTo>
                  <a:pt x="218820" y="98171"/>
                </a:lnTo>
                <a:lnTo>
                  <a:pt x="219075" y="102997"/>
                </a:lnTo>
                <a:lnTo>
                  <a:pt x="222122" y="105918"/>
                </a:lnTo>
                <a:lnTo>
                  <a:pt x="224535" y="107950"/>
                </a:lnTo>
                <a:lnTo>
                  <a:pt x="245998" y="130302"/>
                </a:lnTo>
                <a:lnTo>
                  <a:pt x="250825" y="130429"/>
                </a:lnTo>
                <a:lnTo>
                  <a:pt x="256920" y="124587"/>
                </a:lnTo>
                <a:lnTo>
                  <a:pt x="257047" y="119761"/>
                </a:lnTo>
                <a:lnTo>
                  <a:pt x="235457" y="97409"/>
                </a:lnTo>
                <a:lnTo>
                  <a:pt x="229362" y="91821"/>
                </a:lnTo>
                <a:close/>
              </a:path>
              <a:path w="372110" h="340995">
                <a:moveTo>
                  <a:pt x="180212" y="53721"/>
                </a:moveTo>
                <a:lnTo>
                  <a:pt x="175387" y="54737"/>
                </a:lnTo>
                <a:lnTo>
                  <a:pt x="173227" y="58293"/>
                </a:lnTo>
                <a:lnTo>
                  <a:pt x="170941" y="61849"/>
                </a:lnTo>
                <a:lnTo>
                  <a:pt x="171957" y="66548"/>
                </a:lnTo>
                <a:lnTo>
                  <a:pt x="175513" y="68834"/>
                </a:lnTo>
                <a:lnTo>
                  <a:pt x="175894" y="68961"/>
                </a:lnTo>
                <a:lnTo>
                  <a:pt x="188594" y="77851"/>
                </a:lnTo>
                <a:lnTo>
                  <a:pt x="202945" y="88900"/>
                </a:lnTo>
                <a:lnTo>
                  <a:pt x="207771" y="88265"/>
                </a:lnTo>
                <a:lnTo>
                  <a:pt x="210312" y="84962"/>
                </a:lnTo>
                <a:lnTo>
                  <a:pt x="212851" y="81534"/>
                </a:lnTo>
                <a:lnTo>
                  <a:pt x="212216" y="76835"/>
                </a:lnTo>
                <a:lnTo>
                  <a:pt x="197865" y="65786"/>
                </a:lnTo>
                <a:lnTo>
                  <a:pt x="184657" y="56515"/>
                </a:lnTo>
                <a:lnTo>
                  <a:pt x="180212" y="53721"/>
                </a:lnTo>
                <a:close/>
              </a:path>
              <a:path w="372110" h="340995">
                <a:moveTo>
                  <a:pt x="125475" y="24637"/>
                </a:moveTo>
                <a:lnTo>
                  <a:pt x="120903" y="26289"/>
                </a:lnTo>
                <a:lnTo>
                  <a:pt x="119125" y="30099"/>
                </a:lnTo>
                <a:lnTo>
                  <a:pt x="117475" y="34036"/>
                </a:lnTo>
                <a:lnTo>
                  <a:pt x="119125" y="38481"/>
                </a:lnTo>
                <a:lnTo>
                  <a:pt x="122935" y="40259"/>
                </a:lnTo>
                <a:lnTo>
                  <a:pt x="135762" y="46101"/>
                </a:lnTo>
                <a:lnTo>
                  <a:pt x="149732" y="53212"/>
                </a:lnTo>
                <a:lnTo>
                  <a:pt x="153415" y="55372"/>
                </a:lnTo>
                <a:lnTo>
                  <a:pt x="157987" y="54102"/>
                </a:lnTo>
                <a:lnTo>
                  <a:pt x="160146" y="50418"/>
                </a:lnTo>
                <a:lnTo>
                  <a:pt x="162178" y="46736"/>
                </a:lnTo>
                <a:lnTo>
                  <a:pt x="160908" y="42164"/>
                </a:lnTo>
                <a:lnTo>
                  <a:pt x="157352" y="40005"/>
                </a:lnTo>
                <a:lnTo>
                  <a:pt x="142747" y="32512"/>
                </a:lnTo>
                <a:lnTo>
                  <a:pt x="129285" y="26416"/>
                </a:lnTo>
                <a:lnTo>
                  <a:pt x="125475" y="24637"/>
                </a:lnTo>
                <a:close/>
              </a:path>
              <a:path w="372110" h="340995">
                <a:moveTo>
                  <a:pt x="65785" y="6350"/>
                </a:moveTo>
                <a:lnTo>
                  <a:pt x="61721" y="8890"/>
                </a:lnTo>
                <a:lnTo>
                  <a:pt x="60705" y="12954"/>
                </a:lnTo>
                <a:lnTo>
                  <a:pt x="59816" y="17145"/>
                </a:lnTo>
                <a:lnTo>
                  <a:pt x="62229" y="21209"/>
                </a:lnTo>
                <a:lnTo>
                  <a:pt x="66420" y="22225"/>
                </a:lnTo>
                <a:lnTo>
                  <a:pt x="78485" y="25018"/>
                </a:lnTo>
                <a:lnTo>
                  <a:pt x="93344" y="29210"/>
                </a:lnTo>
                <a:lnTo>
                  <a:pt x="99059" y="31242"/>
                </a:lnTo>
                <a:lnTo>
                  <a:pt x="103377" y="29083"/>
                </a:lnTo>
                <a:lnTo>
                  <a:pt x="104818" y="25018"/>
                </a:lnTo>
                <a:lnTo>
                  <a:pt x="106171" y="21082"/>
                </a:lnTo>
                <a:lnTo>
                  <a:pt x="104012" y="16764"/>
                </a:lnTo>
                <a:lnTo>
                  <a:pt x="100075" y="15367"/>
                </a:lnTo>
                <a:lnTo>
                  <a:pt x="98170" y="14732"/>
                </a:lnTo>
                <a:lnTo>
                  <a:pt x="82676" y="10414"/>
                </a:lnTo>
                <a:lnTo>
                  <a:pt x="69850" y="7366"/>
                </a:lnTo>
                <a:lnTo>
                  <a:pt x="65785" y="6350"/>
                </a:lnTo>
                <a:close/>
              </a:path>
              <a:path w="372110" h="340995">
                <a:moveTo>
                  <a:pt x="3682" y="0"/>
                </a:moveTo>
                <a:lnTo>
                  <a:pt x="126" y="3302"/>
                </a:lnTo>
                <a:lnTo>
                  <a:pt x="0" y="11811"/>
                </a:lnTo>
                <a:lnTo>
                  <a:pt x="3301" y="15240"/>
                </a:lnTo>
                <a:lnTo>
                  <a:pt x="17525" y="15621"/>
                </a:lnTo>
                <a:lnTo>
                  <a:pt x="33019" y="16764"/>
                </a:lnTo>
                <a:lnTo>
                  <a:pt x="41275" y="17780"/>
                </a:lnTo>
                <a:lnTo>
                  <a:pt x="45084" y="14859"/>
                </a:lnTo>
                <a:lnTo>
                  <a:pt x="45719" y="10668"/>
                </a:lnTo>
                <a:lnTo>
                  <a:pt x="46227" y="6477"/>
                </a:lnTo>
                <a:lnTo>
                  <a:pt x="43179" y="2667"/>
                </a:lnTo>
                <a:lnTo>
                  <a:pt x="35051" y="1651"/>
                </a:lnTo>
                <a:lnTo>
                  <a:pt x="18668" y="381"/>
                </a:lnTo>
                <a:lnTo>
                  <a:pt x="368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pSp>
        <p:nvGrpSpPr>
          <p:cNvPr id="121" name="object 31"/>
          <p:cNvGrpSpPr/>
          <p:nvPr/>
        </p:nvGrpSpPr>
        <p:grpSpPr>
          <a:xfrm>
            <a:off x="4923025" y="2728436"/>
            <a:ext cx="544195" cy="299243"/>
            <a:chOff x="3470147" y="5355335"/>
            <a:chExt cx="544195" cy="330835"/>
          </a:xfrm>
        </p:grpSpPr>
        <p:sp>
          <p:nvSpPr>
            <p:cNvPr id="122" name="object 32"/>
            <p:cNvSpPr/>
            <p:nvPr/>
          </p:nvSpPr>
          <p:spPr>
            <a:xfrm>
              <a:off x="3470147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9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9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9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9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9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9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9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9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9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9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9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23" name="object 33"/>
            <p:cNvSpPr/>
            <p:nvPr/>
          </p:nvSpPr>
          <p:spPr>
            <a:xfrm>
              <a:off x="3593591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24" name="object 34"/>
            <p:cNvSpPr/>
            <p:nvPr/>
          </p:nvSpPr>
          <p:spPr>
            <a:xfrm>
              <a:off x="3814571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8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8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8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8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8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8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8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8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8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8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8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25" name="object 35"/>
            <p:cNvSpPr/>
            <p:nvPr/>
          </p:nvSpPr>
          <p:spPr>
            <a:xfrm>
              <a:off x="3938015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26" name="矩形 125"/>
          <p:cNvSpPr/>
          <p:nvPr/>
        </p:nvSpPr>
        <p:spPr>
          <a:xfrm>
            <a:off x="5892135" y="3027679"/>
            <a:ext cx="48603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800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DRAM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7" name="object 31"/>
          <p:cNvGrpSpPr/>
          <p:nvPr/>
        </p:nvGrpSpPr>
        <p:grpSpPr>
          <a:xfrm>
            <a:off x="6856557" y="3096983"/>
            <a:ext cx="132323" cy="80444"/>
            <a:chOff x="3470147" y="5355335"/>
            <a:chExt cx="544195" cy="330835"/>
          </a:xfrm>
        </p:grpSpPr>
        <p:sp>
          <p:nvSpPr>
            <p:cNvPr id="128" name="object 32"/>
            <p:cNvSpPr/>
            <p:nvPr/>
          </p:nvSpPr>
          <p:spPr>
            <a:xfrm>
              <a:off x="3470147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9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9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9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9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9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9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9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9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9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9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9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rgbClr val="A4A8B9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29" name="object 33"/>
            <p:cNvSpPr/>
            <p:nvPr/>
          </p:nvSpPr>
          <p:spPr>
            <a:xfrm>
              <a:off x="3593591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30" name="object 34"/>
            <p:cNvSpPr/>
            <p:nvPr/>
          </p:nvSpPr>
          <p:spPr>
            <a:xfrm>
              <a:off x="3814571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8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8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8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8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8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8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8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8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8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8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8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rgbClr val="A4A8B9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31" name="object 35"/>
            <p:cNvSpPr/>
            <p:nvPr/>
          </p:nvSpPr>
          <p:spPr>
            <a:xfrm>
              <a:off x="3938015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32" name="object 31"/>
          <p:cNvGrpSpPr/>
          <p:nvPr/>
        </p:nvGrpSpPr>
        <p:grpSpPr>
          <a:xfrm>
            <a:off x="7058545" y="3094892"/>
            <a:ext cx="132323" cy="80444"/>
            <a:chOff x="3470147" y="5355335"/>
            <a:chExt cx="544195" cy="330835"/>
          </a:xfrm>
        </p:grpSpPr>
        <p:sp>
          <p:nvSpPr>
            <p:cNvPr id="133" name="object 32"/>
            <p:cNvSpPr/>
            <p:nvPr/>
          </p:nvSpPr>
          <p:spPr>
            <a:xfrm>
              <a:off x="3470147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9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9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9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9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9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9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9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9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9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9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9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rgbClr val="A4A8B9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34" name="object 33"/>
            <p:cNvSpPr/>
            <p:nvPr/>
          </p:nvSpPr>
          <p:spPr>
            <a:xfrm>
              <a:off x="3593591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35" name="object 34"/>
            <p:cNvSpPr/>
            <p:nvPr/>
          </p:nvSpPr>
          <p:spPr>
            <a:xfrm>
              <a:off x="3814571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8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8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8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8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8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8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8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8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8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8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8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rgbClr val="A4A8B9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36" name="object 35"/>
            <p:cNvSpPr/>
            <p:nvPr/>
          </p:nvSpPr>
          <p:spPr>
            <a:xfrm>
              <a:off x="3938015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37" name="object 31"/>
          <p:cNvGrpSpPr/>
          <p:nvPr/>
        </p:nvGrpSpPr>
        <p:grpSpPr>
          <a:xfrm>
            <a:off x="6851608" y="3494570"/>
            <a:ext cx="132323" cy="80444"/>
            <a:chOff x="3470147" y="5355335"/>
            <a:chExt cx="544195" cy="330835"/>
          </a:xfrm>
        </p:grpSpPr>
        <p:sp>
          <p:nvSpPr>
            <p:cNvPr id="138" name="object 32"/>
            <p:cNvSpPr/>
            <p:nvPr/>
          </p:nvSpPr>
          <p:spPr>
            <a:xfrm>
              <a:off x="3470147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9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9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9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9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9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9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9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9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9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9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9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rgbClr val="A4A8B9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39" name="object 33"/>
            <p:cNvSpPr/>
            <p:nvPr/>
          </p:nvSpPr>
          <p:spPr>
            <a:xfrm>
              <a:off x="3593591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40" name="object 34"/>
            <p:cNvSpPr/>
            <p:nvPr/>
          </p:nvSpPr>
          <p:spPr>
            <a:xfrm>
              <a:off x="3814571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8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8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8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8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8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8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8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8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8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8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8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rgbClr val="A4A8B9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41" name="object 35"/>
            <p:cNvSpPr/>
            <p:nvPr/>
          </p:nvSpPr>
          <p:spPr>
            <a:xfrm>
              <a:off x="3938015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42" name="object 31"/>
          <p:cNvGrpSpPr/>
          <p:nvPr/>
        </p:nvGrpSpPr>
        <p:grpSpPr>
          <a:xfrm>
            <a:off x="7053596" y="3492479"/>
            <a:ext cx="132323" cy="80444"/>
            <a:chOff x="3470147" y="5355335"/>
            <a:chExt cx="544195" cy="330835"/>
          </a:xfrm>
        </p:grpSpPr>
        <p:sp>
          <p:nvSpPr>
            <p:cNvPr id="143" name="object 32"/>
            <p:cNvSpPr/>
            <p:nvPr/>
          </p:nvSpPr>
          <p:spPr>
            <a:xfrm>
              <a:off x="3470147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9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9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9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9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9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9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9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9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9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9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9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rgbClr val="A4A8B9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44" name="object 33"/>
            <p:cNvSpPr/>
            <p:nvPr/>
          </p:nvSpPr>
          <p:spPr>
            <a:xfrm>
              <a:off x="3593591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45" name="object 34"/>
            <p:cNvSpPr/>
            <p:nvPr/>
          </p:nvSpPr>
          <p:spPr>
            <a:xfrm>
              <a:off x="3814571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8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8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8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8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8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8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8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8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8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8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8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rgbClr val="A4A8B9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46" name="object 35"/>
            <p:cNvSpPr/>
            <p:nvPr/>
          </p:nvSpPr>
          <p:spPr>
            <a:xfrm>
              <a:off x="3938015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47" name="矩形 146"/>
          <p:cNvSpPr/>
          <p:nvPr/>
        </p:nvSpPr>
        <p:spPr>
          <a:xfrm>
            <a:off x="770768" y="1827377"/>
            <a:ext cx="287622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AI芯片最重要的是满足高效能机器学习的数据处理要求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人工智能工作多是数据密集型，需要大量的存储和各层次存储器间的数据搬移</a:t>
            </a:r>
            <a:endParaRPr lang="zh-CN" alt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pSp>
        <p:nvGrpSpPr>
          <p:cNvPr id="148" name="object 31"/>
          <p:cNvGrpSpPr/>
          <p:nvPr/>
        </p:nvGrpSpPr>
        <p:grpSpPr>
          <a:xfrm>
            <a:off x="6654714" y="2722630"/>
            <a:ext cx="544195" cy="299243"/>
            <a:chOff x="3470147" y="5355335"/>
            <a:chExt cx="544195" cy="330835"/>
          </a:xfrm>
        </p:grpSpPr>
        <p:sp>
          <p:nvSpPr>
            <p:cNvPr id="149" name="object 32"/>
            <p:cNvSpPr/>
            <p:nvPr/>
          </p:nvSpPr>
          <p:spPr>
            <a:xfrm>
              <a:off x="3470147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9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9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9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9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9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9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9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9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9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9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9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50" name="object 33"/>
            <p:cNvSpPr/>
            <p:nvPr/>
          </p:nvSpPr>
          <p:spPr>
            <a:xfrm>
              <a:off x="3593591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51" name="object 34"/>
            <p:cNvSpPr/>
            <p:nvPr/>
          </p:nvSpPr>
          <p:spPr>
            <a:xfrm>
              <a:off x="3814571" y="535533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0" y="0"/>
                  </a:moveTo>
                  <a:lnTo>
                    <a:pt x="33908" y="0"/>
                  </a:lnTo>
                  <a:lnTo>
                    <a:pt x="30479" y="3428"/>
                  </a:lnTo>
                  <a:lnTo>
                    <a:pt x="30479" y="42290"/>
                  </a:lnTo>
                  <a:lnTo>
                    <a:pt x="33908" y="45719"/>
                  </a:lnTo>
                  <a:lnTo>
                    <a:pt x="42290" y="45719"/>
                  </a:lnTo>
                  <a:lnTo>
                    <a:pt x="45719" y="42290"/>
                  </a:lnTo>
                  <a:lnTo>
                    <a:pt x="45719" y="3428"/>
                  </a:lnTo>
                  <a:lnTo>
                    <a:pt x="42290" y="0"/>
                  </a:lnTo>
                  <a:close/>
                </a:path>
                <a:path w="76200" h="323214">
                  <a:moveTo>
                    <a:pt x="42290" y="60959"/>
                  </a:moveTo>
                  <a:lnTo>
                    <a:pt x="33908" y="60959"/>
                  </a:lnTo>
                  <a:lnTo>
                    <a:pt x="30479" y="64388"/>
                  </a:lnTo>
                  <a:lnTo>
                    <a:pt x="30479" y="103250"/>
                  </a:lnTo>
                  <a:lnTo>
                    <a:pt x="33908" y="106679"/>
                  </a:lnTo>
                  <a:lnTo>
                    <a:pt x="42290" y="106679"/>
                  </a:lnTo>
                  <a:lnTo>
                    <a:pt x="45719" y="103250"/>
                  </a:lnTo>
                  <a:lnTo>
                    <a:pt x="45719" y="64388"/>
                  </a:lnTo>
                  <a:lnTo>
                    <a:pt x="42290" y="60959"/>
                  </a:lnTo>
                  <a:close/>
                </a:path>
                <a:path w="76200" h="323214">
                  <a:moveTo>
                    <a:pt x="42290" y="121919"/>
                  </a:moveTo>
                  <a:lnTo>
                    <a:pt x="33908" y="121919"/>
                  </a:lnTo>
                  <a:lnTo>
                    <a:pt x="30479" y="125348"/>
                  </a:lnTo>
                  <a:lnTo>
                    <a:pt x="30479" y="164210"/>
                  </a:lnTo>
                  <a:lnTo>
                    <a:pt x="33908" y="167639"/>
                  </a:lnTo>
                  <a:lnTo>
                    <a:pt x="42290" y="167639"/>
                  </a:lnTo>
                  <a:lnTo>
                    <a:pt x="45719" y="164210"/>
                  </a:lnTo>
                  <a:lnTo>
                    <a:pt x="45719" y="125348"/>
                  </a:lnTo>
                  <a:lnTo>
                    <a:pt x="42290" y="121919"/>
                  </a:lnTo>
                  <a:close/>
                </a:path>
                <a:path w="76200" h="323214">
                  <a:moveTo>
                    <a:pt x="42290" y="182879"/>
                  </a:moveTo>
                  <a:lnTo>
                    <a:pt x="33908" y="182879"/>
                  </a:lnTo>
                  <a:lnTo>
                    <a:pt x="30479" y="186308"/>
                  </a:lnTo>
                  <a:lnTo>
                    <a:pt x="30479" y="225170"/>
                  </a:lnTo>
                  <a:lnTo>
                    <a:pt x="33908" y="228600"/>
                  </a:lnTo>
                  <a:lnTo>
                    <a:pt x="42290" y="228600"/>
                  </a:lnTo>
                  <a:lnTo>
                    <a:pt x="45719" y="225170"/>
                  </a:lnTo>
                  <a:lnTo>
                    <a:pt x="45719" y="186308"/>
                  </a:lnTo>
                  <a:lnTo>
                    <a:pt x="42290" y="182879"/>
                  </a:lnTo>
                  <a:close/>
                </a:path>
                <a:path w="76200" h="323214">
                  <a:moveTo>
                    <a:pt x="31042" y="246684"/>
                  </a:moveTo>
                  <a:lnTo>
                    <a:pt x="0" y="246684"/>
                  </a:lnTo>
                  <a:lnTo>
                    <a:pt x="38100" y="322884"/>
                  </a:lnTo>
                  <a:lnTo>
                    <a:pt x="66039" y="267004"/>
                  </a:lnTo>
                  <a:lnTo>
                    <a:pt x="33908" y="267004"/>
                  </a:lnTo>
                  <a:lnTo>
                    <a:pt x="30479" y="263588"/>
                  </a:lnTo>
                  <a:lnTo>
                    <a:pt x="30479" y="247243"/>
                  </a:lnTo>
                  <a:lnTo>
                    <a:pt x="31042" y="246684"/>
                  </a:lnTo>
                  <a:close/>
                </a:path>
                <a:path w="76200" h="323214">
                  <a:moveTo>
                    <a:pt x="42290" y="243839"/>
                  </a:moveTo>
                  <a:lnTo>
                    <a:pt x="33908" y="243839"/>
                  </a:lnTo>
                  <a:lnTo>
                    <a:pt x="30479" y="247243"/>
                  </a:lnTo>
                  <a:lnTo>
                    <a:pt x="30479" y="263588"/>
                  </a:lnTo>
                  <a:lnTo>
                    <a:pt x="33908" y="267004"/>
                  </a:lnTo>
                  <a:lnTo>
                    <a:pt x="42290" y="267004"/>
                  </a:lnTo>
                  <a:lnTo>
                    <a:pt x="45719" y="263588"/>
                  </a:lnTo>
                  <a:lnTo>
                    <a:pt x="45719" y="247243"/>
                  </a:lnTo>
                  <a:lnTo>
                    <a:pt x="42290" y="243839"/>
                  </a:lnTo>
                  <a:close/>
                </a:path>
                <a:path w="76200" h="323214">
                  <a:moveTo>
                    <a:pt x="76200" y="246684"/>
                  </a:moveTo>
                  <a:lnTo>
                    <a:pt x="45157" y="246684"/>
                  </a:lnTo>
                  <a:lnTo>
                    <a:pt x="45719" y="247243"/>
                  </a:lnTo>
                  <a:lnTo>
                    <a:pt x="45719" y="263588"/>
                  </a:lnTo>
                  <a:lnTo>
                    <a:pt x="42290" y="267004"/>
                  </a:lnTo>
                  <a:lnTo>
                    <a:pt x="66039" y="267004"/>
                  </a:lnTo>
                  <a:lnTo>
                    <a:pt x="76200" y="24668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52" name="object 35"/>
            <p:cNvSpPr/>
            <p:nvPr/>
          </p:nvSpPr>
          <p:spPr>
            <a:xfrm>
              <a:off x="3938015" y="5362955"/>
              <a:ext cx="76200" cy="323215"/>
            </a:xfrm>
            <a:custGeom>
              <a:avLst/>
              <a:gdLst/>
              <a:ahLst/>
              <a:cxnLst/>
              <a:rect l="l" t="t" r="r" b="b"/>
              <a:pathLst>
                <a:path w="76200" h="323214">
                  <a:moveTo>
                    <a:pt x="42291" y="55880"/>
                  </a:moveTo>
                  <a:lnTo>
                    <a:pt x="33909" y="55880"/>
                  </a:lnTo>
                  <a:lnTo>
                    <a:pt x="30480" y="59309"/>
                  </a:lnTo>
                  <a:lnTo>
                    <a:pt x="30480" y="98171"/>
                  </a:lnTo>
                  <a:lnTo>
                    <a:pt x="33909" y="101600"/>
                  </a:lnTo>
                  <a:lnTo>
                    <a:pt x="42291" y="101600"/>
                  </a:lnTo>
                  <a:lnTo>
                    <a:pt x="45720" y="98171"/>
                  </a:lnTo>
                  <a:lnTo>
                    <a:pt x="45720" y="59309"/>
                  </a:lnTo>
                  <a:lnTo>
                    <a:pt x="42291" y="55880"/>
                  </a:lnTo>
                  <a:close/>
                </a:path>
                <a:path w="76200" h="323214">
                  <a:moveTo>
                    <a:pt x="38100" y="0"/>
                  </a:moveTo>
                  <a:lnTo>
                    <a:pt x="0" y="76200"/>
                  </a:lnTo>
                  <a:lnTo>
                    <a:pt x="30480" y="76200"/>
                  </a:lnTo>
                  <a:lnTo>
                    <a:pt x="30480" y="59309"/>
                  </a:lnTo>
                  <a:lnTo>
                    <a:pt x="33909" y="55880"/>
                  </a:lnTo>
                  <a:lnTo>
                    <a:pt x="66039" y="55880"/>
                  </a:lnTo>
                  <a:lnTo>
                    <a:pt x="38100" y="0"/>
                  </a:lnTo>
                  <a:close/>
                </a:path>
                <a:path w="76200" h="323214">
                  <a:moveTo>
                    <a:pt x="66039" y="55880"/>
                  </a:moveTo>
                  <a:lnTo>
                    <a:pt x="42291" y="55880"/>
                  </a:lnTo>
                  <a:lnTo>
                    <a:pt x="45720" y="59309"/>
                  </a:lnTo>
                  <a:lnTo>
                    <a:pt x="45720" y="76200"/>
                  </a:lnTo>
                  <a:lnTo>
                    <a:pt x="76200" y="76200"/>
                  </a:lnTo>
                  <a:lnTo>
                    <a:pt x="66039" y="55880"/>
                  </a:lnTo>
                  <a:close/>
                </a:path>
                <a:path w="76200" h="323214">
                  <a:moveTo>
                    <a:pt x="42291" y="116840"/>
                  </a:moveTo>
                  <a:lnTo>
                    <a:pt x="33909" y="116840"/>
                  </a:lnTo>
                  <a:lnTo>
                    <a:pt x="30480" y="120269"/>
                  </a:lnTo>
                  <a:lnTo>
                    <a:pt x="30480" y="159131"/>
                  </a:lnTo>
                  <a:lnTo>
                    <a:pt x="33909" y="162560"/>
                  </a:lnTo>
                  <a:lnTo>
                    <a:pt x="42291" y="162560"/>
                  </a:lnTo>
                  <a:lnTo>
                    <a:pt x="45720" y="159131"/>
                  </a:lnTo>
                  <a:lnTo>
                    <a:pt x="45720" y="120269"/>
                  </a:lnTo>
                  <a:lnTo>
                    <a:pt x="42291" y="116840"/>
                  </a:lnTo>
                  <a:close/>
                </a:path>
                <a:path w="76200" h="323214">
                  <a:moveTo>
                    <a:pt x="42291" y="177800"/>
                  </a:moveTo>
                  <a:lnTo>
                    <a:pt x="33909" y="177800"/>
                  </a:lnTo>
                  <a:lnTo>
                    <a:pt x="30480" y="181229"/>
                  </a:lnTo>
                  <a:lnTo>
                    <a:pt x="30480" y="220091"/>
                  </a:lnTo>
                  <a:lnTo>
                    <a:pt x="33909" y="223520"/>
                  </a:lnTo>
                  <a:lnTo>
                    <a:pt x="42291" y="223520"/>
                  </a:lnTo>
                  <a:lnTo>
                    <a:pt x="45720" y="220091"/>
                  </a:lnTo>
                  <a:lnTo>
                    <a:pt x="45720" y="181229"/>
                  </a:lnTo>
                  <a:lnTo>
                    <a:pt x="42291" y="177800"/>
                  </a:lnTo>
                  <a:close/>
                </a:path>
                <a:path w="76200" h="323214">
                  <a:moveTo>
                    <a:pt x="42291" y="238760"/>
                  </a:moveTo>
                  <a:lnTo>
                    <a:pt x="33909" y="238760"/>
                  </a:lnTo>
                  <a:lnTo>
                    <a:pt x="30480" y="242163"/>
                  </a:lnTo>
                  <a:lnTo>
                    <a:pt x="30480" y="281063"/>
                  </a:lnTo>
                  <a:lnTo>
                    <a:pt x="33909" y="284480"/>
                  </a:lnTo>
                  <a:lnTo>
                    <a:pt x="42291" y="284480"/>
                  </a:lnTo>
                  <a:lnTo>
                    <a:pt x="45720" y="281063"/>
                  </a:lnTo>
                  <a:lnTo>
                    <a:pt x="45720" y="242163"/>
                  </a:lnTo>
                  <a:lnTo>
                    <a:pt x="42291" y="238760"/>
                  </a:lnTo>
                  <a:close/>
                </a:path>
                <a:path w="76200" h="323214">
                  <a:moveTo>
                    <a:pt x="42291" y="299720"/>
                  </a:moveTo>
                  <a:lnTo>
                    <a:pt x="33909" y="299720"/>
                  </a:lnTo>
                  <a:lnTo>
                    <a:pt x="30480" y="303123"/>
                  </a:lnTo>
                  <a:lnTo>
                    <a:pt x="30480" y="319468"/>
                  </a:lnTo>
                  <a:lnTo>
                    <a:pt x="33909" y="322884"/>
                  </a:lnTo>
                  <a:lnTo>
                    <a:pt x="42291" y="322884"/>
                  </a:lnTo>
                  <a:lnTo>
                    <a:pt x="45720" y="319468"/>
                  </a:lnTo>
                  <a:lnTo>
                    <a:pt x="45720" y="303123"/>
                  </a:lnTo>
                  <a:lnTo>
                    <a:pt x="42291" y="299720"/>
                  </a:lnTo>
                  <a:close/>
                </a:path>
              </a:pathLst>
            </a:custGeom>
            <a:solidFill>
              <a:srgbClr val="0386C1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cxnSp>
        <p:nvCxnSpPr>
          <p:cNvPr id="153" name="肘形连接符 152"/>
          <p:cNvCxnSpPr>
            <a:endCxn id="75" idx="1"/>
          </p:cNvCxnSpPr>
          <p:nvPr/>
        </p:nvCxnSpPr>
        <p:spPr>
          <a:xfrm flipV="1">
            <a:off x="7498427" y="2642356"/>
            <a:ext cx="954872" cy="696707"/>
          </a:xfrm>
          <a:prstGeom prst="bentConnector3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肘形连接符 153"/>
          <p:cNvCxnSpPr>
            <a:endCxn id="74" idx="3"/>
          </p:cNvCxnSpPr>
          <p:nvPr/>
        </p:nvCxnSpPr>
        <p:spPr>
          <a:xfrm rot="10800000">
            <a:off x="3808399" y="2648041"/>
            <a:ext cx="1114626" cy="236749"/>
          </a:xfrm>
          <a:prstGeom prst="bentConnector3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5" name="图片 15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156" name="直线连接符 155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标题 1"/>
          <p:cNvSpPr txBox="1"/>
          <p:nvPr/>
        </p:nvSpPr>
        <p:spPr>
          <a:xfrm>
            <a:off x="0" y="389656"/>
            <a:ext cx="12191999" cy="5190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FA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架构极具先进性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13" name="表格 12"/>
          <p:cNvGraphicFramePr>
            <a:graphicFrameLocks noGrp="1"/>
          </p:cNvGraphicFramePr>
          <p:nvPr/>
        </p:nvGraphicFramePr>
        <p:xfrm>
          <a:off x="684895" y="1635446"/>
          <a:ext cx="11027678" cy="2737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32418"/>
                <a:gridCol w="3198420"/>
                <a:gridCol w="3198420"/>
                <a:gridCol w="3198420"/>
              </a:tblGrid>
              <a:tr h="43412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zh-CN" altLang="en-US" sz="1600" b="1" u="none" strike="noStrike" dirty="0">
                          <a:solidFill>
                            <a:srgbClr val="0386C1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　</a:t>
                      </a:r>
                      <a:endParaRPr lang="zh-CN" altLang="en-US" sz="1600" b="1" i="0" u="none" strike="noStrike" dirty="0">
                        <a:solidFill>
                          <a:srgbClr val="0386C1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zh-CN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SFA</a:t>
                      </a:r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架构</a:t>
                      </a:r>
                      <a:endParaRPr lang="en-US" sz="1600" b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6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zh-CN" altLang="en-US" sz="1600" b="1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存算一体架构</a:t>
                      </a:r>
                      <a:endParaRPr lang="en-US" sz="1600" b="1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zh-CN" altLang="en-US" sz="1600" b="1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其它架构</a:t>
                      </a:r>
                      <a:endParaRPr lang="en-US" sz="1600" b="1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27159">
                <a:tc>
                  <a:txBody>
                    <a:bodyPr/>
                    <a:lstStyle/>
                    <a:p>
                      <a:pPr marL="0" indent="0" algn="ctr" fontAlgn="ctr">
                        <a:lnSpc>
                          <a:spcPct val="100000"/>
                        </a:lnSpc>
                        <a:buClr>
                          <a:schemeClr val="bg1">
                            <a:lumMod val="85000"/>
                          </a:schemeClr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zh-CN" altLang="en-US" sz="1600" b="1" i="0" u="none" strike="noStrike" dirty="0">
                          <a:solidFill>
                            <a:srgbClr val="0386C1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架构核心</a:t>
                      </a:r>
                      <a:endParaRPr lang="zh-CN" altLang="en-US" sz="1600" b="1" i="0" u="none" strike="noStrike" dirty="0">
                        <a:solidFill>
                          <a:srgbClr val="0386C1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6C1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defRPr/>
                      </a:pPr>
                      <a:r>
                        <a:rPr lang="zh-CN" altLang="en-US" sz="1400" b="0" kern="1200" dirty="0">
                          <a:solidFill>
                            <a:srgbClr val="0386C1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cs typeface="+mn-cs"/>
                          <a:sym typeface="Arial" panose="020B0604020202020204" pitchFamily="34" charset="0"/>
                        </a:rPr>
                        <a:t>优化数据路径，从而降低数据访问次数，达到降低存储系统和整体功耗的目的</a:t>
                      </a:r>
                      <a:endParaRPr lang="zh-CN" altLang="en-US" sz="1400" b="0" kern="1200" dirty="0">
                        <a:solidFill>
                          <a:srgbClr val="0386C1"/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180000" marR="180000" marT="108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cs typeface="+mn-cs"/>
                          <a:sym typeface="Arial" panose="020B0604020202020204" pitchFamily="34" charset="0"/>
                        </a:rPr>
                        <a:t>权重数据被固定保存在存储系统，</a:t>
                      </a:r>
                      <a:endParaRPr lang="en-US" altLang="zh-CN" sz="14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cs typeface="+mn-cs"/>
                        <a:sym typeface="Arial" panose="020B0604020202020204" pitchFamily="34" charset="0"/>
                      </a:endParaRPr>
                    </a:p>
                    <a:p>
                      <a:pPr marL="171450" marR="0" indent="-17145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cs typeface="+mn-cs"/>
                          <a:sym typeface="Arial" panose="020B0604020202020204" pitchFamily="34" charset="0"/>
                        </a:rPr>
                        <a:t>而动态数据仍需要被动态访问，复杂度未降低，需降低对算法的兼容性来适应硬件的缺陷</a:t>
                      </a:r>
                      <a:endParaRPr lang="zh-CN" altLang="en-US" sz="14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180000" marR="180000" marT="108000" marB="720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cs typeface="+mn-cs"/>
                          <a:sym typeface="Arial" panose="020B0604020202020204" pitchFamily="34" charset="0"/>
                        </a:rPr>
                        <a:t>通过软件优化或增加部分本地局部存储，从而尽量提高数据复用度，但难以应付变化复杂的多种神经网络设置</a:t>
                      </a:r>
                      <a:endParaRPr lang="zh-CN" altLang="en-US" sz="14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180000" marR="180000" marT="108000" marB="720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7648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zh-CN" altLang="en-US" sz="1600" b="1" i="0" u="none" strike="noStrike" dirty="0">
                          <a:solidFill>
                            <a:srgbClr val="0386C1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特点</a:t>
                      </a:r>
                      <a:endParaRPr lang="zh-CN" altLang="en-US" sz="1600" b="1" i="0" u="none" strike="noStrike" dirty="0">
                        <a:solidFill>
                          <a:srgbClr val="0386C1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6C1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defRPr/>
                      </a:pPr>
                      <a:r>
                        <a:rPr lang="zh-CN" altLang="en-US" sz="1400" b="0" dirty="0">
                          <a:solidFill>
                            <a:srgbClr val="0386C1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成本结构合理，存储由缓存与</a:t>
                      </a:r>
                      <a:r>
                        <a:rPr lang="en-US" altLang="zh-CN" sz="1400" b="0" dirty="0">
                          <a:solidFill>
                            <a:srgbClr val="0386C1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DRAM</a:t>
                      </a:r>
                      <a:r>
                        <a:rPr lang="zh-CN" altLang="en-US" sz="1400" b="0" dirty="0">
                          <a:solidFill>
                            <a:srgbClr val="0386C1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搭配</a:t>
                      </a:r>
                      <a:endParaRPr lang="en-US" altLang="zh-CN" sz="1400" b="0" dirty="0">
                        <a:solidFill>
                          <a:srgbClr val="0386C1"/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defRPr/>
                      </a:pPr>
                      <a:r>
                        <a:rPr lang="zh-CN" altLang="en-US" sz="1400" b="0" dirty="0">
                          <a:solidFill>
                            <a:srgbClr val="0386C1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采用标准单元库设计，切换不同工艺便捷</a:t>
                      </a:r>
                      <a:endParaRPr lang="zh-CN" altLang="en-US" sz="1400" b="0" dirty="0">
                        <a:solidFill>
                          <a:srgbClr val="0386C1"/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marL="180000" marR="180000" marT="108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defRPr/>
                      </a:pPr>
                      <a:r>
                        <a:rPr lang="zh-CN" altLang="en-US" sz="14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成本昂贵，需要大量片上存储</a:t>
                      </a:r>
                      <a:endParaRPr lang="en-US" altLang="zh-CN" sz="14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defRPr/>
                      </a:pPr>
                      <a:r>
                        <a:rPr lang="zh-CN" altLang="en-US" sz="14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需要修改存储单元设计，针对不同工艺单独定制，周期长，切换工艺不便</a:t>
                      </a:r>
                      <a:endParaRPr lang="zh-CN" altLang="en-US" sz="14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marL="180000" marR="180000" marT="108000" marB="720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0000"/>
                        </a:lnSpc>
                        <a:buFont typeface="Wingdings" panose="05000000000000000000" pitchFamily="2" charset="2"/>
                        <a:buChar char="n"/>
                      </a:pPr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难以满足真实的</a:t>
                      </a:r>
                      <a:r>
                        <a:rPr lang="en-US" altLang="zh-CN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AI</a:t>
                      </a:r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计算需求</a:t>
                      </a:r>
                      <a:endParaRPr lang="zh-CN" altLang="en-US" sz="14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marL="180000" marR="180000" marT="108000" marB="7200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表格 13"/>
          <p:cNvGraphicFramePr>
            <a:graphicFrameLocks noGrp="1"/>
          </p:cNvGraphicFramePr>
          <p:nvPr/>
        </p:nvGraphicFramePr>
        <p:xfrm>
          <a:off x="740917" y="5369139"/>
          <a:ext cx="10940842" cy="9332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65185"/>
                <a:gridCol w="1340666"/>
                <a:gridCol w="1118602"/>
                <a:gridCol w="1387776"/>
                <a:gridCol w="1430809"/>
                <a:gridCol w="1434036"/>
                <a:gridCol w="1431884"/>
                <a:gridCol w="1431884"/>
              </a:tblGrid>
              <a:tr h="460301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zh-CN" sz="1400" kern="100" dirty="0"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探境</a:t>
                      </a:r>
                      <a:endParaRPr lang="zh-CN" sz="1600" kern="100" dirty="0"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B9C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altLang="zh-CN" sz="1600" kern="100" dirty="0">
                          <a:solidFill>
                            <a:srgbClr val="21B9CE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HA</a:t>
                      </a:r>
                      <a:endParaRPr lang="zh-CN" sz="1600" kern="100" dirty="0">
                        <a:solidFill>
                          <a:srgbClr val="21B9CE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altLang="zh-CN" sz="1400" kern="100" dirty="0">
                          <a:solidFill>
                            <a:srgbClr val="21B9CE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HW</a:t>
                      </a:r>
                      <a:endParaRPr lang="zh-CN" sz="1600" kern="100" dirty="0">
                        <a:solidFill>
                          <a:srgbClr val="21B9CE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rgbClr val="21B9CE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T</a:t>
                      </a:r>
                      <a:r>
                        <a:rPr lang="en-US" altLang="zh-CN" sz="1400" kern="100" dirty="0">
                          <a:solidFill>
                            <a:srgbClr val="21B9CE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S</a:t>
                      </a:r>
                      <a:endParaRPr lang="zh-CN" sz="1600" kern="100" dirty="0">
                        <a:solidFill>
                          <a:srgbClr val="21B9CE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altLang="zh-CN" sz="1400" kern="100" dirty="0">
                          <a:solidFill>
                            <a:srgbClr val="21B9CE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T</a:t>
                      </a:r>
                      <a:endParaRPr lang="zh-CN" sz="1600" kern="100" dirty="0">
                        <a:solidFill>
                          <a:srgbClr val="21B9CE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rgbClr val="21B9CE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Xi</a:t>
                      </a:r>
                      <a:endParaRPr lang="zh-CN" sz="1600" kern="100" dirty="0">
                        <a:solidFill>
                          <a:srgbClr val="21B9CE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rgbClr val="21B9CE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CL</a:t>
                      </a:r>
                      <a:endParaRPr lang="zh-CN" sz="1600" kern="100" dirty="0">
                        <a:solidFill>
                          <a:srgbClr val="21B9CE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 err="1">
                          <a:solidFill>
                            <a:srgbClr val="21B9CE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Sl</a:t>
                      </a:r>
                      <a:endParaRPr lang="zh-CN" sz="1600" kern="100" dirty="0">
                        <a:solidFill>
                          <a:srgbClr val="21B9CE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2908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rgbClr val="21B9CE"/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800fps/W</a:t>
                      </a:r>
                      <a:endParaRPr lang="zh-CN" sz="1600" kern="100" dirty="0">
                        <a:solidFill>
                          <a:srgbClr val="21B9CE"/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150fps/W</a:t>
                      </a:r>
                      <a:endParaRPr lang="zh-CN" sz="1600" kern="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60fps/W</a:t>
                      </a:r>
                      <a:endParaRPr lang="zh-CN" sz="1600" kern="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56fps/W</a:t>
                      </a:r>
                      <a:endParaRPr lang="zh-CN" sz="1600" kern="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40fps/W</a:t>
                      </a:r>
                      <a:endParaRPr lang="zh-CN" sz="1600" kern="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33.2fps/W</a:t>
                      </a:r>
                      <a:endParaRPr lang="zh-CN" sz="1600" kern="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5.7fps/W</a:t>
                      </a:r>
                      <a:endParaRPr lang="zh-CN" sz="1600" kern="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400" kern="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2.6fps/W</a:t>
                      </a:r>
                      <a:endParaRPr lang="zh-CN" sz="1600" kern="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ea typeface="楷体" panose="02010609060101010101" pitchFamily="49" charset="-122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" name="矩形 14"/>
          <p:cNvSpPr/>
          <p:nvPr/>
        </p:nvSpPr>
        <p:spPr>
          <a:xfrm>
            <a:off x="627547" y="5314639"/>
            <a:ext cx="1601094" cy="1062660"/>
          </a:xfrm>
          <a:prstGeom prst="rect">
            <a:avLst/>
          </a:prstGeom>
          <a:noFill/>
          <a:ln w="19050">
            <a:solidFill>
              <a:srgbClr val="21B9CE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636401" y="1102837"/>
            <a:ext cx="11074344" cy="457658"/>
            <a:chOff x="1282140" y="-514209"/>
            <a:chExt cx="11074344" cy="457658"/>
          </a:xfrm>
        </p:grpSpPr>
        <p:sp>
          <p:nvSpPr>
            <p:cNvPr id="17" name="六边形 16"/>
            <p:cNvSpPr/>
            <p:nvPr/>
          </p:nvSpPr>
          <p:spPr>
            <a:xfrm>
              <a:off x="1282140" y="-514209"/>
              <a:ext cx="11074344" cy="457658"/>
            </a:xfrm>
            <a:prstGeom prst="hexagon">
              <a:avLst/>
            </a:prstGeom>
            <a:solidFill>
              <a:srgbClr val="0386C1">
                <a:alpha val="3000"/>
              </a:srgbClr>
            </a:solidFill>
            <a:ln w="9525">
              <a:solidFill>
                <a:srgbClr val="0386C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8" name="六边形 17"/>
            <p:cNvSpPr/>
            <p:nvPr/>
          </p:nvSpPr>
          <p:spPr>
            <a:xfrm>
              <a:off x="1329312" y="-483380"/>
              <a:ext cx="10980000" cy="396000"/>
            </a:xfrm>
            <a:prstGeom prst="hexagon">
              <a:avLst/>
            </a:prstGeom>
            <a:solidFill>
              <a:srgbClr val="0386C1">
                <a:alpha val="10000"/>
              </a:srgbClr>
            </a:solidFill>
            <a:ln w="9525">
              <a:solidFill>
                <a:srgbClr val="0386C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9" name="矩形 18"/>
          <p:cNvSpPr/>
          <p:nvPr/>
        </p:nvSpPr>
        <p:spPr>
          <a:xfrm>
            <a:off x="3702170" y="1135787"/>
            <a:ext cx="45849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SFA</a:t>
            </a:r>
            <a:r>
              <a:rPr lang="zh-CN" altLang="en-US" b="1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架构同其它芯片架构对比，极具先进性</a:t>
            </a:r>
            <a:endParaRPr lang="zh-CN" altLang="en-US" b="1" dirty="0">
              <a:solidFill>
                <a:srgbClr val="0386C1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589229" y="4759993"/>
            <a:ext cx="11074344" cy="457658"/>
            <a:chOff x="1282140" y="-514209"/>
            <a:chExt cx="11074344" cy="457658"/>
          </a:xfrm>
        </p:grpSpPr>
        <p:sp>
          <p:nvSpPr>
            <p:cNvPr id="21" name="六边形 20"/>
            <p:cNvSpPr/>
            <p:nvPr/>
          </p:nvSpPr>
          <p:spPr>
            <a:xfrm>
              <a:off x="1282140" y="-514209"/>
              <a:ext cx="11074344" cy="457658"/>
            </a:xfrm>
            <a:prstGeom prst="hexagon">
              <a:avLst/>
            </a:prstGeom>
            <a:solidFill>
              <a:srgbClr val="21B9CE">
                <a:alpha val="3000"/>
              </a:srgbClr>
            </a:solidFill>
            <a:ln w="9525">
              <a:solidFill>
                <a:srgbClr val="21B9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2" name="六边形 21"/>
            <p:cNvSpPr/>
            <p:nvPr/>
          </p:nvSpPr>
          <p:spPr>
            <a:xfrm>
              <a:off x="1329312" y="-483380"/>
              <a:ext cx="10980000" cy="396000"/>
            </a:xfrm>
            <a:prstGeom prst="hexagon">
              <a:avLst/>
            </a:prstGeom>
            <a:solidFill>
              <a:srgbClr val="21B9CE">
                <a:alpha val="10000"/>
              </a:srgbClr>
            </a:solidFill>
            <a:ln w="9525">
              <a:solidFill>
                <a:srgbClr val="21B9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3" name="矩形 22"/>
          <p:cNvSpPr/>
          <p:nvPr/>
        </p:nvSpPr>
        <p:spPr>
          <a:xfrm>
            <a:off x="3096543" y="4804156"/>
            <a:ext cx="62295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探境与主要</a:t>
            </a:r>
            <a:r>
              <a:rPr lang="en-US" altLang="zh-CN" b="1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AI</a:t>
            </a:r>
            <a:r>
              <a:rPr lang="zh-CN" altLang="en-US" b="1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芯片深度学习计算性能对比，性能为业内最优</a:t>
            </a:r>
            <a:endParaRPr lang="zh-CN" altLang="en-US" b="1" dirty="0">
              <a:solidFill>
                <a:srgbClr val="21B9CE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25" name="直线连接符 24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0" y="389656"/>
            <a:ext cx="12191999" cy="519064"/>
          </a:xfrm>
          <a:prstGeom prst="rect">
            <a:avLst/>
          </a:prstGeom>
        </p:spPr>
        <p:txBody>
          <a:bodyPr/>
          <a:lstStyle/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业界领先的探境语音算法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26" name="Picture 1" descr="page10image23762832"/>
          <p:cNvPicPr>
            <a:picLocks noChangeAspect="1" noChangeArrowheads="1"/>
          </p:cNvPicPr>
          <p:nvPr/>
        </p:nvPicPr>
        <p:blipFill>
          <a:blip r:embed="rId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674" y="2432261"/>
            <a:ext cx="1196387" cy="120525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矩形 27"/>
          <p:cNvSpPr/>
          <p:nvPr/>
        </p:nvSpPr>
        <p:spPr>
          <a:xfrm>
            <a:off x="7621989" y="1262935"/>
            <a:ext cx="4078286" cy="354390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29" name="剪去对角的矩形 28"/>
          <p:cNvSpPr/>
          <p:nvPr/>
        </p:nvSpPr>
        <p:spPr>
          <a:xfrm>
            <a:off x="576219" y="5212216"/>
            <a:ext cx="11124056" cy="353102"/>
          </a:xfrm>
          <a:prstGeom prst="snip2DiagRect">
            <a:avLst/>
          </a:prstGeom>
          <a:gradFill>
            <a:gsLst>
              <a:gs pos="0">
                <a:srgbClr val="21B9CE"/>
              </a:gs>
              <a:gs pos="100000">
                <a:srgbClr val="0386C1"/>
              </a:gs>
            </a:gsLst>
            <a:lin ang="0" scaled="1"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<a:noAutofit/>
          </a:bodyPr>
          <a:lstStyle/>
          <a:p>
            <a:pPr algn="ctr"/>
            <a:endParaRPr lang="zh-CN" altLang="en-US" sz="1500" b="1" dirty="0">
              <a:solidFill>
                <a:schemeClr val="bg1"/>
              </a:solidFill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TextBox 31"/>
          <p:cNvSpPr txBox="1"/>
          <p:nvPr/>
        </p:nvSpPr>
        <p:spPr>
          <a:xfrm>
            <a:off x="7752500" y="1272307"/>
            <a:ext cx="3895387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0386C1"/>
              </a:buClr>
              <a:buSzPct val="200000"/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降低最终识别错误率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Clr>
                <a:srgbClr val="0386C1"/>
              </a:buClr>
              <a:buSzPct val="200000"/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提高系统兼容性，降低硬件资源的需求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Clr>
                <a:srgbClr val="0386C1"/>
              </a:buClr>
              <a:buSzPct val="200000"/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唤醒率</a:t>
            </a:r>
            <a:r>
              <a:rPr lang="en-US" altLang="zh-CN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/</a:t>
            </a: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识别率高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Clr>
                <a:srgbClr val="0386C1"/>
              </a:buClr>
              <a:buSzPct val="200000"/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对干扰源与目标声源方向几乎无限制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Clr>
                <a:srgbClr val="0386C1"/>
              </a:buClr>
              <a:buSzPct val="200000"/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处理各种噪声，包括各种非稳态噪声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Clr>
                <a:srgbClr val="0386C1"/>
              </a:buClr>
              <a:buSzPct val="200000"/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计算强度高、描述能力强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Clr>
                <a:srgbClr val="0386C1"/>
              </a:buClr>
              <a:buSzPct val="200000"/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识别率高于基于同参数量的</a:t>
            </a:r>
            <a:r>
              <a:rPr lang="en-US" altLang="zh-CN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DNN</a:t>
            </a: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模型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Clr>
                <a:srgbClr val="0386C1"/>
              </a:buClr>
              <a:buSzPct val="200000"/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适配性好</a:t>
            </a:r>
            <a:endParaRPr lang="zh-CN" alt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5805304" y="2660100"/>
            <a:ext cx="137946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基于</a:t>
            </a:r>
            <a:r>
              <a:rPr lang="en-US" altLang="zh-CN" sz="1400" b="1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Multi-task</a:t>
            </a:r>
            <a:r>
              <a:rPr lang="zh-CN" altLang="en-US" sz="1400" b="1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的端到端深度学习方法</a:t>
            </a:r>
            <a:endParaRPr lang="zh-CN" altLang="en-US" sz="1400" b="1" dirty="0">
              <a:solidFill>
                <a:srgbClr val="0386C1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aphicFrame>
        <p:nvGraphicFramePr>
          <p:cNvPr id="32" name="表格 31"/>
          <p:cNvGraphicFramePr>
            <a:graphicFrameLocks noGrp="1"/>
          </p:cNvGraphicFramePr>
          <p:nvPr/>
        </p:nvGraphicFramePr>
        <p:xfrm>
          <a:off x="576218" y="5601536"/>
          <a:ext cx="11124057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4869"/>
                <a:gridCol w="2297508"/>
                <a:gridCol w="2364422"/>
                <a:gridCol w="2297508"/>
                <a:gridCol w="2869750"/>
              </a:tblGrid>
              <a:tr h="325348">
                <a:tc>
                  <a:txBody>
                    <a:bodyPr/>
                    <a:lstStyle/>
                    <a:p>
                      <a:pPr algn="ctr"/>
                      <a:endParaRPr lang="zh-CN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模型所需参数数目（个）</a:t>
                      </a:r>
                      <a:endParaRPr lang="zh-CN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单帧计算所需算力（</a:t>
                      </a:r>
                      <a:r>
                        <a:rPr lang="en-US" altLang="zh-CN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Ops</a:t>
                      </a:r>
                      <a:r>
                        <a:rPr lang="zh-CN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）</a:t>
                      </a:r>
                      <a:endParaRPr lang="zh-CN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命令词识别准确率</a:t>
                      </a:r>
                      <a:r>
                        <a:rPr lang="en-US" altLang="zh-CN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@SNR&gt;</a:t>
                      </a:r>
                      <a:r>
                        <a:rPr lang="en-US" altLang="zh-CN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10dB</a:t>
                      </a:r>
                      <a:r>
                        <a:rPr lang="en-US" altLang="zh-CN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 </a:t>
                      </a:r>
                      <a:r>
                        <a:rPr lang="en-US" altLang="zh-CN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 </a:t>
                      </a:r>
                      <a:endParaRPr lang="en-US" altLang="zh-CN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命令词识别准确率 </a:t>
                      </a:r>
                      <a:r>
                        <a:rPr lang="en-US" altLang="zh-CN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@10dB&gt;SNR&gt;5dB</a:t>
                      </a:r>
                      <a:endParaRPr lang="en-US" altLang="zh-CN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389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21B9CE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HONN</a:t>
                      </a:r>
                      <a:endParaRPr lang="zh-CN" altLang="en-US" sz="1200" b="1" dirty="0">
                        <a:solidFill>
                          <a:srgbClr val="21B9CE"/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21B9CE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350K</a:t>
                      </a:r>
                      <a:endParaRPr lang="zh-CN" altLang="en-US" sz="1200" b="1" dirty="0">
                        <a:solidFill>
                          <a:srgbClr val="21B9CE"/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21B9CE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106M</a:t>
                      </a:r>
                      <a:endParaRPr lang="zh-CN" altLang="en-US" sz="1200" b="1" dirty="0">
                        <a:solidFill>
                          <a:srgbClr val="21B9CE"/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21B9CE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99.0%</a:t>
                      </a:r>
                      <a:endParaRPr lang="zh-CN" altLang="en-US" sz="1200" b="1" dirty="0">
                        <a:solidFill>
                          <a:srgbClr val="21B9CE"/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21B9CE"/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98.5%</a:t>
                      </a:r>
                      <a:endParaRPr lang="zh-CN" altLang="en-US" sz="1200" b="1" dirty="0">
                        <a:solidFill>
                          <a:srgbClr val="21B9CE"/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389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DNN</a:t>
                      </a:r>
                      <a:endParaRPr lang="zh-CN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1600K</a:t>
                      </a:r>
                      <a:endParaRPr lang="zh-CN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3.2M</a:t>
                      </a:r>
                      <a:endParaRPr lang="zh-CN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97%</a:t>
                      </a:r>
                      <a:endParaRPr lang="zh-CN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楷体" panose="02010609060101010101" pitchFamily="49" charset="-122"/>
                          <a:sym typeface="Arial" panose="020B0604020202020204" pitchFamily="34" charset="0"/>
                        </a:rPr>
                        <a:t>86.5%</a:t>
                      </a:r>
                      <a:endParaRPr lang="zh-CN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楷体" panose="02010609060101010101" pitchFamily="49" charset="-122"/>
                        <a:sym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3" name="矩形 32"/>
          <p:cNvSpPr/>
          <p:nvPr/>
        </p:nvSpPr>
        <p:spPr>
          <a:xfrm>
            <a:off x="515938" y="5195727"/>
            <a:ext cx="1118433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500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探境的高计算强度神经网络（</a:t>
            </a:r>
            <a:r>
              <a:rPr lang="en-US" altLang="zh-CN" sz="1500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HONN</a:t>
            </a:r>
            <a:r>
              <a:rPr lang="zh-CN" altLang="en-US" sz="1500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）模型复杂度高于业内普遍的深度神经网络（</a:t>
            </a:r>
            <a:r>
              <a:rPr lang="en-US" altLang="zh-CN" sz="1500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DNN</a:t>
            </a:r>
            <a:r>
              <a:rPr lang="zh-CN" altLang="en-US" sz="1500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）近</a:t>
            </a:r>
            <a:r>
              <a:rPr lang="en-US" altLang="zh-CN" sz="1500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4</a:t>
            </a:r>
            <a:r>
              <a:rPr lang="zh-CN" altLang="en-US" sz="1500" b="1" dirty="0">
                <a:solidFill>
                  <a:schemeClr val="bg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倍，而所需存储更低，识别率更准确</a:t>
            </a:r>
            <a:endParaRPr lang="zh-CN" altLang="en-US" sz="1500" b="1" dirty="0">
              <a:solidFill>
                <a:schemeClr val="bg1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4" name="Rectangle 6"/>
          <p:cNvSpPr/>
          <p:nvPr/>
        </p:nvSpPr>
        <p:spPr>
          <a:xfrm>
            <a:off x="3222480" y="1292684"/>
            <a:ext cx="2131266" cy="512599"/>
          </a:xfrm>
          <a:prstGeom prst="roundRect">
            <a:avLst/>
          </a:prstGeom>
          <a:noFill/>
          <a:ln>
            <a:solidFill>
              <a:srgbClr val="21B9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回声消除</a:t>
            </a:r>
            <a:r>
              <a:rPr lang="en-US" altLang="zh-CN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AEC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5" name="Rectangle 39"/>
          <p:cNvSpPr/>
          <p:nvPr/>
        </p:nvSpPr>
        <p:spPr>
          <a:xfrm>
            <a:off x="3222480" y="2041730"/>
            <a:ext cx="2131266" cy="512599"/>
          </a:xfrm>
          <a:prstGeom prst="roundRect">
            <a:avLst/>
          </a:prstGeom>
          <a:noFill/>
          <a:ln>
            <a:solidFill>
              <a:srgbClr val="21B9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麦克风阵列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6" name="Rectangle 33"/>
          <p:cNvSpPr/>
          <p:nvPr/>
        </p:nvSpPr>
        <p:spPr>
          <a:xfrm>
            <a:off x="3222480" y="2790753"/>
            <a:ext cx="2131266" cy="507249"/>
          </a:xfrm>
          <a:prstGeom prst="roundRect">
            <a:avLst/>
          </a:prstGeom>
          <a:noFill/>
          <a:ln>
            <a:solidFill>
              <a:srgbClr val="21B9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语音唤醒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8" name="Rectangle 18"/>
          <p:cNvSpPr/>
          <p:nvPr/>
        </p:nvSpPr>
        <p:spPr>
          <a:xfrm>
            <a:off x="695325" y="2052305"/>
            <a:ext cx="2160315" cy="512599"/>
          </a:xfrm>
          <a:prstGeom prst="roundRect">
            <a:avLst/>
          </a:prstGeom>
          <a:noFill/>
          <a:ln>
            <a:solidFill>
              <a:srgbClr val="21B9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AI</a:t>
            </a: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降噪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  <a:p>
            <a:pPr lvl="0" algn="ctr"/>
            <a:r>
              <a:rPr lang="zh-CN" altLang="en-US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（基于深度学习的降噪算法）</a:t>
            </a:r>
            <a:endParaRPr lang="en-US" altLang="zh-CN" sz="100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cxnSp>
        <p:nvCxnSpPr>
          <p:cNvPr id="39" name="直接箭头连接符 38"/>
          <p:cNvCxnSpPr/>
          <p:nvPr/>
        </p:nvCxnSpPr>
        <p:spPr>
          <a:xfrm>
            <a:off x="4255952" y="1805283"/>
            <a:ext cx="0" cy="236447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72"/>
          <p:cNvCxnSpPr>
            <a:stCxn id="35" idx="1"/>
          </p:cNvCxnSpPr>
          <p:nvPr/>
        </p:nvCxnSpPr>
        <p:spPr>
          <a:xfrm flipH="1">
            <a:off x="2853950" y="2298030"/>
            <a:ext cx="368530" cy="0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21"/>
          <p:cNvSpPr/>
          <p:nvPr/>
        </p:nvSpPr>
        <p:spPr>
          <a:xfrm>
            <a:off x="3222480" y="4294239"/>
            <a:ext cx="2131266" cy="512599"/>
          </a:xfrm>
          <a:prstGeom prst="roundRect">
            <a:avLst/>
          </a:prstGeom>
          <a:noFill/>
          <a:ln>
            <a:solidFill>
              <a:srgbClr val="21B9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文字</a:t>
            </a:r>
            <a:r>
              <a:rPr lang="zh-CN" altLang="en-US" sz="14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识别结果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2" name="Rectangle 24"/>
          <p:cNvSpPr/>
          <p:nvPr/>
        </p:nvSpPr>
        <p:spPr>
          <a:xfrm>
            <a:off x="695324" y="3550118"/>
            <a:ext cx="2210626" cy="502302"/>
          </a:xfrm>
          <a:prstGeom prst="roundRect">
            <a:avLst/>
          </a:prstGeom>
          <a:noFill/>
          <a:ln>
            <a:solidFill>
              <a:srgbClr val="21B9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自然语言理解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3" name="Rectangle 27"/>
          <p:cNvSpPr/>
          <p:nvPr/>
        </p:nvSpPr>
        <p:spPr>
          <a:xfrm>
            <a:off x="3222480" y="3539821"/>
            <a:ext cx="2131266" cy="512599"/>
          </a:xfrm>
          <a:prstGeom prst="roundRect">
            <a:avLst/>
          </a:prstGeom>
          <a:noFill/>
          <a:ln>
            <a:solidFill>
              <a:srgbClr val="21B9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语音识别</a:t>
            </a:r>
            <a:r>
              <a:rPr lang="en-US" altLang="zh-CN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ASR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4" name="Rectangle 50"/>
          <p:cNvSpPr/>
          <p:nvPr/>
        </p:nvSpPr>
        <p:spPr>
          <a:xfrm>
            <a:off x="695324" y="4294239"/>
            <a:ext cx="2374572" cy="512599"/>
          </a:xfrm>
          <a:prstGeom prst="roundRect">
            <a:avLst/>
          </a:prstGeom>
          <a:noFill/>
          <a:ln>
            <a:solidFill>
              <a:srgbClr val="21B9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意图</a:t>
            </a:r>
            <a:r>
              <a:rPr lang="zh-CN" altLang="en-US" sz="14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识别结果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5" name="object 16"/>
          <p:cNvSpPr/>
          <p:nvPr/>
        </p:nvSpPr>
        <p:spPr>
          <a:xfrm>
            <a:off x="1245822" y="1285618"/>
            <a:ext cx="468941" cy="538902"/>
          </a:xfrm>
          <a:custGeom>
            <a:avLst/>
            <a:gdLst/>
            <a:ahLst/>
            <a:cxnLst/>
            <a:rect l="l" t="t" r="r" b="b"/>
            <a:pathLst>
              <a:path w="216534" h="331469">
                <a:moveTo>
                  <a:pt x="189136" y="0"/>
                </a:moveTo>
                <a:lnTo>
                  <a:pt x="175768" y="5034"/>
                </a:lnTo>
                <a:lnTo>
                  <a:pt x="63119" y="89108"/>
                </a:lnTo>
                <a:lnTo>
                  <a:pt x="29082" y="89108"/>
                </a:lnTo>
                <a:lnTo>
                  <a:pt x="17787" y="91382"/>
                </a:lnTo>
                <a:lnTo>
                  <a:pt x="8540" y="97585"/>
                </a:lnTo>
                <a:lnTo>
                  <a:pt x="2293" y="106789"/>
                </a:lnTo>
                <a:lnTo>
                  <a:pt x="0" y="118064"/>
                </a:lnTo>
                <a:lnTo>
                  <a:pt x="0" y="212806"/>
                </a:lnTo>
                <a:lnTo>
                  <a:pt x="2293" y="224081"/>
                </a:lnTo>
                <a:lnTo>
                  <a:pt x="8540" y="233285"/>
                </a:lnTo>
                <a:lnTo>
                  <a:pt x="17787" y="239488"/>
                </a:lnTo>
                <a:lnTo>
                  <a:pt x="29082" y="241762"/>
                </a:lnTo>
                <a:lnTo>
                  <a:pt x="63119" y="241762"/>
                </a:lnTo>
                <a:lnTo>
                  <a:pt x="175768" y="325836"/>
                </a:lnTo>
                <a:lnTo>
                  <a:pt x="189136" y="330870"/>
                </a:lnTo>
                <a:lnTo>
                  <a:pt x="202326" y="328106"/>
                </a:lnTo>
                <a:lnTo>
                  <a:pt x="212397" y="319031"/>
                </a:lnTo>
                <a:lnTo>
                  <a:pt x="216407" y="305135"/>
                </a:lnTo>
                <a:lnTo>
                  <a:pt x="216407" y="25735"/>
                </a:lnTo>
                <a:lnTo>
                  <a:pt x="212397" y="11838"/>
                </a:lnTo>
                <a:lnTo>
                  <a:pt x="202326" y="2764"/>
                </a:lnTo>
                <a:lnTo>
                  <a:pt x="189136" y="0"/>
                </a:lnTo>
                <a:close/>
              </a:path>
            </a:pathLst>
          </a:custGeom>
          <a:solidFill>
            <a:srgbClr val="E6F7FA"/>
          </a:solidFill>
          <a:ln w="25400">
            <a:solidFill>
              <a:srgbClr val="02AA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sz="1400" b="1">
              <a:solidFill>
                <a:schemeClr val="lt1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1752310" y="1262935"/>
            <a:ext cx="4154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800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0110</a:t>
            </a:r>
            <a:endParaRPr kumimoji="1" lang="en-US" altLang="zh-CN" sz="800" dirty="0">
              <a:solidFill>
                <a:srgbClr val="21B9CE"/>
              </a:solidFill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r>
              <a:rPr kumimoji="1" lang="en-US" altLang="zh-CN" sz="800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1001</a:t>
            </a:r>
            <a:endParaRPr kumimoji="1" lang="en-US" altLang="zh-CN" sz="800" dirty="0">
              <a:solidFill>
                <a:srgbClr val="21B9CE"/>
              </a:solidFill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r>
              <a:rPr kumimoji="1" lang="en-US" altLang="zh-CN" sz="800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0110</a:t>
            </a:r>
            <a:endParaRPr kumimoji="1" lang="en-US" altLang="zh-CN" sz="800" dirty="0">
              <a:solidFill>
                <a:srgbClr val="21B9CE"/>
              </a:solidFill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r>
              <a:rPr kumimoji="1" lang="en-US" altLang="zh-CN" sz="800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rPr>
              <a:t>1001</a:t>
            </a:r>
            <a:endParaRPr kumimoji="1" lang="zh-CN" altLang="en-US" sz="800" dirty="0">
              <a:solidFill>
                <a:srgbClr val="21B9CE"/>
              </a:solidFill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endParaRPr kumimoji="1" lang="zh-CN" altLang="en-US" sz="800" dirty="0">
              <a:solidFill>
                <a:srgbClr val="21B9CE"/>
              </a:solidFill>
              <a:latin typeface="Arial" panose="020B0604020202020204" pitchFamily="34" charset="0"/>
              <a:ea typeface="楷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3" name="直接箭头连接符 72"/>
          <p:cNvCxnSpPr>
            <a:endCxn id="34" idx="1"/>
          </p:cNvCxnSpPr>
          <p:nvPr/>
        </p:nvCxnSpPr>
        <p:spPr>
          <a:xfrm>
            <a:off x="2378570" y="1548983"/>
            <a:ext cx="843910" cy="1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任意形状 53"/>
          <p:cNvSpPr/>
          <p:nvPr/>
        </p:nvSpPr>
        <p:spPr>
          <a:xfrm rot="16200000">
            <a:off x="5410640" y="2682854"/>
            <a:ext cx="3521219" cy="704061"/>
          </a:xfrm>
          <a:custGeom>
            <a:avLst/>
            <a:gdLst>
              <a:gd name="connsiteX0" fmla="*/ 0 w 3521219"/>
              <a:gd name="connsiteY0" fmla="*/ 704061 h 704061"/>
              <a:gd name="connsiteX1" fmla="*/ 1263691 w 3521219"/>
              <a:gd name="connsiteY1" fmla="*/ 0 h 704061"/>
              <a:gd name="connsiteX2" fmla="*/ 1265402 w 3521219"/>
              <a:gd name="connsiteY2" fmla="*/ 3153 h 704061"/>
              <a:gd name="connsiteX3" fmla="*/ 1761431 w 3521219"/>
              <a:gd name="connsiteY3" fmla="*/ 266890 h 704061"/>
              <a:gd name="connsiteX4" fmla="*/ 2257459 w 3521219"/>
              <a:gd name="connsiteY4" fmla="*/ 3153 h 704061"/>
              <a:gd name="connsiteX5" fmla="*/ 2258789 w 3521219"/>
              <a:gd name="connsiteY5" fmla="*/ 703 h 704061"/>
              <a:gd name="connsiteX6" fmla="*/ 3521219 w 3521219"/>
              <a:gd name="connsiteY6" fmla="*/ 704061 h 70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21219" h="704061">
                <a:moveTo>
                  <a:pt x="0" y="704061"/>
                </a:moveTo>
                <a:lnTo>
                  <a:pt x="1263691" y="0"/>
                </a:lnTo>
                <a:lnTo>
                  <a:pt x="1265402" y="3153"/>
                </a:lnTo>
                <a:cubicBezTo>
                  <a:pt x="1372901" y="162273"/>
                  <a:pt x="1554949" y="266890"/>
                  <a:pt x="1761431" y="266890"/>
                </a:cubicBezTo>
                <a:cubicBezTo>
                  <a:pt x="1967913" y="266890"/>
                  <a:pt x="2149960" y="162273"/>
                  <a:pt x="2257459" y="3153"/>
                </a:cubicBezTo>
                <a:lnTo>
                  <a:pt x="2258789" y="703"/>
                </a:lnTo>
                <a:lnTo>
                  <a:pt x="3521219" y="704061"/>
                </a:lnTo>
                <a:close/>
              </a:path>
            </a:pathLst>
          </a:custGeom>
          <a:gradFill flip="none" rotWithShape="1">
            <a:gsLst>
              <a:gs pos="12000">
                <a:schemeClr val="bg1">
                  <a:alpha val="50000"/>
                </a:schemeClr>
              </a:gs>
              <a:gs pos="100000">
                <a:srgbClr val="0386C1">
                  <a:alpha val="4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55" name="任意形状 54"/>
          <p:cNvSpPr/>
          <p:nvPr/>
        </p:nvSpPr>
        <p:spPr>
          <a:xfrm rot="5400000">
            <a:off x="4043876" y="2682855"/>
            <a:ext cx="3521219" cy="704061"/>
          </a:xfrm>
          <a:custGeom>
            <a:avLst/>
            <a:gdLst>
              <a:gd name="connsiteX0" fmla="*/ 0 w 3521219"/>
              <a:gd name="connsiteY0" fmla="*/ 704061 h 704061"/>
              <a:gd name="connsiteX1" fmla="*/ 1263691 w 3521219"/>
              <a:gd name="connsiteY1" fmla="*/ 0 h 704061"/>
              <a:gd name="connsiteX2" fmla="*/ 1265402 w 3521219"/>
              <a:gd name="connsiteY2" fmla="*/ 3153 h 704061"/>
              <a:gd name="connsiteX3" fmla="*/ 1761431 w 3521219"/>
              <a:gd name="connsiteY3" fmla="*/ 266890 h 704061"/>
              <a:gd name="connsiteX4" fmla="*/ 2257459 w 3521219"/>
              <a:gd name="connsiteY4" fmla="*/ 3153 h 704061"/>
              <a:gd name="connsiteX5" fmla="*/ 2258789 w 3521219"/>
              <a:gd name="connsiteY5" fmla="*/ 703 h 704061"/>
              <a:gd name="connsiteX6" fmla="*/ 3521219 w 3521219"/>
              <a:gd name="connsiteY6" fmla="*/ 704061 h 70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21219" h="704061">
                <a:moveTo>
                  <a:pt x="0" y="704061"/>
                </a:moveTo>
                <a:lnTo>
                  <a:pt x="1263691" y="0"/>
                </a:lnTo>
                <a:lnTo>
                  <a:pt x="1265402" y="3153"/>
                </a:lnTo>
                <a:cubicBezTo>
                  <a:pt x="1372901" y="162273"/>
                  <a:pt x="1554949" y="266890"/>
                  <a:pt x="1761431" y="266890"/>
                </a:cubicBezTo>
                <a:cubicBezTo>
                  <a:pt x="1967913" y="266890"/>
                  <a:pt x="2149960" y="162273"/>
                  <a:pt x="2257459" y="3153"/>
                </a:cubicBezTo>
                <a:lnTo>
                  <a:pt x="2258789" y="703"/>
                </a:lnTo>
                <a:lnTo>
                  <a:pt x="3521219" y="704061"/>
                </a:lnTo>
                <a:close/>
              </a:path>
            </a:pathLst>
          </a:custGeom>
          <a:gradFill flip="none" rotWithShape="1">
            <a:gsLst>
              <a:gs pos="18000">
                <a:schemeClr val="bg1"/>
              </a:gs>
              <a:gs pos="100000">
                <a:schemeClr val="bg1">
                  <a:lumMod val="75000"/>
                  <a:alpha val="5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pic>
        <p:nvPicPr>
          <p:cNvPr id="56" name="图片 5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57" name="直线连接符 56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72"/>
          <p:cNvCxnSpPr/>
          <p:nvPr/>
        </p:nvCxnSpPr>
        <p:spPr>
          <a:xfrm>
            <a:off x="4255952" y="2564904"/>
            <a:ext cx="0" cy="236469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33"/>
          <p:cNvSpPr/>
          <p:nvPr/>
        </p:nvSpPr>
        <p:spPr>
          <a:xfrm>
            <a:off x="695324" y="2780928"/>
            <a:ext cx="2158237" cy="512599"/>
          </a:xfrm>
          <a:prstGeom prst="roundRect">
            <a:avLst/>
          </a:prstGeom>
          <a:noFill/>
          <a:ln>
            <a:solidFill>
              <a:srgbClr val="21B9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altLang="zh-CN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VAD</a:t>
            </a:r>
            <a:endParaRPr lang="en-US" altLang="zh-CN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cxnSp>
        <p:nvCxnSpPr>
          <p:cNvPr id="64" name="直接箭头连接符 72"/>
          <p:cNvCxnSpPr/>
          <p:nvPr/>
        </p:nvCxnSpPr>
        <p:spPr>
          <a:xfrm>
            <a:off x="1919536" y="2564904"/>
            <a:ext cx="0" cy="236469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箭头连接符 72"/>
          <p:cNvCxnSpPr/>
          <p:nvPr/>
        </p:nvCxnSpPr>
        <p:spPr>
          <a:xfrm>
            <a:off x="2927648" y="3068960"/>
            <a:ext cx="251293" cy="0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箭头连接符 72"/>
          <p:cNvCxnSpPr/>
          <p:nvPr/>
        </p:nvCxnSpPr>
        <p:spPr>
          <a:xfrm>
            <a:off x="4255952" y="4056627"/>
            <a:ext cx="0" cy="236469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箭头连接符 72"/>
          <p:cNvCxnSpPr/>
          <p:nvPr/>
        </p:nvCxnSpPr>
        <p:spPr>
          <a:xfrm flipH="1" flipV="1">
            <a:off x="2879757" y="3861048"/>
            <a:ext cx="767971" cy="432048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38"/>
          <p:cNvCxnSpPr/>
          <p:nvPr/>
        </p:nvCxnSpPr>
        <p:spPr>
          <a:xfrm>
            <a:off x="1919536" y="4056649"/>
            <a:ext cx="0" cy="236447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箭头连接符 72"/>
          <p:cNvCxnSpPr/>
          <p:nvPr/>
        </p:nvCxnSpPr>
        <p:spPr>
          <a:xfrm>
            <a:off x="4255952" y="3336547"/>
            <a:ext cx="0" cy="236469"/>
          </a:xfrm>
          <a:prstGeom prst="straightConnector1">
            <a:avLst/>
          </a:prstGeom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3000">
                  <a:srgbClr val="21B9CE"/>
                </a:gs>
              </a:gsLst>
              <a:lin ang="0" scaled="1"/>
              <a:tileRect/>
            </a:gra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形状 1"/>
          <p:cNvSpPr/>
          <p:nvPr/>
        </p:nvSpPr>
        <p:spPr>
          <a:xfrm rot="10800000">
            <a:off x="1" y="790513"/>
            <a:ext cx="12191999" cy="5899005"/>
          </a:xfrm>
          <a:custGeom>
            <a:avLst/>
            <a:gdLst>
              <a:gd name="connsiteX0" fmla="*/ 11160125 w 11160125"/>
              <a:gd name="connsiteY0" fmla="*/ 5341563 h 5341563"/>
              <a:gd name="connsiteX1" fmla="*/ 11160122 w 11160125"/>
              <a:gd name="connsiteY1" fmla="*/ 5341563 h 5341563"/>
              <a:gd name="connsiteX2" fmla="*/ 10825950 w 11160125"/>
              <a:gd name="connsiteY2" fmla="*/ 5245944 h 5341563"/>
              <a:gd name="connsiteX3" fmla="*/ 5569496 w 11160125"/>
              <a:gd name="connsiteY3" fmla="*/ 3571430 h 5341563"/>
              <a:gd name="connsiteX4" fmla="*/ 336444 w 11160125"/>
              <a:gd name="connsiteY4" fmla="*/ 5246181 h 5341563"/>
              <a:gd name="connsiteX5" fmla="*/ 3 w 11160125"/>
              <a:gd name="connsiteY5" fmla="*/ 5341563 h 5341563"/>
              <a:gd name="connsiteX6" fmla="*/ 0 w 11160125"/>
              <a:gd name="connsiteY6" fmla="*/ 5341563 h 5341563"/>
              <a:gd name="connsiteX7" fmla="*/ 0 w 11160125"/>
              <a:gd name="connsiteY7" fmla="*/ 0 h 5341563"/>
              <a:gd name="connsiteX8" fmla="*/ 4 w 11160125"/>
              <a:gd name="connsiteY8" fmla="*/ 0 h 5341563"/>
              <a:gd name="connsiteX9" fmla="*/ 334175 w 11160125"/>
              <a:gd name="connsiteY9" fmla="*/ 95619 h 5341563"/>
              <a:gd name="connsiteX10" fmla="*/ 5590629 w 11160125"/>
              <a:gd name="connsiteY10" fmla="*/ 1770133 h 5341563"/>
              <a:gd name="connsiteX11" fmla="*/ 10823681 w 11160125"/>
              <a:gd name="connsiteY11" fmla="*/ 95382 h 5341563"/>
              <a:gd name="connsiteX12" fmla="*/ 11160121 w 11160125"/>
              <a:gd name="connsiteY12" fmla="*/ 0 h 5341563"/>
              <a:gd name="connsiteX13" fmla="*/ 11160125 w 11160125"/>
              <a:gd name="connsiteY13" fmla="*/ 0 h 534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160125" h="5341563">
                <a:moveTo>
                  <a:pt x="11160125" y="5341563"/>
                </a:moveTo>
                <a:lnTo>
                  <a:pt x="11160122" y="5341563"/>
                </a:lnTo>
                <a:lnTo>
                  <a:pt x="10825950" y="5245944"/>
                </a:lnTo>
                <a:cubicBezTo>
                  <a:pt x="9214019" y="4728312"/>
                  <a:pt x="8422186" y="3652254"/>
                  <a:pt x="5569496" y="3571430"/>
                </a:cubicBezTo>
                <a:cubicBezTo>
                  <a:pt x="2640093" y="3672529"/>
                  <a:pt x="1952121" y="4730847"/>
                  <a:pt x="336444" y="5246181"/>
                </a:cubicBezTo>
                <a:lnTo>
                  <a:pt x="3" y="5341563"/>
                </a:lnTo>
                <a:lnTo>
                  <a:pt x="0" y="5341563"/>
                </a:lnTo>
                <a:lnTo>
                  <a:pt x="0" y="0"/>
                </a:lnTo>
                <a:lnTo>
                  <a:pt x="4" y="0"/>
                </a:lnTo>
                <a:lnTo>
                  <a:pt x="334175" y="95619"/>
                </a:lnTo>
                <a:cubicBezTo>
                  <a:pt x="1946106" y="613251"/>
                  <a:pt x="2737939" y="1689309"/>
                  <a:pt x="5590629" y="1770133"/>
                </a:cubicBezTo>
                <a:cubicBezTo>
                  <a:pt x="8520031" y="1669034"/>
                  <a:pt x="9208004" y="610717"/>
                  <a:pt x="10823681" y="95382"/>
                </a:cubicBezTo>
                <a:lnTo>
                  <a:pt x="11160121" y="0"/>
                </a:lnTo>
                <a:lnTo>
                  <a:pt x="11160125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/>
              </a:gs>
              <a:gs pos="50000">
                <a:srgbClr val="0386C1">
                  <a:alpha val="8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3" name="object 6"/>
          <p:cNvSpPr/>
          <p:nvPr/>
        </p:nvSpPr>
        <p:spPr>
          <a:xfrm>
            <a:off x="5197458" y="2849667"/>
            <a:ext cx="1797088" cy="1797593"/>
          </a:xfrm>
          <a:custGeom>
            <a:avLst/>
            <a:gdLst/>
            <a:ahLst/>
            <a:cxnLst/>
            <a:rect l="l" t="t" r="r" b="b"/>
            <a:pathLst>
              <a:path w="4517390" h="4518660">
                <a:moveTo>
                  <a:pt x="2258567" y="0"/>
                </a:moveTo>
                <a:lnTo>
                  <a:pt x="2210089" y="510"/>
                </a:lnTo>
                <a:lnTo>
                  <a:pt x="2161860" y="2033"/>
                </a:lnTo>
                <a:lnTo>
                  <a:pt x="2113890" y="4560"/>
                </a:lnTo>
                <a:lnTo>
                  <a:pt x="2066189" y="8080"/>
                </a:lnTo>
                <a:lnTo>
                  <a:pt x="2018769" y="12583"/>
                </a:lnTo>
                <a:lnTo>
                  <a:pt x="1971638" y="18059"/>
                </a:lnTo>
                <a:lnTo>
                  <a:pt x="1924808" y="24497"/>
                </a:lnTo>
                <a:lnTo>
                  <a:pt x="1878288" y="31887"/>
                </a:lnTo>
                <a:lnTo>
                  <a:pt x="1832089" y="40220"/>
                </a:lnTo>
                <a:lnTo>
                  <a:pt x="1786220" y="49485"/>
                </a:lnTo>
                <a:lnTo>
                  <a:pt x="1740692" y="59671"/>
                </a:lnTo>
                <a:lnTo>
                  <a:pt x="1695515" y="70769"/>
                </a:lnTo>
                <a:lnTo>
                  <a:pt x="1650700" y="82768"/>
                </a:lnTo>
                <a:lnTo>
                  <a:pt x="1606255" y="95659"/>
                </a:lnTo>
                <a:lnTo>
                  <a:pt x="1562193" y="109430"/>
                </a:lnTo>
                <a:lnTo>
                  <a:pt x="1518522" y="124073"/>
                </a:lnTo>
                <a:lnTo>
                  <a:pt x="1475254" y="139576"/>
                </a:lnTo>
                <a:lnTo>
                  <a:pt x="1432397" y="155929"/>
                </a:lnTo>
                <a:lnTo>
                  <a:pt x="1389963" y="173123"/>
                </a:lnTo>
                <a:lnTo>
                  <a:pt x="1347962" y="191147"/>
                </a:lnTo>
                <a:lnTo>
                  <a:pt x="1306403" y="209990"/>
                </a:lnTo>
                <a:lnTo>
                  <a:pt x="1265297" y="229644"/>
                </a:lnTo>
                <a:lnTo>
                  <a:pt x="1224654" y="250096"/>
                </a:lnTo>
                <a:lnTo>
                  <a:pt x="1184485" y="271339"/>
                </a:lnTo>
                <a:lnTo>
                  <a:pt x="1144799" y="293360"/>
                </a:lnTo>
                <a:lnTo>
                  <a:pt x="1105607" y="316150"/>
                </a:lnTo>
                <a:lnTo>
                  <a:pt x="1066919" y="339699"/>
                </a:lnTo>
                <a:lnTo>
                  <a:pt x="1028744" y="363996"/>
                </a:lnTo>
                <a:lnTo>
                  <a:pt x="991094" y="389032"/>
                </a:lnTo>
                <a:lnTo>
                  <a:pt x="953978" y="414796"/>
                </a:lnTo>
                <a:lnTo>
                  <a:pt x="917407" y="441278"/>
                </a:lnTo>
                <a:lnTo>
                  <a:pt x="881391" y="468467"/>
                </a:lnTo>
                <a:lnTo>
                  <a:pt x="845939" y="496355"/>
                </a:lnTo>
                <a:lnTo>
                  <a:pt x="811063" y="524929"/>
                </a:lnTo>
                <a:lnTo>
                  <a:pt x="776772" y="554181"/>
                </a:lnTo>
                <a:lnTo>
                  <a:pt x="743077" y="584100"/>
                </a:lnTo>
                <a:lnTo>
                  <a:pt x="709987" y="614676"/>
                </a:lnTo>
                <a:lnTo>
                  <a:pt x="677514" y="645898"/>
                </a:lnTo>
                <a:lnTo>
                  <a:pt x="645666" y="677757"/>
                </a:lnTo>
                <a:lnTo>
                  <a:pt x="614454" y="710242"/>
                </a:lnTo>
                <a:lnTo>
                  <a:pt x="583889" y="743344"/>
                </a:lnTo>
                <a:lnTo>
                  <a:pt x="553981" y="777051"/>
                </a:lnTo>
                <a:lnTo>
                  <a:pt x="524739" y="811353"/>
                </a:lnTo>
                <a:lnTo>
                  <a:pt x="496175" y="846242"/>
                </a:lnTo>
                <a:lnTo>
                  <a:pt x="468297" y="881705"/>
                </a:lnTo>
                <a:lnTo>
                  <a:pt x="441117" y="917734"/>
                </a:lnTo>
                <a:lnTo>
                  <a:pt x="414645" y="954318"/>
                </a:lnTo>
                <a:lnTo>
                  <a:pt x="388890" y="991446"/>
                </a:lnTo>
                <a:lnTo>
                  <a:pt x="363863" y="1029109"/>
                </a:lnTo>
                <a:lnTo>
                  <a:pt x="339575" y="1067296"/>
                </a:lnTo>
                <a:lnTo>
                  <a:pt x="316034" y="1105998"/>
                </a:lnTo>
                <a:lnTo>
                  <a:pt x="293252" y="1145203"/>
                </a:lnTo>
                <a:lnTo>
                  <a:pt x="271239" y="1184902"/>
                </a:lnTo>
                <a:lnTo>
                  <a:pt x="250005" y="1225085"/>
                </a:lnTo>
                <a:lnTo>
                  <a:pt x="229559" y="1265741"/>
                </a:lnTo>
                <a:lnTo>
                  <a:pt x="209913" y="1306861"/>
                </a:lnTo>
                <a:lnTo>
                  <a:pt x="191076" y="1348434"/>
                </a:lnTo>
                <a:lnTo>
                  <a:pt x="173059" y="1390449"/>
                </a:lnTo>
                <a:lnTo>
                  <a:pt x="155872" y="1432897"/>
                </a:lnTo>
                <a:lnTo>
                  <a:pt x="139524" y="1475767"/>
                </a:lnTo>
                <a:lnTo>
                  <a:pt x="124027" y="1519050"/>
                </a:lnTo>
                <a:lnTo>
                  <a:pt x="109390" y="1562735"/>
                </a:lnTo>
                <a:lnTo>
                  <a:pt x="95623" y="1606812"/>
                </a:lnTo>
                <a:lnTo>
                  <a:pt x="82738" y="1651270"/>
                </a:lnTo>
                <a:lnTo>
                  <a:pt x="70743" y="1696100"/>
                </a:lnTo>
                <a:lnTo>
                  <a:pt x="59649" y="1741292"/>
                </a:lnTo>
                <a:lnTo>
                  <a:pt x="49466" y="1786834"/>
                </a:lnTo>
                <a:lnTo>
                  <a:pt x="40205" y="1832718"/>
                </a:lnTo>
                <a:lnTo>
                  <a:pt x="31875" y="1878932"/>
                </a:lnTo>
                <a:lnTo>
                  <a:pt x="24488" y="1925466"/>
                </a:lnTo>
                <a:lnTo>
                  <a:pt x="18052" y="1972312"/>
                </a:lnTo>
                <a:lnTo>
                  <a:pt x="12578" y="2019457"/>
                </a:lnTo>
                <a:lnTo>
                  <a:pt x="8077" y="2066892"/>
                </a:lnTo>
                <a:lnTo>
                  <a:pt x="4558" y="2114607"/>
                </a:lnTo>
                <a:lnTo>
                  <a:pt x="2032" y="2162592"/>
                </a:lnTo>
                <a:lnTo>
                  <a:pt x="509" y="2210836"/>
                </a:lnTo>
                <a:lnTo>
                  <a:pt x="0" y="2259329"/>
                </a:lnTo>
                <a:lnTo>
                  <a:pt x="509" y="2307823"/>
                </a:lnTo>
                <a:lnTo>
                  <a:pt x="2032" y="2356067"/>
                </a:lnTo>
                <a:lnTo>
                  <a:pt x="4558" y="2404052"/>
                </a:lnTo>
                <a:lnTo>
                  <a:pt x="8077" y="2451767"/>
                </a:lnTo>
                <a:lnTo>
                  <a:pt x="12578" y="2499202"/>
                </a:lnTo>
                <a:lnTo>
                  <a:pt x="18052" y="2546347"/>
                </a:lnTo>
                <a:lnTo>
                  <a:pt x="24488" y="2593193"/>
                </a:lnTo>
                <a:lnTo>
                  <a:pt x="31875" y="2639727"/>
                </a:lnTo>
                <a:lnTo>
                  <a:pt x="40205" y="2685941"/>
                </a:lnTo>
                <a:lnTo>
                  <a:pt x="49466" y="2731825"/>
                </a:lnTo>
                <a:lnTo>
                  <a:pt x="59649" y="2777367"/>
                </a:lnTo>
                <a:lnTo>
                  <a:pt x="70743" y="2822559"/>
                </a:lnTo>
                <a:lnTo>
                  <a:pt x="82738" y="2867389"/>
                </a:lnTo>
                <a:lnTo>
                  <a:pt x="95623" y="2911847"/>
                </a:lnTo>
                <a:lnTo>
                  <a:pt x="109390" y="2955924"/>
                </a:lnTo>
                <a:lnTo>
                  <a:pt x="124027" y="2999609"/>
                </a:lnTo>
                <a:lnTo>
                  <a:pt x="139524" y="3042892"/>
                </a:lnTo>
                <a:lnTo>
                  <a:pt x="155872" y="3085762"/>
                </a:lnTo>
                <a:lnTo>
                  <a:pt x="173059" y="3128210"/>
                </a:lnTo>
                <a:lnTo>
                  <a:pt x="191076" y="3170225"/>
                </a:lnTo>
                <a:lnTo>
                  <a:pt x="209913" y="3211798"/>
                </a:lnTo>
                <a:lnTo>
                  <a:pt x="229559" y="3252918"/>
                </a:lnTo>
                <a:lnTo>
                  <a:pt x="250005" y="3293574"/>
                </a:lnTo>
                <a:lnTo>
                  <a:pt x="271239" y="3333757"/>
                </a:lnTo>
                <a:lnTo>
                  <a:pt x="293252" y="3373456"/>
                </a:lnTo>
                <a:lnTo>
                  <a:pt x="316034" y="3412661"/>
                </a:lnTo>
                <a:lnTo>
                  <a:pt x="339575" y="3451363"/>
                </a:lnTo>
                <a:lnTo>
                  <a:pt x="363863" y="3489550"/>
                </a:lnTo>
                <a:lnTo>
                  <a:pt x="388890" y="3527213"/>
                </a:lnTo>
                <a:lnTo>
                  <a:pt x="414645" y="3564341"/>
                </a:lnTo>
                <a:lnTo>
                  <a:pt x="441117" y="3600925"/>
                </a:lnTo>
                <a:lnTo>
                  <a:pt x="468297" y="3636954"/>
                </a:lnTo>
                <a:lnTo>
                  <a:pt x="496175" y="3672417"/>
                </a:lnTo>
                <a:lnTo>
                  <a:pt x="524739" y="3707306"/>
                </a:lnTo>
                <a:lnTo>
                  <a:pt x="553981" y="3741608"/>
                </a:lnTo>
                <a:lnTo>
                  <a:pt x="583889" y="3775315"/>
                </a:lnTo>
                <a:lnTo>
                  <a:pt x="614454" y="3808417"/>
                </a:lnTo>
                <a:lnTo>
                  <a:pt x="645666" y="3840902"/>
                </a:lnTo>
                <a:lnTo>
                  <a:pt x="677514" y="3872761"/>
                </a:lnTo>
                <a:lnTo>
                  <a:pt x="709987" y="3903983"/>
                </a:lnTo>
                <a:lnTo>
                  <a:pt x="743077" y="3934559"/>
                </a:lnTo>
                <a:lnTo>
                  <a:pt x="776772" y="3964478"/>
                </a:lnTo>
                <a:lnTo>
                  <a:pt x="811063" y="3993730"/>
                </a:lnTo>
                <a:lnTo>
                  <a:pt x="845939" y="4022304"/>
                </a:lnTo>
                <a:lnTo>
                  <a:pt x="881391" y="4050192"/>
                </a:lnTo>
                <a:lnTo>
                  <a:pt x="917407" y="4077381"/>
                </a:lnTo>
                <a:lnTo>
                  <a:pt x="953978" y="4103863"/>
                </a:lnTo>
                <a:lnTo>
                  <a:pt x="991094" y="4129627"/>
                </a:lnTo>
                <a:lnTo>
                  <a:pt x="1028744" y="4154663"/>
                </a:lnTo>
                <a:lnTo>
                  <a:pt x="1066919" y="4178960"/>
                </a:lnTo>
                <a:lnTo>
                  <a:pt x="1105607" y="4202509"/>
                </a:lnTo>
                <a:lnTo>
                  <a:pt x="1144799" y="4225299"/>
                </a:lnTo>
                <a:lnTo>
                  <a:pt x="1184485" y="4247320"/>
                </a:lnTo>
                <a:lnTo>
                  <a:pt x="1224654" y="4268563"/>
                </a:lnTo>
                <a:lnTo>
                  <a:pt x="1265297" y="4289015"/>
                </a:lnTo>
                <a:lnTo>
                  <a:pt x="1306403" y="4308669"/>
                </a:lnTo>
                <a:lnTo>
                  <a:pt x="1347962" y="4327512"/>
                </a:lnTo>
                <a:lnTo>
                  <a:pt x="1389963" y="4345536"/>
                </a:lnTo>
                <a:lnTo>
                  <a:pt x="1432397" y="4362730"/>
                </a:lnTo>
                <a:lnTo>
                  <a:pt x="1475254" y="4379083"/>
                </a:lnTo>
                <a:lnTo>
                  <a:pt x="1518522" y="4394586"/>
                </a:lnTo>
                <a:lnTo>
                  <a:pt x="1562193" y="4409229"/>
                </a:lnTo>
                <a:lnTo>
                  <a:pt x="1606255" y="4423000"/>
                </a:lnTo>
                <a:lnTo>
                  <a:pt x="1650700" y="4435891"/>
                </a:lnTo>
                <a:lnTo>
                  <a:pt x="1695515" y="4447890"/>
                </a:lnTo>
                <a:lnTo>
                  <a:pt x="1740692" y="4458988"/>
                </a:lnTo>
                <a:lnTo>
                  <a:pt x="1786220" y="4469174"/>
                </a:lnTo>
                <a:lnTo>
                  <a:pt x="1832089" y="4478439"/>
                </a:lnTo>
                <a:lnTo>
                  <a:pt x="1878288" y="4486772"/>
                </a:lnTo>
                <a:lnTo>
                  <a:pt x="1924808" y="4494162"/>
                </a:lnTo>
                <a:lnTo>
                  <a:pt x="1971638" y="4500600"/>
                </a:lnTo>
                <a:lnTo>
                  <a:pt x="2018769" y="4506076"/>
                </a:lnTo>
                <a:lnTo>
                  <a:pt x="2066189" y="4510579"/>
                </a:lnTo>
                <a:lnTo>
                  <a:pt x="2113890" y="4514099"/>
                </a:lnTo>
                <a:lnTo>
                  <a:pt x="2161860" y="4516626"/>
                </a:lnTo>
                <a:lnTo>
                  <a:pt x="2210089" y="4518149"/>
                </a:lnTo>
                <a:lnTo>
                  <a:pt x="2258567" y="4518660"/>
                </a:lnTo>
                <a:lnTo>
                  <a:pt x="2307046" y="4518149"/>
                </a:lnTo>
                <a:lnTo>
                  <a:pt x="2355275" y="4516626"/>
                </a:lnTo>
                <a:lnTo>
                  <a:pt x="2403245" y="4514099"/>
                </a:lnTo>
                <a:lnTo>
                  <a:pt x="2450946" y="4510579"/>
                </a:lnTo>
                <a:lnTo>
                  <a:pt x="2498366" y="4506076"/>
                </a:lnTo>
                <a:lnTo>
                  <a:pt x="2545497" y="4500600"/>
                </a:lnTo>
                <a:lnTo>
                  <a:pt x="2592327" y="4494162"/>
                </a:lnTo>
                <a:lnTo>
                  <a:pt x="2638847" y="4486772"/>
                </a:lnTo>
                <a:lnTo>
                  <a:pt x="2685046" y="4478439"/>
                </a:lnTo>
                <a:lnTo>
                  <a:pt x="2730915" y="4469174"/>
                </a:lnTo>
                <a:lnTo>
                  <a:pt x="2776443" y="4458988"/>
                </a:lnTo>
                <a:lnTo>
                  <a:pt x="2821620" y="4447890"/>
                </a:lnTo>
                <a:lnTo>
                  <a:pt x="2866435" y="4435891"/>
                </a:lnTo>
                <a:lnTo>
                  <a:pt x="2910880" y="4423000"/>
                </a:lnTo>
                <a:lnTo>
                  <a:pt x="2954942" y="4409229"/>
                </a:lnTo>
                <a:lnTo>
                  <a:pt x="2998613" y="4394586"/>
                </a:lnTo>
                <a:lnTo>
                  <a:pt x="3041881" y="4379083"/>
                </a:lnTo>
                <a:lnTo>
                  <a:pt x="3084738" y="4362730"/>
                </a:lnTo>
                <a:lnTo>
                  <a:pt x="3127172" y="4345536"/>
                </a:lnTo>
                <a:lnTo>
                  <a:pt x="3169173" y="4327512"/>
                </a:lnTo>
                <a:lnTo>
                  <a:pt x="3210732" y="4308669"/>
                </a:lnTo>
                <a:lnTo>
                  <a:pt x="3251838" y="4289015"/>
                </a:lnTo>
                <a:lnTo>
                  <a:pt x="3292481" y="4268563"/>
                </a:lnTo>
                <a:lnTo>
                  <a:pt x="3332650" y="4247320"/>
                </a:lnTo>
                <a:lnTo>
                  <a:pt x="3372336" y="4225299"/>
                </a:lnTo>
                <a:lnTo>
                  <a:pt x="3411528" y="4202509"/>
                </a:lnTo>
                <a:lnTo>
                  <a:pt x="3450216" y="4178960"/>
                </a:lnTo>
                <a:lnTo>
                  <a:pt x="3488391" y="4154663"/>
                </a:lnTo>
                <a:lnTo>
                  <a:pt x="3526041" y="4129627"/>
                </a:lnTo>
                <a:lnTo>
                  <a:pt x="3563157" y="4103863"/>
                </a:lnTo>
                <a:lnTo>
                  <a:pt x="3599728" y="4077381"/>
                </a:lnTo>
                <a:lnTo>
                  <a:pt x="3635744" y="4050192"/>
                </a:lnTo>
                <a:lnTo>
                  <a:pt x="3671196" y="4022304"/>
                </a:lnTo>
                <a:lnTo>
                  <a:pt x="3706072" y="3993730"/>
                </a:lnTo>
                <a:lnTo>
                  <a:pt x="3740363" y="3964478"/>
                </a:lnTo>
                <a:lnTo>
                  <a:pt x="3774058" y="3934559"/>
                </a:lnTo>
                <a:lnTo>
                  <a:pt x="3807148" y="3903983"/>
                </a:lnTo>
                <a:lnTo>
                  <a:pt x="3839621" y="3872761"/>
                </a:lnTo>
                <a:lnTo>
                  <a:pt x="3871469" y="3840902"/>
                </a:lnTo>
                <a:lnTo>
                  <a:pt x="3902681" y="3808417"/>
                </a:lnTo>
                <a:lnTo>
                  <a:pt x="3933246" y="3775315"/>
                </a:lnTo>
                <a:lnTo>
                  <a:pt x="3963154" y="3741608"/>
                </a:lnTo>
                <a:lnTo>
                  <a:pt x="3992396" y="3707306"/>
                </a:lnTo>
                <a:lnTo>
                  <a:pt x="4020960" y="3672417"/>
                </a:lnTo>
                <a:lnTo>
                  <a:pt x="4048838" y="3636954"/>
                </a:lnTo>
                <a:lnTo>
                  <a:pt x="4076018" y="3600925"/>
                </a:lnTo>
                <a:lnTo>
                  <a:pt x="4102490" y="3564341"/>
                </a:lnTo>
                <a:lnTo>
                  <a:pt x="4128245" y="3527213"/>
                </a:lnTo>
                <a:lnTo>
                  <a:pt x="4153272" y="3489550"/>
                </a:lnTo>
                <a:lnTo>
                  <a:pt x="4177560" y="3451363"/>
                </a:lnTo>
                <a:lnTo>
                  <a:pt x="4201101" y="3412661"/>
                </a:lnTo>
                <a:lnTo>
                  <a:pt x="4223883" y="3373456"/>
                </a:lnTo>
                <a:lnTo>
                  <a:pt x="4245896" y="3333757"/>
                </a:lnTo>
                <a:lnTo>
                  <a:pt x="4267130" y="3293574"/>
                </a:lnTo>
                <a:lnTo>
                  <a:pt x="4287576" y="3252918"/>
                </a:lnTo>
                <a:lnTo>
                  <a:pt x="4307222" y="3211798"/>
                </a:lnTo>
                <a:lnTo>
                  <a:pt x="4326059" y="3170225"/>
                </a:lnTo>
                <a:lnTo>
                  <a:pt x="4344076" y="3128210"/>
                </a:lnTo>
                <a:lnTo>
                  <a:pt x="4361263" y="3085762"/>
                </a:lnTo>
                <a:lnTo>
                  <a:pt x="4377611" y="3042892"/>
                </a:lnTo>
                <a:lnTo>
                  <a:pt x="4393108" y="2999609"/>
                </a:lnTo>
                <a:lnTo>
                  <a:pt x="4407745" y="2955924"/>
                </a:lnTo>
                <a:lnTo>
                  <a:pt x="4421512" y="2911847"/>
                </a:lnTo>
                <a:lnTo>
                  <a:pt x="4434397" y="2867389"/>
                </a:lnTo>
                <a:lnTo>
                  <a:pt x="4446392" y="2822559"/>
                </a:lnTo>
                <a:lnTo>
                  <a:pt x="4457486" y="2777367"/>
                </a:lnTo>
                <a:lnTo>
                  <a:pt x="4467669" y="2731825"/>
                </a:lnTo>
                <a:lnTo>
                  <a:pt x="4476930" y="2685941"/>
                </a:lnTo>
                <a:lnTo>
                  <a:pt x="4485260" y="2639727"/>
                </a:lnTo>
                <a:lnTo>
                  <a:pt x="4492647" y="2593193"/>
                </a:lnTo>
                <a:lnTo>
                  <a:pt x="4499083" y="2546347"/>
                </a:lnTo>
                <a:lnTo>
                  <a:pt x="4504557" y="2499202"/>
                </a:lnTo>
                <a:lnTo>
                  <a:pt x="4509058" y="2451767"/>
                </a:lnTo>
                <a:lnTo>
                  <a:pt x="4512577" y="2404052"/>
                </a:lnTo>
                <a:lnTo>
                  <a:pt x="4515103" y="2356067"/>
                </a:lnTo>
                <a:lnTo>
                  <a:pt x="4516626" y="2307823"/>
                </a:lnTo>
                <a:lnTo>
                  <a:pt x="4517136" y="2259329"/>
                </a:lnTo>
                <a:lnTo>
                  <a:pt x="4516626" y="2210836"/>
                </a:lnTo>
                <a:lnTo>
                  <a:pt x="4515103" y="2162592"/>
                </a:lnTo>
                <a:lnTo>
                  <a:pt x="4512577" y="2114607"/>
                </a:lnTo>
                <a:lnTo>
                  <a:pt x="4509058" y="2066892"/>
                </a:lnTo>
                <a:lnTo>
                  <a:pt x="4504557" y="2019457"/>
                </a:lnTo>
                <a:lnTo>
                  <a:pt x="4499083" y="1972312"/>
                </a:lnTo>
                <a:lnTo>
                  <a:pt x="4492647" y="1925466"/>
                </a:lnTo>
                <a:lnTo>
                  <a:pt x="4485260" y="1878932"/>
                </a:lnTo>
                <a:lnTo>
                  <a:pt x="4476930" y="1832718"/>
                </a:lnTo>
                <a:lnTo>
                  <a:pt x="4467669" y="1786834"/>
                </a:lnTo>
                <a:lnTo>
                  <a:pt x="4457486" y="1741292"/>
                </a:lnTo>
                <a:lnTo>
                  <a:pt x="4446392" y="1696100"/>
                </a:lnTo>
                <a:lnTo>
                  <a:pt x="4434397" y="1651270"/>
                </a:lnTo>
                <a:lnTo>
                  <a:pt x="4421512" y="1606812"/>
                </a:lnTo>
                <a:lnTo>
                  <a:pt x="4407745" y="1562735"/>
                </a:lnTo>
                <a:lnTo>
                  <a:pt x="4393108" y="1519050"/>
                </a:lnTo>
                <a:lnTo>
                  <a:pt x="4377611" y="1475767"/>
                </a:lnTo>
                <a:lnTo>
                  <a:pt x="4361263" y="1432897"/>
                </a:lnTo>
                <a:lnTo>
                  <a:pt x="4344076" y="1390449"/>
                </a:lnTo>
                <a:lnTo>
                  <a:pt x="4326059" y="1348434"/>
                </a:lnTo>
                <a:lnTo>
                  <a:pt x="4307222" y="1306861"/>
                </a:lnTo>
                <a:lnTo>
                  <a:pt x="4287576" y="1265741"/>
                </a:lnTo>
                <a:lnTo>
                  <a:pt x="4267130" y="1225085"/>
                </a:lnTo>
                <a:lnTo>
                  <a:pt x="4245896" y="1184902"/>
                </a:lnTo>
                <a:lnTo>
                  <a:pt x="4223883" y="1145203"/>
                </a:lnTo>
                <a:lnTo>
                  <a:pt x="4201101" y="1105998"/>
                </a:lnTo>
                <a:lnTo>
                  <a:pt x="4177560" y="1067296"/>
                </a:lnTo>
                <a:lnTo>
                  <a:pt x="4153272" y="1029109"/>
                </a:lnTo>
                <a:lnTo>
                  <a:pt x="4128245" y="991446"/>
                </a:lnTo>
                <a:lnTo>
                  <a:pt x="4102490" y="954318"/>
                </a:lnTo>
                <a:lnTo>
                  <a:pt x="4076018" y="917734"/>
                </a:lnTo>
                <a:lnTo>
                  <a:pt x="4048838" y="881705"/>
                </a:lnTo>
                <a:lnTo>
                  <a:pt x="4020960" y="846242"/>
                </a:lnTo>
                <a:lnTo>
                  <a:pt x="3992396" y="811353"/>
                </a:lnTo>
                <a:lnTo>
                  <a:pt x="3963154" y="777051"/>
                </a:lnTo>
                <a:lnTo>
                  <a:pt x="3933246" y="743344"/>
                </a:lnTo>
                <a:lnTo>
                  <a:pt x="3902681" y="710242"/>
                </a:lnTo>
                <a:lnTo>
                  <a:pt x="3871469" y="677757"/>
                </a:lnTo>
                <a:lnTo>
                  <a:pt x="3839621" y="645898"/>
                </a:lnTo>
                <a:lnTo>
                  <a:pt x="3807148" y="614676"/>
                </a:lnTo>
                <a:lnTo>
                  <a:pt x="3774058" y="584100"/>
                </a:lnTo>
                <a:lnTo>
                  <a:pt x="3740363" y="554181"/>
                </a:lnTo>
                <a:lnTo>
                  <a:pt x="3706072" y="524929"/>
                </a:lnTo>
                <a:lnTo>
                  <a:pt x="3671196" y="496355"/>
                </a:lnTo>
                <a:lnTo>
                  <a:pt x="3635744" y="468467"/>
                </a:lnTo>
                <a:lnTo>
                  <a:pt x="3599728" y="441278"/>
                </a:lnTo>
                <a:lnTo>
                  <a:pt x="3563157" y="414796"/>
                </a:lnTo>
                <a:lnTo>
                  <a:pt x="3526041" y="389032"/>
                </a:lnTo>
                <a:lnTo>
                  <a:pt x="3488391" y="363996"/>
                </a:lnTo>
                <a:lnTo>
                  <a:pt x="3450216" y="339699"/>
                </a:lnTo>
                <a:lnTo>
                  <a:pt x="3411528" y="316150"/>
                </a:lnTo>
                <a:lnTo>
                  <a:pt x="3372336" y="293360"/>
                </a:lnTo>
                <a:lnTo>
                  <a:pt x="3332650" y="271339"/>
                </a:lnTo>
                <a:lnTo>
                  <a:pt x="3292481" y="250096"/>
                </a:lnTo>
                <a:lnTo>
                  <a:pt x="3251838" y="229644"/>
                </a:lnTo>
                <a:lnTo>
                  <a:pt x="3210732" y="209990"/>
                </a:lnTo>
                <a:lnTo>
                  <a:pt x="3169173" y="191147"/>
                </a:lnTo>
                <a:lnTo>
                  <a:pt x="3127172" y="173123"/>
                </a:lnTo>
                <a:lnTo>
                  <a:pt x="3084738" y="155929"/>
                </a:lnTo>
                <a:lnTo>
                  <a:pt x="3041881" y="139576"/>
                </a:lnTo>
                <a:lnTo>
                  <a:pt x="2998613" y="124073"/>
                </a:lnTo>
                <a:lnTo>
                  <a:pt x="2954942" y="109430"/>
                </a:lnTo>
                <a:lnTo>
                  <a:pt x="2910880" y="95659"/>
                </a:lnTo>
                <a:lnTo>
                  <a:pt x="2866435" y="82768"/>
                </a:lnTo>
                <a:lnTo>
                  <a:pt x="2821620" y="70769"/>
                </a:lnTo>
                <a:lnTo>
                  <a:pt x="2776443" y="59671"/>
                </a:lnTo>
                <a:lnTo>
                  <a:pt x="2730915" y="49485"/>
                </a:lnTo>
                <a:lnTo>
                  <a:pt x="2685046" y="40220"/>
                </a:lnTo>
                <a:lnTo>
                  <a:pt x="2638847" y="31887"/>
                </a:lnTo>
                <a:lnTo>
                  <a:pt x="2592327" y="24497"/>
                </a:lnTo>
                <a:lnTo>
                  <a:pt x="2545497" y="18059"/>
                </a:lnTo>
                <a:lnTo>
                  <a:pt x="2498366" y="12583"/>
                </a:lnTo>
                <a:lnTo>
                  <a:pt x="2450946" y="8080"/>
                </a:lnTo>
                <a:lnTo>
                  <a:pt x="2403245" y="4560"/>
                </a:lnTo>
                <a:lnTo>
                  <a:pt x="2355275" y="2033"/>
                </a:lnTo>
                <a:lnTo>
                  <a:pt x="2307046" y="510"/>
                </a:lnTo>
                <a:lnTo>
                  <a:pt x="2258567" y="0"/>
                </a:lnTo>
                <a:close/>
              </a:path>
            </a:pathLst>
          </a:custGeom>
          <a:solidFill>
            <a:srgbClr val="080B85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" name="object 6"/>
          <p:cNvSpPr/>
          <p:nvPr/>
        </p:nvSpPr>
        <p:spPr>
          <a:xfrm>
            <a:off x="5528998" y="3172852"/>
            <a:ext cx="1134007" cy="1134326"/>
          </a:xfrm>
          <a:custGeom>
            <a:avLst/>
            <a:gdLst/>
            <a:ahLst/>
            <a:cxnLst/>
            <a:rect l="l" t="t" r="r" b="b"/>
            <a:pathLst>
              <a:path w="4517390" h="4518660">
                <a:moveTo>
                  <a:pt x="2258567" y="0"/>
                </a:moveTo>
                <a:lnTo>
                  <a:pt x="2210089" y="510"/>
                </a:lnTo>
                <a:lnTo>
                  <a:pt x="2161860" y="2033"/>
                </a:lnTo>
                <a:lnTo>
                  <a:pt x="2113890" y="4560"/>
                </a:lnTo>
                <a:lnTo>
                  <a:pt x="2066189" y="8080"/>
                </a:lnTo>
                <a:lnTo>
                  <a:pt x="2018769" y="12583"/>
                </a:lnTo>
                <a:lnTo>
                  <a:pt x="1971638" y="18059"/>
                </a:lnTo>
                <a:lnTo>
                  <a:pt x="1924808" y="24497"/>
                </a:lnTo>
                <a:lnTo>
                  <a:pt x="1878288" y="31887"/>
                </a:lnTo>
                <a:lnTo>
                  <a:pt x="1832089" y="40220"/>
                </a:lnTo>
                <a:lnTo>
                  <a:pt x="1786220" y="49485"/>
                </a:lnTo>
                <a:lnTo>
                  <a:pt x="1740692" y="59671"/>
                </a:lnTo>
                <a:lnTo>
                  <a:pt x="1695515" y="70769"/>
                </a:lnTo>
                <a:lnTo>
                  <a:pt x="1650700" y="82768"/>
                </a:lnTo>
                <a:lnTo>
                  <a:pt x="1606255" y="95659"/>
                </a:lnTo>
                <a:lnTo>
                  <a:pt x="1562193" y="109430"/>
                </a:lnTo>
                <a:lnTo>
                  <a:pt x="1518522" y="124073"/>
                </a:lnTo>
                <a:lnTo>
                  <a:pt x="1475254" y="139576"/>
                </a:lnTo>
                <a:lnTo>
                  <a:pt x="1432397" y="155929"/>
                </a:lnTo>
                <a:lnTo>
                  <a:pt x="1389963" y="173123"/>
                </a:lnTo>
                <a:lnTo>
                  <a:pt x="1347962" y="191147"/>
                </a:lnTo>
                <a:lnTo>
                  <a:pt x="1306403" y="209990"/>
                </a:lnTo>
                <a:lnTo>
                  <a:pt x="1265297" y="229644"/>
                </a:lnTo>
                <a:lnTo>
                  <a:pt x="1224654" y="250096"/>
                </a:lnTo>
                <a:lnTo>
                  <a:pt x="1184485" y="271339"/>
                </a:lnTo>
                <a:lnTo>
                  <a:pt x="1144799" y="293360"/>
                </a:lnTo>
                <a:lnTo>
                  <a:pt x="1105607" y="316150"/>
                </a:lnTo>
                <a:lnTo>
                  <a:pt x="1066919" y="339699"/>
                </a:lnTo>
                <a:lnTo>
                  <a:pt x="1028744" y="363996"/>
                </a:lnTo>
                <a:lnTo>
                  <a:pt x="991094" y="389032"/>
                </a:lnTo>
                <a:lnTo>
                  <a:pt x="953978" y="414796"/>
                </a:lnTo>
                <a:lnTo>
                  <a:pt x="917407" y="441278"/>
                </a:lnTo>
                <a:lnTo>
                  <a:pt x="881391" y="468467"/>
                </a:lnTo>
                <a:lnTo>
                  <a:pt x="845939" y="496355"/>
                </a:lnTo>
                <a:lnTo>
                  <a:pt x="811063" y="524929"/>
                </a:lnTo>
                <a:lnTo>
                  <a:pt x="776772" y="554181"/>
                </a:lnTo>
                <a:lnTo>
                  <a:pt x="743077" y="584100"/>
                </a:lnTo>
                <a:lnTo>
                  <a:pt x="709987" y="614676"/>
                </a:lnTo>
                <a:lnTo>
                  <a:pt x="677514" y="645898"/>
                </a:lnTo>
                <a:lnTo>
                  <a:pt x="645666" y="677757"/>
                </a:lnTo>
                <a:lnTo>
                  <a:pt x="614454" y="710242"/>
                </a:lnTo>
                <a:lnTo>
                  <a:pt x="583889" y="743344"/>
                </a:lnTo>
                <a:lnTo>
                  <a:pt x="553981" y="777051"/>
                </a:lnTo>
                <a:lnTo>
                  <a:pt x="524739" y="811353"/>
                </a:lnTo>
                <a:lnTo>
                  <a:pt x="496175" y="846242"/>
                </a:lnTo>
                <a:lnTo>
                  <a:pt x="468297" y="881705"/>
                </a:lnTo>
                <a:lnTo>
                  <a:pt x="441117" y="917734"/>
                </a:lnTo>
                <a:lnTo>
                  <a:pt x="414645" y="954318"/>
                </a:lnTo>
                <a:lnTo>
                  <a:pt x="388890" y="991446"/>
                </a:lnTo>
                <a:lnTo>
                  <a:pt x="363863" y="1029109"/>
                </a:lnTo>
                <a:lnTo>
                  <a:pt x="339575" y="1067296"/>
                </a:lnTo>
                <a:lnTo>
                  <a:pt x="316034" y="1105998"/>
                </a:lnTo>
                <a:lnTo>
                  <a:pt x="293252" y="1145203"/>
                </a:lnTo>
                <a:lnTo>
                  <a:pt x="271239" y="1184902"/>
                </a:lnTo>
                <a:lnTo>
                  <a:pt x="250005" y="1225085"/>
                </a:lnTo>
                <a:lnTo>
                  <a:pt x="229559" y="1265741"/>
                </a:lnTo>
                <a:lnTo>
                  <a:pt x="209913" y="1306861"/>
                </a:lnTo>
                <a:lnTo>
                  <a:pt x="191076" y="1348434"/>
                </a:lnTo>
                <a:lnTo>
                  <a:pt x="173059" y="1390449"/>
                </a:lnTo>
                <a:lnTo>
                  <a:pt x="155872" y="1432897"/>
                </a:lnTo>
                <a:lnTo>
                  <a:pt x="139524" y="1475767"/>
                </a:lnTo>
                <a:lnTo>
                  <a:pt x="124027" y="1519050"/>
                </a:lnTo>
                <a:lnTo>
                  <a:pt x="109390" y="1562735"/>
                </a:lnTo>
                <a:lnTo>
                  <a:pt x="95623" y="1606812"/>
                </a:lnTo>
                <a:lnTo>
                  <a:pt x="82738" y="1651270"/>
                </a:lnTo>
                <a:lnTo>
                  <a:pt x="70743" y="1696100"/>
                </a:lnTo>
                <a:lnTo>
                  <a:pt x="59649" y="1741292"/>
                </a:lnTo>
                <a:lnTo>
                  <a:pt x="49466" y="1786834"/>
                </a:lnTo>
                <a:lnTo>
                  <a:pt x="40205" y="1832718"/>
                </a:lnTo>
                <a:lnTo>
                  <a:pt x="31875" y="1878932"/>
                </a:lnTo>
                <a:lnTo>
                  <a:pt x="24488" y="1925466"/>
                </a:lnTo>
                <a:lnTo>
                  <a:pt x="18052" y="1972312"/>
                </a:lnTo>
                <a:lnTo>
                  <a:pt x="12578" y="2019457"/>
                </a:lnTo>
                <a:lnTo>
                  <a:pt x="8077" y="2066892"/>
                </a:lnTo>
                <a:lnTo>
                  <a:pt x="4558" y="2114607"/>
                </a:lnTo>
                <a:lnTo>
                  <a:pt x="2032" y="2162592"/>
                </a:lnTo>
                <a:lnTo>
                  <a:pt x="509" y="2210836"/>
                </a:lnTo>
                <a:lnTo>
                  <a:pt x="0" y="2259329"/>
                </a:lnTo>
                <a:lnTo>
                  <a:pt x="509" y="2307823"/>
                </a:lnTo>
                <a:lnTo>
                  <a:pt x="2032" y="2356067"/>
                </a:lnTo>
                <a:lnTo>
                  <a:pt x="4558" y="2404052"/>
                </a:lnTo>
                <a:lnTo>
                  <a:pt x="8077" y="2451767"/>
                </a:lnTo>
                <a:lnTo>
                  <a:pt x="12578" y="2499202"/>
                </a:lnTo>
                <a:lnTo>
                  <a:pt x="18052" y="2546347"/>
                </a:lnTo>
                <a:lnTo>
                  <a:pt x="24488" y="2593193"/>
                </a:lnTo>
                <a:lnTo>
                  <a:pt x="31875" y="2639727"/>
                </a:lnTo>
                <a:lnTo>
                  <a:pt x="40205" y="2685941"/>
                </a:lnTo>
                <a:lnTo>
                  <a:pt x="49466" y="2731825"/>
                </a:lnTo>
                <a:lnTo>
                  <a:pt x="59649" y="2777367"/>
                </a:lnTo>
                <a:lnTo>
                  <a:pt x="70743" y="2822559"/>
                </a:lnTo>
                <a:lnTo>
                  <a:pt x="82738" y="2867389"/>
                </a:lnTo>
                <a:lnTo>
                  <a:pt x="95623" y="2911847"/>
                </a:lnTo>
                <a:lnTo>
                  <a:pt x="109390" y="2955924"/>
                </a:lnTo>
                <a:lnTo>
                  <a:pt x="124027" y="2999609"/>
                </a:lnTo>
                <a:lnTo>
                  <a:pt x="139524" y="3042892"/>
                </a:lnTo>
                <a:lnTo>
                  <a:pt x="155872" y="3085762"/>
                </a:lnTo>
                <a:lnTo>
                  <a:pt x="173059" y="3128210"/>
                </a:lnTo>
                <a:lnTo>
                  <a:pt x="191076" y="3170225"/>
                </a:lnTo>
                <a:lnTo>
                  <a:pt x="209913" y="3211798"/>
                </a:lnTo>
                <a:lnTo>
                  <a:pt x="229559" y="3252918"/>
                </a:lnTo>
                <a:lnTo>
                  <a:pt x="250005" y="3293574"/>
                </a:lnTo>
                <a:lnTo>
                  <a:pt x="271239" y="3333757"/>
                </a:lnTo>
                <a:lnTo>
                  <a:pt x="293252" y="3373456"/>
                </a:lnTo>
                <a:lnTo>
                  <a:pt x="316034" y="3412661"/>
                </a:lnTo>
                <a:lnTo>
                  <a:pt x="339575" y="3451363"/>
                </a:lnTo>
                <a:lnTo>
                  <a:pt x="363863" y="3489550"/>
                </a:lnTo>
                <a:lnTo>
                  <a:pt x="388890" y="3527213"/>
                </a:lnTo>
                <a:lnTo>
                  <a:pt x="414645" y="3564341"/>
                </a:lnTo>
                <a:lnTo>
                  <a:pt x="441117" y="3600925"/>
                </a:lnTo>
                <a:lnTo>
                  <a:pt x="468297" y="3636954"/>
                </a:lnTo>
                <a:lnTo>
                  <a:pt x="496175" y="3672417"/>
                </a:lnTo>
                <a:lnTo>
                  <a:pt x="524739" y="3707306"/>
                </a:lnTo>
                <a:lnTo>
                  <a:pt x="553981" y="3741608"/>
                </a:lnTo>
                <a:lnTo>
                  <a:pt x="583889" y="3775315"/>
                </a:lnTo>
                <a:lnTo>
                  <a:pt x="614454" y="3808417"/>
                </a:lnTo>
                <a:lnTo>
                  <a:pt x="645666" y="3840902"/>
                </a:lnTo>
                <a:lnTo>
                  <a:pt x="677514" y="3872761"/>
                </a:lnTo>
                <a:lnTo>
                  <a:pt x="709987" y="3903983"/>
                </a:lnTo>
                <a:lnTo>
                  <a:pt x="743077" y="3934559"/>
                </a:lnTo>
                <a:lnTo>
                  <a:pt x="776772" y="3964478"/>
                </a:lnTo>
                <a:lnTo>
                  <a:pt x="811063" y="3993730"/>
                </a:lnTo>
                <a:lnTo>
                  <a:pt x="845939" y="4022304"/>
                </a:lnTo>
                <a:lnTo>
                  <a:pt x="881391" y="4050192"/>
                </a:lnTo>
                <a:lnTo>
                  <a:pt x="917407" y="4077381"/>
                </a:lnTo>
                <a:lnTo>
                  <a:pt x="953978" y="4103863"/>
                </a:lnTo>
                <a:lnTo>
                  <a:pt x="991094" y="4129627"/>
                </a:lnTo>
                <a:lnTo>
                  <a:pt x="1028744" y="4154663"/>
                </a:lnTo>
                <a:lnTo>
                  <a:pt x="1066919" y="4178960"/>
                </a:lnTo>
                <a:lnTo>
                  <a:pt x="1105607" y="4202509"/>
                </a:lnTo>
                <a:lnTo>
                  <a:pt x="1144799" y="4225299"/>
                </a:lnTo>
                <a:lnTo>
                  <a:pt x="1184485" y="4247320"/>
                </a:lnTo>
                <a:lnTo>
                  <a:pt x="1224654" y="4268563"/>
                </a:lnTo>
                <a:lnTo>
                  <a:pt x="1265297" y="4289015"/>
                </a:lnTo>
                <a:lnTo>
                  <a:pt x="1306403" y="4308669"/>
                </a:lnTo>
                <a:lnTo>
                  <a:pt x="1347962" y="4327512"/>
                </a:lnTo>
                <a:lnTo>
                  <a:pt x="1389963" y="4345536"/>
                </a:lnTo>
                <a:lnTo>
                  <a:pt x="1432397" y="4362730"/>
                </a:lnTo>
                <a:lnTo>
                  <a:pt x="1475254" y="4379083"/>
                </a:lnTo>
                <a:lnTo>
                  <a:pt x="1518522" y="4394586"/>
                </a:lnTo>
                <a:lnTo>
                  <a:pt x="1562193" y="4409229"/>
                </a:lnTo>
                <a:lnTo>
                  <a:pt x="1606255" y="4423000"/>
                </a:lnTo>
                <a:lnTo>
                  <a:pt x="1650700" y="4435891"/>
                </a:lnTo>
                <a:lnTo>
                  <a:pt x="1695515" y="4447890"/>
                </a:lnTo>
                <a:lnTo>
                  <a:pt x="1740692" y="4458988"/>
                </a:lnTo>
                <a:lnTo>
                  <a:pt x="1786220" y="4469174"/>
                </a:lnTo>
                <a:lnTo>
                  <a:pt x="1832089" y="4478439"/>
                </a:lnTo>
                <a:lnTo>
                  <a:pt x="1878288" y="4486772"/>
                </a:lnTo>
                <a:lnTo>
                  <a:pt x="1924808" y="4494162"/>
                </a:lnTo>
                <a:lnTo>
                  <a:pt x="1971638" y="4500600"/>
                </a:lnTo>
                <a:lnTo>
                  <a:pt x="2018769" y="4506076"/>
                </a:lnTo>
                <a:lnTo>
                  <a:pt x="2066189" y="4510579"/>
                </a:lnTo>
                <a:lnTo>
                  <a:pt x="2113890" y="4514099"/>
                </a:lnTo>
                <a:lnTo>
                  <a:pt x="2161860" y="4516626"/>
                </a:lnTo>
                <a:lnTo>
                  <a:pt x="2210089" y="4518149"/>
                </a:lnTo>
                <a:lnTo>
                  <a:pt x="2258567" y="4518660"/>
                </a:lnTo>
                <a:lnTo>
                  <a:pt x="2307046" y="4518149"/>
                </a:lnTo>
                <a:lnTo>
                  <a:pt x="2355275" y="4516626"/>
                </a:lnTo>
                <a:lnTo>
                  <a:pt x="2403245" y="4514099"/>
                </a:lnTo>
                <a:lnTo>
                  <a:pt x="2450946" y="4510579"/>
                </a:lnTo>
                <a:lnTo>
                  <a:pt x="2498366" y="4506076"/>
                </a:lnTo>
                <a:lnTo>
                  <a:pt x="2545497" y="4500600"/>
                </a:lnTo>
                <a:lnTo>
                  <a:pt x="2592327" y="4494162"/>
                </a:lnTo>
                <a:lnTo>
                  <a:pt x="2638847" y="4486772"/>
                </a:lnTo>
                <a:lnTo>
                  <a:pt x="2685046" y="4478439"/>
                </a:lnTo>
                <a:lnTo>
                  <a:pt x="2730915" y="4469174"/>
                </a:lnTo>
                <a:lnTo>
                  <a:pt x="2776443" y="4458988"/>
                </a:lnTo>
                <a:lnTo>
                  <a:pt x="2821620" y="4447890"/>
                </a:lnTo>
                <a:lnTo>
                  <a:pt x="2866435" y="4435891"/>
                </a:lnTo>
                <a:lnTo>
                  <a:pt x="2910880" y="4423000"/>
                </a:lnTo>
                <a:lnTo>
                  <a:pt x="2954942" y="4409229"/>
                </a:lnTo>
                <a:lnTo>
                  <a:pt x="2998613" y="4394586"/>
                </a:lnTo>
                <a:lnTo>
                  <a:pt x="3041881" y="4379083"/>
                </a:lnTo>
                <a:lnTo>
                  <a:pt x="3084738" y="4362730"/>
                </a:lnTo>
                <a:lnTo>
                  <a:pt x="3127172" y="4345536"/>
                </a:lnTo>
                <a:lnTo>
                  <a:pt x="3169173" y="4327512"/>
                </a:lnTo>
                <a:lnTo>
                  <a:pt x="3210732" y="4308669"/>
                </a:lnTo>
                <a:lnTo>
                  <a:pt x="3251838" y="4289015"/>
                </a:lnTo>
                <a:lnTo>
                  <a:pt x="3292481" y="4268563"/>
                </a:lnTo>
                <a:lnTo>
                  <a:pt x="3332650" y="4247320"/>
                </a:lnTo>
                <a:lnTo>
                  <a:pt x="3372336" y="4225299"/>
                </a:lnTo>
                <a:lnTo>
                  <a:pt x="3411528" y="4202509"/>
                </a:lnTo>
                <a:lnTo>
                  <a:pt x="3450216" y="4178960"/>
                </a:lnTo>
                <a:lnTo>
                  <a:pt x="3488391" y="4154663"/>
                </a:lnTo>
                <a:lnTo>
                  <a:pt x="3526041" y="4129627"/>
                </a:lnTo>
                <a:lnTo>
                  <a:pt x="3563157" y="4103863"/>
                </a:lnTo>
                <a:lnTo>
                  <a:pt x="3599728" y="4077381"/>
                </a:lnTo>
                <a:lnTo>
                  <a:pt x="3635744" y="4050192"/>
                </a:lnTo>
                <a:lnTo>
                  <a:pt x="3671196" y="4022304"/>
                </a:lnTo>
                <a:lnTo>
                  <a:pt x="3706072" y="3993730"/>
                </a:lnTo>
                <a:lnTo>
                  <a:pt x="3740363" y="3964478"/>
                </a:lnTo>
                <a:lnTo>
                  <a:pt x="3774058" y="3934559"/>
                </a:lnTo>
                <a:lnTo>
                  <a:pt x="3807148" y="3903983"/>
                </a:lnTo>
                <a:lnTo>
                  <a:pt x="3839621" y="3872761"/>
                </a:lnTo>
                <a:lnTo>
                  <a:pt x="3871469" y="3840902"/>
                </a:lnTo>
                <a:lnTo>
                  <a:pt x="3902681" y="3808417"/>
                </a:lnTo>
                <a:lnTo>
                  <a:pt x="3933246" y="3775315"/>
                </a:lnTo>
                <a:lnTo>
                  <a:pt x="3963154" y="3741608"/>
                </a:lnTo>
                <a:lnTo>
                  <a:pt x="3992396" y="3707306"/>
                </a:lnTo>
                <a:lnTo>
                  <a:pt x="4020960" y="3672417"/>
                </a:lnTo>
                <a:lnTo>
                  <a:pt x="4048838" y="3636954"/>
                </a:lnTo>
                <a:lnTo>
                  <a:pt x="4076018" y="3600925"/>
                </a:lnTo>
                <a:lnTo>
                  <a:pt x="4102490" y="3564341"/>
                </a:lnTo>
                <a:lnTo>
                  <a:pt x="4128245" y="3527213"/>
                </a:lnTo>
                <a:lnTo>
                  <a:pt x="4153272" y="3489550"/>
                </a:lnTo>
                <a:lnTo>
                  <a:pt x="4177560" y="3451363"/>
                </a:lnTo>
                <a:lnTo>
                  <a:pt x="4201101" y="3412661"/>
                </a:lnTo>
                <a:lnTo>
                  <a:pt x="4223883" y="3373456"/>
                </a:lnTo>
                <a:lnTo>
                  <a:pt x="4245896" y="3333757"/>
                </a:lnTo>
                <a:lnTo>
                  <a:pt x="4267130" y="3293574"/>
                </a:lnTo>
                <a:lnTo>
                  <a:pt x="4287576" y="3252918"/>
                </a:lnTo>
                <a:lnTo>
                  <a:pt x="4307222" y="3211798"/>
                </a:lnTo>
                <a:lnTo>
                  <a:pt x="4326059" y="3170225"/>
                </a:lnTo>
                <a:lnTo>
                  <a:pt x="4344076" y="3128210"/>
                </a:lnTo>
                <a:lnTo>
                  <a:pt x="4361263" y="3085762"/>
                </a:lnTo>
                <a:lnTo>
                  <a:pt x="4377611" y="3042892"/>
                </a:lnTo>
                <a:lnTo>
                  <a:pt x="4393108" y="2999609"/>
                </a:lnTo>
                <a:lnTo>
                  <a:pt x="4407745" y="2955924"/>
                </a:lnTo>
                <a:lnTo>
                  <a:pt x="4421512" y="2911847"/>
                </a:lnTo>
                <a:lnTo>
                  <a:pt x="4434397" y="2867389"/>
                </a:lnTo>
                <a:lnTo>
                  <a:pt x="4446392" y="2822559"/>
                </a:lnTo>
                <a:lnTo>
                  <a:pt x="4457486" y="2777367"/>
                </a:lnTo>
                <a:lnTo>
                  <a:pt x="4467669" y="2731825"/>
                </a:lnTo>
                <a:lnTo>
                  <a:pt x="4476930" y="2685941"/>
                </a:lnTo>
                <a:lnTo>
                  <a:pt x="4485260" y="2639727"/>
                </a:lnTo>
                <a:lnTo>
                  <a:pt x="4492647" y="2593193"/>
                </a:lnTo>
                <a:lnTo>
                  <a:pt x="4499083" y="2546347"/>
                </a:lnTo>
                <a:lnTo>
                  <a:pt x="4504557" y="2499202"/>
                </a:lnTo>
                <a:lnTo>
                  <a:pt x="4509058" y="2451767"/>
                </a:lnTo>
                <a:lnTo>
                  <a:pt x="4512577" y="2404052"/>
                </a:lnTo>
                <a:lnTo>
                  <a:pt x="4515103" y="2356067"/>
                </a:lnTo>
                <a:lnTo>
                  <a:pt x="4516626" y="2307823"/>
                </a:lnTo>
                <a:lnTo>
                  <a:pt x="4517136" y="2259329"/>
                </a:lnTo>
                <a:lnTo>
                  <a:pt x="4516626" y="2210836"/>
                </a:lnTo>
                <a:lnTo>
                  <a:pt x="4515103" y="2162592"/>
                </a:lnTo>
                <a:lnTo>
                  <a:pt x="4512577" y="2114607"/>
                </a:lnTo>
                <a:lnTo>
                  <a:pt x="4509058" y="2066892"/>
                </a:lnTo>
                <a:lnTo>
                  <a:pt x="4504557" y="2019457"/>
                </a:lnTo>
                <a:lnTo>
                  <a:pt x="4499083" y="1972312"/>
                </a:lnTo>
                <a:lnTo>
                  <a:pt x="4492647" y="1925466"/>
                </a:lnTo>
                <a:lnTo>
                  <a:pt x="4485260" y="1878932"/>
                </a:lnTo>
                <a:lnTo>
                  <a:pt x="4476930" y="1832718"/>
                </a:lnTo>
                <a:lnTo>
                  <a:pt x="4467669" y="1786834"/>
                </a:lnTo>
                <a:lnTo>
                  <a:pt x="4457486" y="1741292"/>
                </a:lnTo>
                <a:lnTo>
                  <a:pt x="4446392" y="1696100"/>
                </a:lnTo>
                <a:lnTo>
                  <a:pt x="4434397" y="1651270"/>
                </a:lnTo>
                <a:lnTo>
                  <a:pt x="4421512" y="1606812"/>
                </a:lnTo>
                <a:lnTo>
                  <a:pt x="4407745" y="1562735"/>
                </a:lnTo>
                <a:lnTo>
                  <a:pt x="4393108" y="1519050"/>
                </a:lnTo>
                <a:lnTo>
                  <a:pt x="4377611" y="1475767"/>
                </a:lnTo>
                <a:lnTo>
                  <a:pt x="4361263" y="1432897"/>
                </a:lnTo>
                <a:lnTo>
                  <a:pt x="4344076" y="1390449"/>
                </a:lnTo>
                <a:lnTo>
                  <a:pt x="4326059" y="1348434"/>
                </a:lnTo>
                <a:lnTo>
                  <a:pt x="4307222" y="1306861"/>
                </a:lnTo>
                <a:lnTo>
                  <a:pt x="4287576" y="1265741"/>
                </a:lnTo>
                <a:lnTo>
                  <a:pt x="4267130" y="1225085"/>
                </a:lnTo>
                <a:lnTo>
                  <a:pt x="4245896" y="1184902"/>
                </a:lnTo>
                <a:lnTo>
                  <a:pt x="4223883" y="1145203"/>
                </a:lnTo>
                <a:lnTo>
                  <a:pt x="4201101" y="1105998"/>
                </a:lnTo>
                <a:lnTo>
                  <a:pt x="4177560" y="1067296"/>
                </a:lnTo>
                <a:lnTo>
                  <a:pt x="4153272" y="1029109"/>
                </a:lnTo>
                <a:lnTo>
                  <a:pt x="4128245" y="991446"/>
                </a:lnTo>
                <a:lnTo>
                  <a:pt x="4102490" y="954318"/>
                </a:lnTo>
                <a:lnTo>
                  <a:pt x="4076018" y="917734"/>
                </a:lnTo>
                <a:lnTo>
                  <a:pt x="4048838" y="881705"/>
                </a:lnTo>
                <a:lnTo>
                  <a:pt x="4020960" y="846242"/>
                </a:lnTo>
                <a:lnTo>
                  <a:pt x="3992396" y="811353"/>
                </a:lnTo>
                <a:lnTo>
                  <a:pt x="3963154" y="777051"/>
                </a:lnTo>
                <a:lnTo>
                  <a:pt x="3933246" y="743344"/>
                </a:lnTo>
                <a:lnTo>
                  <a:pt x="3902681" y="710242"/>
                </a:lnTo>
                <a:lnTo>
                  <a:pt x="3871469" y="677757"/>
                </a:lnTo>
                <a:lnTo>
                  <a:pt x="3839621" y="645898"/>
                </a:lnTo>
                <a:lnTo>
                  <a:pt x="3807148" y="614676"/>
                </a:lnTo>
                <a:lnTo>
                  <a:pt x="3774058" y="584100"/>
                </a:lnTo>
                <a:lnTo>
                  <a:pt x="3740363" y="554181"/>
                </a:lnTo>
                <a:lnTo>
                  <a:pt x="3706072" y="524929"/>
                </a:lnTo>
                <a:lnTo>
                  <a:pt x="3671196" y="496355"/>
                </a:lnTo>
                <a:lnTo>
                  <a:pt x="3635744" y="468467"/>
                </a:lnTo>
                <a:lnTo>
                  <a:pt x="3599728" y="441278"/>
                </a:lnTo>
                <a:lnTo>
                  <a:pt x="3563157" y="414796"/>
                </a:lnTo>
                <a:lnTo>
                  <a:pt x="3526041" y="389032"/>
                </a:lnTo>
                <a:lnTo>
                  <a:pt x="3488391" y="363996"/>
                </a:lnTo>
                <a:lnTo>
                  <a:pt x="3450216" y="339699"/>
                </a:lnTo>
                <a:lnTo>
                  <a:pt x="3411528" y="316150"/>
                </a:lnTo>
                <a:lnTo>
                  <a:pt x="3372336" y="293360"/>
                </a:lnTo>
                <a:lnTo>
                  <a:pt x="3332650" y="271339"/>
                </a:lnTo>
                <a:lnTo>
                  <a:pt x="3292481" y="250096"/>
                </a:lnTo>
                <a:lnTo>
                  <a:pt x="3251838" y="229644"/>
                </a:lnTo>
                <a:lnTo>
                  <a:pt x="3210732" y="209990"/>
                </a:lnTo>
                <a:lnTo>
                  <a:pt x="3169173" y="191147"/>
                </a:lnTo>
                <a:lnTo>
                  <a:pt x="3127172" y="173123"/>
                </a:lnTo>
                <a:lnTo>
                  <a:pt x="3084738" y="155929"/>
                </a:lnTo>
                <a:lnTo>
                  <a:pt x="3041881" y="139576"/>
                </a:lnTo>
                <a:lnTo>
                  <a:pt x="2998613" y="124073"/>
                </a:lnTo>
                <a:lnTo>
                  <a:pt x="2954942" y="109430"/>
                </a:lnTo>
                <a:lnTo>
                  <a:pt x="2910880" y="95659"/>
                </a:lnTo>
                <a:lnTo>
                  <a:pt x="2866435" y="82768"/>
                </a:lnTo>
                <a:lnTo>
                  <a:pt x="2821620" y="70769"/>
                </a:lnTo>
                <a:lnTo>
                  <a:pt x="2776443" y="59671"/>
                </a:lnTo>
                <a:lnTo>
                  <a:pt x="2730915" y="49485"/>
                </a:lnTo>
                <a:lnTo>
                  <a:pt x="2685046" y="40220"/>
                </a:lnTo>
                <a:lnTo>
                  <a:pt x="2638847" y="31887"/>
                </a:lnTo>
                <a:lnTo>
                  <a:pt x="2592327" y="24497"/>
                </a:lnTo>
                <a:lnTo>
                  <a:pt x="2545497" y="18059"/>
                </a:lnTo>
                <a:lnTo>
                  <a:pt x="2498366" y="12583"/>
                </a:lnTo>
                <a:lnTo>
                  <a:pt x="2450946" y="8080"/>
                </a:lnTo>
                <a:lnTo>
                  <a:pt x="2403245" y="4560"/>
                </a:lnTo>
                <a:lnTo>
                  <a:pt x="2355275" y="2033"/>
                </a:lnTo>
                <a:lnTo>
                  <a:pt x="2307046" y="510"/>
                </a:lnTo>
                <a:lnTo>
                  <a:pt x="2258567" y="0"/>
                </a:lnTo>
                <a:close/>
              </a:path>
            </a:pathLst>
          </a:custGeom>
          <a:solidFill>
            <a:srgbClr val="38389B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1" cstate="print">
            <a:biLevel thresh="25000"/>
          </a:blip>
          <a:srcRect t="-1" b="-1182"/>
          <a:stretch>
            <a:fillRect/>
          </a:stretch>
        </p:blipFill>
        <p:spPr bwMode="auto">
          <a:xfrm>
            <a:off x="5866889" y="3420921"/>
            <a:ext cx="458226" cy="702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object 6"/>
          <p:cNvSpPr/>
          <p:nvPr/>
        </p:nvSpPr>
        <p:spPr>
          <a:xfrm>
            <a:off x="5866889" y="2631348"/>
            <a:ext cx="448400" cy="448526"/>
          </a:xfrm>
          <a:custGeom>
            <a:avLst/>
            <a:gdLst/>
            <a:ahLst/>
            <a:cxnLst/>
            <a:rect l="l" t="t" r="r" b="b"/>
            <a:pathLst>
              <a:path w="4517390" h="4518660">
                <a:moveTo>
                  <a:pt x="2258567" y="0"/>
                </a:moveTo>
                <a:lnTo>
                  <a:pt x="2210089" y="510"/>
                </a:lnTo>
                <a:lnTo>
                  <a:pt x="2161860" y="2033"/>
                </a:lnTo>
                <a:lnTo>
                  <a:pt x="2113890" y="4560"/>
                </a:lnTo>
                <a:lnTo>
                  <a:pt x="2066189" y="8080"/>
                </a:lnTo>
                <a:lnTo>
                  <a:pt x="2018769" y="12583"/>
                </a:lnTo>
                <a:lnTo>
                  <a:pt x="1971638" y="18059"/>
                </a:lnTo>
                <a:lnTo>
                  <a:pt x="1924808" y="24497"/>
                </a:lnTo>
                <a:lnTo>
                  <a:pt x="1878288" y="31887"/>
                </a:lnTo>
                <a:lnTo>
                  <a:pt x="1832089" y="40220"/>
                </a:lnTo>
                <a:lnTo>
                  <a:pt x="1786220" y="49485"/>
                </a:lnTo>
                <a:lnTo>
                  <a:pt x="1740692" y="59671"/>
                </a:lnTo>
                <a:lnTo>
                  <a:pt x="1695515" y="70769"/>
                </a:lnTo>
                <a:lnTo>
                  <a:pt x="1650700" y="82768"/>
                </a:lnTo>
                <a:lnTo>
                  <a:pt x="1606255" y="95659"/>
                </a:lnTo>
                <a:lnTo>
                  <a:pt x="1562193" y="109430"/>
                </a:lnTo>
                <a:lnTo>
                  <a:pt x="1518522" y="124073"/>
                </a:lnTo>
                <a:lnTo>
                  <a:pt x="1475254" y="139576"/>
                </a:lnTo>
                <a:lnTo>
                  <a:pt x="1432397" y="155929"/>
                </a:lnTo>
                <a:lnTo>
                  <a:pt x="1389963" y="173123"/>
                </a:lnTo>
                <a:lnTo>
                  <a:pt x="1347962" y="191147"/>
                </a:lnTo>
                <a:lnTo>
                  <a:pt x="1306403" y="209990"/>
                </a:lnTo>
                <a:lnTo>
                  <a:pt x="1265297" y="229644"/>
                </a:lnTo>
                <a:lnTo>
                  <a:pt x="1224654" y="250096"/>
                </a:lnTo>
                <a:lnTo>
                  <a:pt x="1184485" y="271339"/>
                </a:lnTo>
                <a:lnTo>
                  <a:pt x="1144799" y="293360"/>
                </a:lnTo>
                <a:lnTo>
                  <a:pt x="1105607" y="316150"/>
                </a:lnTo>
                <a:lnTo>
                  <a:pt x="1066919" y="339699"/>
                </a:lnTo>
                <a:lnTo>
                  <a:pt x="1028744" y="363996"/>
                </a:lnTo>
                <a:lnTo>
                  <a:pt x="991094" y="389032"/>
                </a:lnTo>
                <a:lnTo>
                  <a:pt x="953978" y="414796"/>
                </a:lnTo>
                <a:lnTo>
                  <a:pt x="917407" y="441278"/>
                </a:lnTo>
                <a:lnTo>
                  <a:pt x="881391" y="468467"/>
                </a:lnTo>
                <a:lnTo>
                  <a:pt x="845939" y="496355"/>
                </a:lnTo>
                <a:lnTo>
                  <a:pt x="811063" y="524929"/>
                </a:lnTo>
                <a:lnTo>
                  <a:pt x="776772" y="554181"/>
                </a:lnTo>
                <a:lnTo>
                  <a:pt x="743077" y="584100"/>
                </a:lnTo>
                <a:lnTo>
                  <a:pt x="709987" y="614676"/>
                </a:lnTo>
                <a:lnTo>
                  <a:pt x="677514" y="645898"/>
                </a:lnTo>
                <a:lnTo>
                  <a:pt x="645666" y="677757"/>
                </a:lnTo>
                <a:lnTo>
                  <a:pt x="614454" y="710242"/>
                </a:lnTo>
                <a:lnTo>
                  <a:pt x="583889" y="743344"/>
                </a:lnTo>
                <a:lnTo>
                  <a:pt x="553981" y="777051"/>
                </a:lnTo>
                <a:lnTo>
                  <a:pt x="524739" y="811353"/>
                </a:lnTo>
                <a:lnTo>
                  <a:pt x="496175" y="846242"/>
                </a:lnTo>
                <a:lnTo>
                  <a:pt x="468297" y="881705"/>
                </a:lnTo>
                <a:lnTo>
                  <a:pt x="441117" y="917734"/>
                </a:lnTo>
                <a:lnTo>
                  <a:pt x="414645" y="954318"/>
                </a:lnTo>
                <a:lnTo>
                  <a:pt x="388890" y="991446"/>
                </a:lnTo>
                <a:lnTo>
                  <a:pt x="363863" y="1029109"/>
                </a:lnTo>
                <a:lnTo>
                  <a:pt x="339575" y="1067296"/>
                </a:lnTo>
                <a:lnTo>
                  <a:pt x="316034" y="1105998"/>
                </a:lnTo>
                <a:lnTo>
                  <a:pt x="293252" y="1145203"/>
                </a:lnTo>
                <a:lnTo>
                  <a:pt x="271239" y="1184902"/>
                </a:lnTo>
                <a:lnTo>
                  <a:pt x="250005" y="1225085"/>
                </a:lnTo>
                <a:lnTo>
                  <a:pt x="229559" y="1265741"/>
                </a:lnTo>
                <a:lnTo>
                  <a:pt x="209913" y="1306861"/>
                </a:lnTo>
                <a:lnTo>
                  <a:pt x="191076" y="1348434"/>
                </a:lnTo>
                <a:lnTo>
                  <a:pt x="173059" y="1390449"/>
                </a:lnTo>
                <a:lnTo>
                  <a:pt x="155872" y="1432897"/>
                </a:lnTo>
                <a:lnTo>
                  <a:pt x="139524" y="1475767"/>
                </a:lnTo>
                <a:lnTo>
                  <a:pt x="124027" y="1519050"/>
                </a:lnTo>
                <a:lnTo>
                  <a:pt x="109390" y="1562735"/>
                </a:lnTo>
                <a:lnTo>
                  <a:pt x="95623" y="1606812"/>
                </a:lnTo>
                <a:lnTo>
                  <a:pt x="82738" y="1651270"/>
                </a:lnTo>
                <a:lnTo>
                  <a:pt x="70743" y="1696100"/>
                </a:lnTo>
                <a:lnTo>
                  <a:pt x="59649" y="1741292"/>
                </a:lnTo>
                <a:lnTo>
                  <a:pt x="49466" y="1786834"/>
                </a:lnTo>
                <a:lnTo>
                  <a:pt x="40205" y="1832718"/>
                </a:lnTo>
                <a:lnTo>
                  <a:pt x="31875" y="1878932"/>
                </a:lnTo>
                <a:lnTo>
                  <a:pt x="24488" y="1925466"/>
                </a:lnTo>
                <a:lnTo>
                  <a:pt x="18052" y="1972312"/>
                </a:lnTo>
                <a:lnTo>
                  <a:pt x="12578" y="2019457"/>
                </a:lnTo>
                <a:lnTo>
                  <a:pt x="8077" y="2066892"/>
                </a:lnTo>
                <a:lnTo>
                  <a:pt x="4558" y="2114607"/>
                </a:lnTo>
                <a:lnTo>
                  <a:pt x="2032" y="2162592"/>
                </a:lnTo>
                <a:lnTo>
                  <a:pt x="509" y="2210836"/>
                </a:lnTo>
                <a:lnTo>
                  <a:pt x="0" y="2259329"/>
                </a:lnTo>
                <a:lnTo>
                  <a:pt x="509" y="2307823"/>
                </a:lnTo>
                <a:lnTo>
                  <a:pt x="2032" y="2356067"/>
                </a:lnTo>
                <a:lnTo>
                  <a:pt x="4558" y="2404052"/>
                </a:lnTo>
                <a:lnTo>
                  <a:pt x="8077" y="2451767"/>
                </a:lnTo>
                <a:lnTo>
                  <a:pt x="12578" y="2499202"/>
                </a:lnTo>
                <a:lnTo>
                  <a:pt x="18052" y="2546347"/>
                </a:lnTo>
                <a:lnTo>
                  <a:pt x="24488" y="2593193"/>
                </a:lnTo>
                <a:lnTo>
                  <a:pt x="31875" y="2639727"/>
                </a:lnTo>
                <a:lnTo>
                  <a:pt x="40205" y="2685941"/>
                </a:lnTo>
                <a:lnTo>
                  <a:pt x="49466" y="2731825"/>
                </a:lnTo>
                <a:lnTo>
                  <a:pt x="59649" y="2777367"/>
                </a:lnTo>
                <a:lnTo>
                  <a:pt x="70743" y="2822559"/>
                </a:lnTo>
                <a:lnTo>
                  <a:pt x="82738" y="2867389"/>
                </a:lnTo>
                <a:lnTo>
                  <a:pt x="95623" y="2911847"/>
                </a:lnTo>
                <a:lnTo>
                  <a:pt x="109390" y="2955924"/>
                </a:lnTo>
                <a:lnTo>
                  <a:pt x="124027" y="2999609"/>
                </a:lnTo>
                <a:lnTo>
                  <a:pt x="139524" y="3042892"/>
                </a:lnTo>
                <a:lnTo>
                  <a:pt x="155872" y="3085762"/>
                </a:lnTo>
                <a:lnTo>
                  <a:pt x="173059" y="3128210"/>
                </a:lnTo>
                <a:lnTo>
                  <a:pt x="191076" y="3170225"/>
                </a:lnTo>
                <a:lnTo>
                  <a:pt x="209913" y="3211798"/>
                </a:lnTo>
                <a:lnTo>
                  <a:pt x="229559" y="3252918"/>
                </a:lnTo>
                <a:lnTo>
                  <a:pt x="250005" y="3293574"/>
                </a:lnTo>
                <a:lnTo>
                  <a:pt x="271239" y="3333757"/>
                </a:lnTo>
                <a:lnTo>
                  <a:pt x="293252" y="3373456"/>
                </a:lnTo>
                <a:lnTo>
                  <a:pt x="316034" y="3412661"/>
                </a:lnTo>
                <a:lnTo>
                  <a:pt x="339575" y="3451363"/>
                </a:lnTo>
                <a:lnTo>
                  <a:pt x="363863" y="3489550"/>
                </a:lnTo>
                <a:lnTo>
                  <a:pt x="388890" y="3527213"/>
                </a:lnTo>
                <a:lnTo>
                  <a:pt x="414645" y="3564341"/>
                </a:lnTo>
                <a:lnTo>
                  <a:pt x="441117" y="3600925"/>
                </a:lnTo>
                <a:lnTo>
                  <a:pt x="468297" y="3636954"/>
                </a:lnTo>
                <a:lnTo>
                  <a:pt x="496175" y="3672417"/>
                </a:lnTo>
                <a:lnTo>
                  <a:pt x="524739" y="3707306"/>
                </a:lnTo>
                <a:lnTo>
                  <a:pt x="553981" y="3741608"/>
                </a:lnTo>
                <a:lnTo>
                  <a:pt x="583889" y="3775315"/>
                </a:lnTo>
                <a:lnTo>
                  <a:pt x="614454" y="3808417"/>
                </a:lnTo>
                <a:lnTo>
                  <a:pt x="645666" y="3840902"/>
                </a:lnTo>
                <a:lnTo>
                  <a:pt x="677514" y="3872761"/>
                </a:lnTo>
                <a:lnTo>
                  <a:pt x="709987" y="3903983"/>
                </a:lnTo>
                <a:lnTo>
                  <a:pt x="743077" y="3934559"/>
                </a:lnTo>
                <a:lnTo>
                  <a:pt x="776772" y="3964478"/>
                </a:lnTo>
                <a:lnTo>
                  <a:pt x="811063" y="3993730"/>
                </a:lnTo>
                <a:lnTo>
                  <a:pt x="845939" y="4022304"/>
                </a:lnTo>
                <a:lnTo>
                  <a:pt x="881391" y="4050192"/>
                </a:lnTo>
                <a:lnTo>
                  <a:pt x="917407" y="4077381"/>
                </a:lnTo>
                <a:lnTo>
                  <a:pt x="953978" y="4103863"/>
                </a:lnTo>
                <a:lnTo>
                  <a:pt x="991094" y="4129627"/>
                </a:lnTo>
                <a:lnTo>
                  <a:pt x="1028744" y="4154663"/>
                </a:lnTo>
                <a:lnTo>
                  <a:pt x="1066919" y="4178960"/>
                </a:lnTo>
                <a:lnTo>
                  <a:pt x="1105607" y="4202509"/>
                </a:lnTo>
                <a:lnTo>
                  <a:pt x="1144799" y="4225299"/>
                </a:lnTo>
                <a:lnTo>
                  <a:pt x="1184485" y="4247320"/>
                </a:lnTo>
                <a:lnTo>
                  <a:pt x="1224654" y="4268563"/>
                </a:lnTo>
                <a:lnTo>
                  <a:pt x="1265297" y="4289015"/>
                </a:lnTo>
                <a:lnTo>
                  <a:pt x="1306403" y="4308669"/>
                </a:lnTo>
                <a:lnTo>
                  <a:pt x="1347962" y="4327512"/>
                </a:lnTo>
                <a:lnTo>
                  <a:pt x="1389963" y="4345536"/>
                </a:lnTo>
                <a:lnTo>
                  <a:pt x="1432397" y="4362730"/>
                </a:lnTo>
                <a:lnTo>
                  <a:pt x="1475254" y="4379083"/>
                </a:lnTo>
                <a:lnTo>
                  <a:pt x="1518522" y="4394586"/>
                </a:lnTo>
                <a:lnTo>
                  <a:pt x="1562193" y="4409229"/>
                </a:lnTo>
                <a:lnTo>
                  <a:pt x="1606255" y="4423000"/>
                </a:lnTo>
                <a:lnTo>
                  <a:pt x="1650700" y="4435891"/>
                </a:lnTo>
                <a:lnTo>
                  <a:pt x="1695515" y="4447890"/>
                </a:lnTo>
                <a:lnTo>
                  <a:pt x="1740692" y="4458988"/>
                </a:lnTo>
                <a:lnTo>
                  <a:pt x="1786220" y="4469174"/>
                </a:lnTo>
                <a:lnTo>
                  <a:pt x="1832089" y="4478439"/>
                </a:lnTo>
                <a:lnTo>
                  <a:pt x="1878288" y="4486772"/>
                </a:lnTo>
                <a:lnTo>
                  <a:pt x="1924808" y="4494162"/>
                </a:lnTo>
                <a:lnTo>
                  <a:pt x="1971638" y="4500600"/>
                </a:lnTo>
                <a:lnTo>
                  <a:pt x="2018769" y="4506076"/>
                </a:lnTo>
                <a:lnTo>
                  <a:pt x="2066189" y="4510579"/>
                </a:lnTo>
                <a:lnTo>
                  <a:pt x="2113890" y="4514099"/>
                </a:lnTo>
                <a:lnTo>
                  <a:pt x="2161860" y="4516626"/>
                </a:lnTo>
                <a:lnTo>
                  <a:pt x="2210089" y="4518149"/>
                </a:lnTo>
                <a:lnTo>
                  <a:pt x="2258567" y="4518660"/>
                </a:lnTo>
                <a:lnTo>
                  <a:pt x="2307046" y="4518149"/>
                </a:lnTo>
                <a:lnTo>
                  <a:pt x="2355275" y="4516626"/>
                </a:lnTo>
                <a:lnTo>
                  <a:pt x="2403245" y="4514099"/>
                </a:lnTo>
                <a:lnTo>
                  <a:pt x="2450946" y="4510579"/>
                </a:lnTo>
                <a:lnTo>
                  <a:pt x="2498366" y="4506076"/>
                </a:lnTo>
                <a:lnTo>
                  <a:pt x="2545497" y="4500600"/>
                </a:lnTo>
                <a:lnTo>
                  <a:pt x="2592327" y="4494162"/>
                </a:lnTo>
                <a:lnTo>
                  <a:pt x="2638847" y="4486772"/>
                </a:lnTo>
                <a:lnTo>
                  <a:pt x="2685046" y="4478439"/>
                </a:lnTo>
                <a:lnTo>
                  <a:pt x="2730915" y="4469174"/>
                </a:lnTo>
                <a:lnTo>
                  <a:pt x="2776443" y="4458988"/>
                </a:lnTo>
                <a:lnTo>
                  <a:pt x="2821620" y="4447890"/>
                </a:lnTo>
                <a:lnTo>
                  <a:pt x="2866435" y="4435891"/>
                </a:lnTo>
                <a:lnTo>
                  <a:pt x="2910880" y="4423000"/>
                </a:lnTo>
                <a:lnTo>
                  <a:pt x="2954942" y="4409229"/>
                </a:lnTo>
                <a:lnTo>
                  <a:pt x="2998613" y="4394586"/>
                </a:lnTo>
                <a:lnTo>
                  <a:pt x="3041881" y="4379083"/>
                </a:lnTo>
                <a:lnTo>
                  <a:pt x="3084738" y="4362730"/>
                </a:lnTo>
                <a:lnTo>
                  <a:pt x="3127172" y="4345536"/>
                </a:lnTo>
                <a:lnTo>
                  <a:pt x="3169173" y="4327512"/>
                </a:lnTo>
                <a:lnTo>
                  <a:pt x="3210732" y="4308669"/>
                </a:lnTo>
                <a:lnTo>
                  <a:pt x="3251838" y="4289015"/>
                </a:lnTo>
                <a:lnTo>
                  <a:pt x="3292481" y="4268563"/>
                </a:lnTo>
                <a:lnTo>
                  <a:pt x="3332650" y="4247320"/>
                </a:lnTo>
                <a:lnTo>
                  <a:pt x="3372336" y="4225299"/>
                </a:lnTo>
                <a:lnTo>
                  <a:pt x="3411528" y="4202509"/>
                </a:lnTo>
                <a:lnTo>
                  <a:pt x="3450216" y="4178960"/>
                </a:lnTo>
                <a:lnTo>
                  <a:pt x="3488391" y="4154663"/>
                </a:lnTo>
                <a:lnTo>
                  <a:pt x="3526041" y="4129627"/>
                </a:lnTo>
                <a:lnTo>
                  <a:pt x="3563157" y="4103863"/>
                </a:lnTo>
                <a:lnTo>
                  <a:pt x="3599728" y="4077381"/>
                </a:lnTo>
                <a:lnTo>
                  <a:pt x="3635744" y="4050192"/>
                </a:lnTo>
                <a:lnTo>
                  <a:pt x="3671196" y="4022304"/>
                </a:lnTo>
                <a:lnTo>
                  <a:pt x="3706072" y="3993730"/>
                </a:lnTo>
                <a:lnTo>
                  <a:pt x="3740363" y="3964478"/>
                </a:lnTo>
                <a:lnTo>
                  <a:pt x="3774058" y="3934559"/>
                </a:lnTo>
                <a:lnTo>
                  <a:pt x="3807148" y="3903983"/>
                </a:lnTo>
                <a:lnTo>
                  <a:pt x="3839621" y="3872761"/>
                </a:lnTo>
                <a:lnTo>
                  <a:pt x="3871469" y="3840902"/>
                </a:lnTo>
                <a:lnTo>
                  <a:pt x="3902681" y="3808417"/>
                </a:lnTo>
                <a:lnTo>
                  <a:pt x="3933246" y="3775315"/>
                </a:lnTo>
                <a:lnTo>
                  <a:pt x="3963154" y="3741608"/>
                </a:lnTo>
                <a:lnTo>
                  <a:pt x="3992396" y="3707306"/>
                </a:lnTo>
                <a:lnTo>
                  <a:pt x="4020960" y="3672417"/>
                </a:lnTo>
                <a:lnTo>
                  <a:pt x="4048838" y="3636954"/>
                </a:lnTo>
                <a:lnTo>
                  <a:pt x="4076018" y="3600925"/>
                </a:lnTo>
                <a:lnTo>
                  <a:pt x="4102490" y="3564341"/>
                </a:lnTo>
                <a:lnTo>
                  <a:pt x="4128245" y="3527213"/>
                </a:lnTo>
                <a:lnTo>
                  <a:pt x="4153272" y="3489550"/>
                </a:lnTo>
                <a:lnTo>
                  <a:pt x="4177560" y="3451363"/>
                </a:lnTo>
                <a:lnTo>
                  <a:pt x="4201101" y="3412661"/>
                </a:lnTo>
                <a:lnTo>
                  <a:pt x="4223883" y="3373456"/>
                </a:lnTo>
                <a:lnTo>
                  <a:pt x="4245896" y="3333757"/>
                </a:lnTo>
                <a:lnTo>
                  <a:pt x="4267130" y="3293574"/>
                </a:lnTo>
                <a:lnTo>
                  <a:pt x="4287576" y="3252918"/>
                </a:lnTo>
                <a:lnTo>
                  <a:pt x="4307222" y="3211798"/>
                </a:lnTo>
                <a:lnTo>
                  <a:pt x="4326059" y="3170225"/>
                </a:lnTo>
                <a:lnTo>
                  <a:pt x="4344076" y="3128210"/>
                </a:lnTo>
                <a:lnTo>
                  <a:pt x="4361263" y="3085762"/>
                </a:lnTo>
                <a:lnTo>
                  <a:pt x="4377611" y="3042892"/>
                </a:lnTo>
                <a:lnTo>
                  <a:pt x="4393108" y="2999609"/>
                </a:lnTo>
                <a:lnTo>
                  <a:pt x="4407745" y="2955924"/>
                </a:lnTo>
                <a:lnTo>
                  <a:pt x="4421512" y="2911847"/>
                </a:lnTo>
                <a:lnTo>
                  <a:pt x="4434397" y="2867389"/>
                </a:lnTo>
                <a:lnTo>
                  <a:pt x="4446392" y="2822559"/>
                </a:lnTo>
                <a:lnTo>
                  <a:pt x="4457486" y="2777367"/>
                </a:lnTo>
                <a:lnTo>
                  <a:pt x="4467669" y="2731825"/>
                </a:lnTo>
                <a:lnTo>
                  <a:pt x="4476930" y="2685941"/>
                </a:lnTo>
                <a:lnTo>
                  <a:pt x="4485260" y="2639727"/>
                </a:lnTo>
                <a:lnTo>
                  <a:pt x="4492647" y="2593193"/>
                </a:lnTo>
                <a:lnTo>
                  <a:pt x="4499083" y="2546347"/>
                </a:lnTo>
                <a:lnTo>
                  <a:pt x="4504557" y="2499202"/>
                </a:lnTo>
                <a:lnTo>
                  <a:pt x="4509058" y="2451767"/>
                </a:lnTo>
                <a:lnTo>
                  <a:pt x="4512577" y="2404052"/>
                </a:lnTo>
                <a:lnTo>
                  <a:pt x="4515103" y="2356067"/>
                </a:lnTo>
                <a:lnTo>
                  <a:pt x="4516626" y="2307823"/>
                </a:lnTo>
                <a:lnTo>
                  <a:pt x="4517136" y="2259329"/>
                </a:lnTo>
                <a:lnTo>
                  <a:pt x="4516626" y="2210836"/>
                </a:lnTo>
                <a:lnTo>
                  <a:pt x="4515103" y="2162592"/>
                </a:lnTo>
                <a:lnTo>
                  <a:pt x="4512577" y="2114607"/>
                </a:lnTo>
                <a:lnTo>
                  <a:pt x="4509058" y="2066892"/>
                </a:lnTo>
                <a:lnTo>
                  <a:pt x="4504557" y="2019457"/>
                </a:lnTo>
                <a:lnTo>
                  <a:pt x="4499083" y="1972312"/>
                </a:lnTo>
                <a:lnTo>
                  <a:pt x="4492647" y="1925466"/>
                </a:lnTo>
                <a:lnTo>
                  <a:pt x="4485260" y="1878932"/>
                </a:lnTo>
                <a:lnTo>
                  <a:pt x="4476930" y="1832718"/>
                </a:lnTo>
                <a:lnTo>
                  <a:pt x="4467669" y="1786834"/>
                </a:lnTo>
                <a:lnTo>
                  <a:pt x="4457486" y="1741292"/>
                </a:lnTo>
                <a:lnTo>
                  <a:pt x="4446392" y="1696100"/>
                </a:lnTo>
                <a:lnTo>
                  <a:pt x="4434397" y="1651270"/>
                </a:lnTo>
                <a:lnTo>
                  <a:pt x="4421512" y="1606812"/>
                </a:lnTo>
                <a:lnTo>
                  <a:pt x="4407745" y="1562735"/>
                </a:lnTo>
                <a:lnTo>
                  <a:pt x="4393108" y="1519050"/>
                </a:lnTo>
                <a:lnTo>
                  <a:pt x="4377611" y="1475767"/>
                </a:lnTo>
                <a:lnTo>
                  <a:pt x="4361263" y="1432897"/>
                </a:lnTo>
                <a:lnTo>
                  <a:pt x="4344076" y="1390449"/>
                </a:lnTo>
                <a:lnTo>
                  <a:pt x="4326059" y="1348434"/>
                </a:lnTo>
                <a:lnTo>
                  <a:pt x="4307222" y="1306861"/>
                </a:lnTo>
                <a:lnTo>
                  <a:pt x="4287576" y="1265741"/>
                </a:lnTo>
                <a:lnTo>
                  <a:pt x="4267130" y="1225085"/>
                </a:lnTo>
                <a:lnTo>
                  <a:pt x="4245896" y="1184902"/>
                </a:lnTo>
                <a:lnTo>
                  <a:pt x="4223883" y="1145203"/>
                </a:lnTo>
                <a:lnTo>
                  <a:pt x="4201101" y="1105998"/>
                </a:lnTo>
                <a:lnTo>
                  <a:pt x="4177560" y="1067296"/>
                </a:lnTo>
                <a:lnTo>
                  <a:pt x="4153272" y="1029109"/>
                </a:lnTo>
                <a:lnTo>
                  <a:pt x="4128245" y="991446"/>
                </a:lnTo>
                <a:lnTo>
                  <a:pt x="4102490" y="954318"/>
                </a:lnTo>
                <a:lnTo>
                  <a:pt x="4076018" y="917734"/>
                </a:lnTo>
                <a:lnTo>
                  <a:pt x="4048838" y="881705"/>
                </a:lnTo>
                <a:lnTo>
                  <a:pt x="4020960" y="846242"/>
                </a:lnTo>
                <a:lnTo>
                  <a:pt x="3992396" y="811353"/>
                </a:lnTo>
                <a:lnTo>
                  <a:pt x="3963154" y="777051"/>
                </a:lnTo>
                <a:lnTo>
                  <a:pt x="3933246" y="743344"/>
                </a:lnTo>
                <a:lnTo>
                  <a:pt x="3902681" y="710242"/>
                </a:lnTo>
                <a:lnTo>
                  <a:pt x="3871469" y="677757"/>
                </a:lnTo>
                <a:lnTo>
                  <a:pt x="3839621" y="645898"/>
                </a:lnTo>
                <a:lnTo>
                  <a:pt x="3807148" y="614676"/>
                </a:lnTo>
                <a:lnTo>
                  <a:pt x="3774058" y="584100"/>
                </a:lnTo>
                <a:lnTo>
                  <a:pt x="3740363" y="554181"/>
                </a:lnTo>
                <a:lnTo>
                  <a:pt x="3706072" y="524929"/>
                </a:lnTo>
                <a:lnTo>
                  <a:pt x="3671196" y="496355"/>
                </a:lnTo>
                <a:lnTo>
                  <a:pt x="3635744" y="468467"/>
                </a:lnTo>
                <a:lnTo>
                  <a:pt x="3599728" y="441278"/>
                </a:lnTo>
                <a:lnTo>
                  <a:pt x="3563157" y="414796"/>
                </a:lnTo>
                <a:lnTo>
                  <a:pt x="3526041" y="389032"/>
                </a:lnTo>
                <a:lnTo>
                  <a:pt x="3488391" y="363996"/>
                </a:lnTo>
                <a:lnTo>
                  <a:pt x="3450216" y="339699"/>
                </a:lnTo>
                <a:lnTo>
                  <a:pt x="3411528" y="316150"/>
                </a:lnTo>
                <a:lnTo>
                  <a:pt x="3372336" y="293360"/>
                </a:lnTo>
                <a:lnTo>
                  <a:pt x="3332650" y="271339"/>
                </a:lnTo>
                <a:lnTo>
                  <a:pt x="3292481" y="250096"/>
                </a:lnTo>
                <a:lnTo>
                  <a:pt x="3251838" y="229644"/>
                </a:lnTo>
                <a:lnTo>
                  <a:pt x="3210732" y="209990"/>
                </a:lnTo>
                <a:lnTo>
                  <a:pt x="3169173" y="191147"/>
                </a:lnTo>
                <a:lnTo>
                  <a:pt x="3127172" y="173123"/>
                </a:lnTo>
                <a:lnTo>
                  <a:pt x="3084738" y="155929"/>
                </a:lnTo>
                <a:lnTo>
                  <a:pt x="3041881" y="139576"/>
                </a:lnTo>
                <a:lnTo>
                  <a:pt x="2998613" y="124073"/>
                </a:lnTo>
                <a:lnTo>
                  <a:pt x="2954942" y="109430"/>
                </a:lnTo>
                <a:lnTo>
                  <a:pt x="2910880" y="95659"/>
                </a:lnTo>
                <a:lnTo>
                  <a:pt x="2866435" y="82768"/>
                </a:lnTo>
                <a:lnTo>
                  <a:pt x="2821620" y="70769"/>
                </a:lnTo>
                <a:lnTo>
                  <a:pt x="2776443" y="59671"/>
                </a:lnTo>
                <a:lnTo>
                  <a:pt x="2730915" y="49485"/>
                </a:lnTo>
                <a:lnTo>
                  <a:pt x="2685046" y="40220"/>
                </a:lnTo>
                <a:lnTo>
                  <a:pt x="2638847" y="31887"/>
                </a:lnTo>
                <a:lnTo>
                  <a:pt x="2592327" y="24497"/>
                </a:lnTo>
                <a:lnTo>
                  <a:pt x="2545497" y="18059"/>
                </a:lnTo>
                <a:lnTo>
                  <a:pt x="2498366" y="12583"/>
                </a:lnTo>
                <a:lnTo>
                  <a:pt x="2450946" y="8080"/>
                </a:lnTo>
                <a:lnTo>
                  <a:pt x="2403245" y="4560"/>
                </a:lnTo>
                <a:lnTo>
                  <a:pt x="2355275" y="2033"/>
                </a:lnTo>
                <a:lnTo>
                  <a:pt x="2307046" y="510"/>
                </a:lnTo>
                <a:lnTo>
                  <a:pt x="2258567" y="0"/>
                </a:lnTo>
                <a:close/>
              </a:path>
            </a:pathLst>
          </a:cu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" name="object 6"/>
          <p:cNvSpPr/>
          <p:nvPr/>
        </p:nvSpPr>
        <p:spPr>
          <a:xfrm>
            <a:off x="4973257" y="3544980"/>
            <a:ext cx="448400" cy="448526"/>
          </a:xfrm>
          <a:custGeom>
            <a:avLst/>
            <a:gdLst/>
            <a:ahLst/>
            <a:cxnLst/>
            <a:rect l="l" t="t" r="r" b="b"/>
            <a:pathLst>
              <a:path w="4517390" h="4518660">
                <a:moveTo>
                  <a:pt x="2258567" y="0"/>
                </a:moveTo>
                <a:lnTo>
                  <a:pt x="2210089" y="510"/>
                </a:lnTo>
                <a:lnTo>
                  <a:pt x="2161860" y="2033"/>
                </a:lnTo>
                <a:lnTo>
                  <a:pt x="2113890" y="4560"/>
                </a:lnTo>
                <a:lnTo>
                  <a:pt x="2066189" y="8080"/>
                </a:lnTo>
                <a:lnTo>
                  <a:pt x="2018769" y="12583"/>
                </a:lnTo>
                <a:lnTo>
                  <a:pt x="1971638" y="18059"/>
                </a:lnTo>
                <a:lnTo>
                  <a:pt x="1924808" y="24497"/>
                </a:lnTo>
                <a:lnTo>
                  <a:pt x="1878288" y="31887"/>
                </a:lnTo>
                <a:lnTo>
                  <a:pt x="1832089" y="40220"/>
                </a:lnTo>
                <a:lnTo>
                  <a:pt x="1786220" y="49485"/>
                </a:lnTo>
                <a:lnTo>
                  <a:pt x="1740692" y="59671"/>
                </a:lnTo>
                <a:lnTo>
                  <a:pt x="1695515" y="70769"/>
                </a:lnTo>
                <a:lnTo>
                  <a:pt x="1650700" y="82768"/>
                </a:lnTo>
                <a:lnTo>
                  <a:pt x="1606255" y="95659"/>
                </a:lnTo>
                <a:lnTo>
                  <a:pt x="1562193" y="109430"/>
                </a:lnTo>
                <a:lnTo>
                  <a:pt x="1518522" y="124073"/>
                </a:lnTo>
                <a:lnTo>
                  <a:pt x="1475254" y="139576"/>
                </a:lnTo>
                <a:lnTo>
                  <a:pt x="1432397" y="155929"/>
                </a:lnTo>
                <a:lnTo>
                  <a:pt x="1389963" y="173123"/>
                </a:lnTo>
                <a:lnTo>
                  <a:pt x="1347962" y="191147"/>
                </a:lnTo>
                <a:lnTo>
                  <a:pt x="1306403" y="209990"/>
                </a:lnTo>
                <a:lnTo>
                  <a:pt x="1265297" y="229644"/>
                </a:lnTo>
                <a:lnTo>
                  <a:pt x="1224654" y="250096"/>
                </a:lnTo>
                <a:lnTo>
                  <a:pt x="1184485" y="271339"/>
                </a:lnTo>
                <a:lnTo>
                  <a:pt x="1144799" y="293360"/>
                </a:lnTo>
                <a:lnTo>
                  <a:pt x="1105607" y="316150"/>
                </a:lnTo>
                <a:lnTo>
                  <a:pt x="1066919" y="339699"/>
                </a:lnTo>
                <a:lnTo>
                  <a:pt x="1028744" y="363996"/>
                </a:lnTo>
                <a:lnTo>
                  <a:pt x="991094" y="389032"/>
                </a:lnTo>
                <a:lnTo>
                  <a:pt x="953978" y="414796"/>
                </a:lnTo>
                <a:lnTo>
                  <a:pt x="917407" y="441278"/>
                </a:lnTo>
                <a:lnTo>
                  <a:pt x="881391" y="468467"/>
                </a:lnTo>
                <a:lnTo>
                  <a:pt x="845939" y="496355"/>
                </a:lnTo>
                <a:lnTo>
                  <a:pt x="811063" y="524929"/>
                </a:lnTo>
                <a:lnTo>
                  <a:pt x="776772" y="554181"/>
                </a:lnTo>
                <a:lnTo>
                  <a:pt x="743077" y="584100"/>
                </a:lnTo>
                <a:lnTo>
                  <a:pt x="709987" y="614676"/>
                </a:lnTo>
                <a:lnTo>
                  <a:pt x="677514" y="645898"/>
                </a:lnTo>
                <a:lnTo>
                  <a:pt x="645666" y="677757"/>
                </a:lnTo>
                <a:lnTo>
                  <a:pt x="614454" y="710242"/>
                </a:lnTo>
                <a:lnTo>
                  <a:pt x="583889" y="743344"/>
                </a:lnTo>
                <a:lnTo>
                  <a:pt x="553981" y="777051"/>
                </a:lnTo>
                <a:lnTo>
                  <a:pt x="524739" y="811353"/>
                </a:lnTo>
                <a:lnTo>
                  <a:pt x="496175" y="846242"/>
                </a:lnTo>
                <a:lnTo>
                  <a:pt x="468297" y="881705"/>
                </a:lnTo>
                <a:lnTo>
                  <a:pt x="441117" y="917734"/>
                </a:lnTo>
                <a:lnTo>
                  <a:pt x="414645" y="954318"/>
                </a:lnTo>
                <a:lnTo>
                  <a:pt x="388890" y="991446"/>
                </a:lnTo>
                <a:lnTo>
                  <a:pt x="363863" y="1029109"/>
                </a:lnTo>
                <a:lnTo>
                  <a:pt x="339575" y="1067296"/>
                </a:lnTo>
                <a:lnTo>
                  <a:pt x="316034" y="1105998"/>
                </a:lnTo>
                <a:lnTo>
                  <a:pt x="293252" y="1145203"/>
                </a:lnTo>
                <a:lnTo>
                  <a:pt x="271239" y="1184902"/>
                </a:lnTo>
                <a:lnTo>
                  <a:pt x="250005" y="1225085"/>
                </a:lnTo>
                <a:lnTo>
                  <a:pt x="229559" y="1265741"/>
                </a:lnTo>
                <a:lnTo>
                  <a:pt x="209913" y="1306861"/>
                </a:lnTo>
                <a:lnTo>
                  <a:pt x="191076" y="1348434"/>
                </a:lnTo>
                <a:lnTo>
                  <a:pt x="173059" y="1390449"/>
                </a:lnTo>
                <a:lnTo>
                  <a:pt x="155872" y="1432897"/>
                </a:lnTo>
                <a:lnTo>
                  <a:pt x="139524" y="1475767"/>
                </a:lnTo>
                <a:lnTo>
                  <a:pt x="124027" y="1519050"/>
                </a:lnTo>
                <a:lnTo>
                  <a:pt x="109390" y="1562735"/>
                </a:lnTo>
                <a:lnTo>
                  <a:pt x="95623" y="1606812"/>
                </a:lnTo>
                <a:lnTo>
                  <a:pt x="82738" y="1651270"/>
                </a:lnTo>
                <a:lnTo>
                  <a:pt x="70743" y="1696100"/>
                </a:lnTo>
                <a:lnTo>
                  <a:pt x="59649" y="1741292"/>
                </a:lnTo>
                <a:lnTo>
                  <a:pt x="49466" y="1786834"/>
                </a:lnTo>
                <a:lnTo>
                  <a:pt x="40205" y="1832718"/>
                </a:lnTo>
                <a:lnTo>
                  <a:pt x="31875" y="1878932"/>
                </a:lnTo>
                <a:lnTo>
                  <a:pt x="24488" y="1925466"/>
                </a:lnTo>
                <a:lnTo>
                  <a:pt x="18052" y="1972312"/>
                </a:lnTo>
                <a:lnTo>
                  <a:pt x="12578" y="2019457"/>
                </a:lnTo>
                <a:lnTo>
                  <a:pt x="8077" y="2066892"/>
                </a:lnTo>
                <a:lnTo>
                  <a:pt x="4558" y="2114607"/>
                </a:lnTo>
                <a:lnTo>
                  <a:pt x="2032" y="2162592"/>
                </a:lnTo>
                <a:lnTo>
                  <a:pt x="509" y="2210836"/>
                </a:lnTo>
                <a:lnTo>
                  <a:pt x="0" y="2259329"/>
                </a:lnTo>
                <a:lnTo>
                  <a:pt x="509" y="2307823"/>
                </a:lnTo>
                <a:lnTo>
                  <a:pt x="2032" y="2356067"/>
                </a:lnTo>
                <a:lnTo>
                  <a:pt x="4558" y="2404052"/>
                </a:lnTo>
                <a:lnTo>
                  <a:pt x="8077" y="2451767"/>
                </a:lnTo>
                <a:lnTo>
                  <a:pt x="12578" y="2499202"/>
                </a:lnTo>
                <a:lnTo>
                  <a:pt x="18052" y="2546347"/>
                </a:lnTo>
                <a:lnTo>
                  <a:pt x="24488" y="2593193"/>
                </a:lnTo>
                <a:lnTo>
                  <a:pt x="31875" y="2639727"/>
                </a:lnTo>
                <a:lnTo>
                  <a:pt x="40205" y="2685941"/>
                </a:lnTo>
                <a:lnTo>
                  <a:pt x="49466" y="2731825"/>
                </a:lnTo>
                <a:lnTo>
                  <a:pt x="59649" y="2777367"/>
                </a:lnTo>
                <a:lnTo>
                  <a:pt x="70743" y="2822559"/>
                </a:lnTo>
                <a:lnTo>
                  <a:pt x="82738" y="2867389"/>
                </a:lnTo>
                <a:lnTo>
                  <a:pt x="95623" y="2911847"/>
                </a:lnTo>
                <a:lnTo>
                  <a:pt x="109390" y="2955924"/>
                </a:lnTo>
                <a:lnTo>
                  <a:pt x="124027" y="2999609"/>
                </a:lnTo>
                <a:lnTo>
                  <a:pt x="139524" y="3042892"/>
                </a:lnTo>
                <a:lnTo>
                  <a:pt x="155872" y="3085762"/>
                </a:lnTo>
                <a:lnTo>
                  <a:pt x="173059" y="3128210"/>
                </a:lnTo>
                <a:lnTo>
                  <a:pt x="191076" y="3170225"/>
                </a:lnTo>
                <a:lnTo>
                  <a:pt x="209913" y="3211798"/>
                </a:lnTo>
                <a:lnTo>
                  <a:pt x="229559" y="3252918"/>
                </a:lnTo>
                <a:lnTo>
                  <a:pt x="250005" y="3293574"/>
                </a:lnTo>
                <a:lnTo>
                  <a:pt x="271239" y="3333757"/>
                </a:lnTo>
                <a:lnTo>
                  <a:pt x="293252" y="3373456"/>
                </a:lnTo>
                <a:lnTo>
                  <a:pt x="316034" y="3412661"/>
                </a:lnTo>
                <a:lnTo>
                  <a:pt x="339575" y="3451363"/>
                </a:lnTo>
                <a:lnTo>
                  <a:pt x="363863" y="3489550"/>
                </a:lnTo>
                <a:lnTo>
                  <a:pt x="388890" y="3527213"/>
                </a:lnTo>
                <a:lnTo>
                  <a:pt x="414645" y="3564341"/>
                </a:lnTo>
                <a:lnTo>
                  <a:pt x="441117" y="3600925"/>
                </a:lnTo>
                <a:lnTo>
                  <a:pt x="468297" y="3636954"/>
                </a:lnTo>
                <a:lnTo>
                  <a:pt x="496175" y="3672417"/>
                </a:lnTo>
                <a:lnTo>
                  <a:pt x="524739" y="3707306"/>
                </a:lnTo>
                <a:lnTo>
                  <a:pt x="553981" y="3741608"/>
                </a:lnTo>
                <a:lnTo>
                  <a:pt x="583889" y="3775315"/>
                </a:lnTo>
                <a:lnTo>
                  <a:pt x="614454" y="3808417"/>
                </a:lnTo>
                <a:lnTo>
                  <a:pt x="645666" y="3840902"/>
                </a:lnTo>
                <a:lnTo>
                  <a:pt x="677514" y="3872761"/>
                </a:lnTo>
                <a:lnTo>
                  <a:pt x="709987" y="3903983"/>
                </a:lnTo>
                <a:lnTo>
                  <a:pt x="743077" y="3934559"/>
                </a:lnTo>
                <a:lnTo>
                  <a:pt x="776772" y="3964478"/>
                </a:lnTo>
                <a:lnTo>
                  <a:pt x="811063" y="3993730"/>
                </a:lnTo>
                <a:lnTo>
                  <a:pt x="845939" y="4022304"/>
                </a:lnTo>
                <a:lnTo>
                  <a:pt x="881391" y="4050192"/>
                </a:lnTo>
                <a:lnTo>
                  <a:pt x="917407" y="4077381"/>
                </a:lnTo>
                <a:lnTo>
                  <a:pt x="953978" y="4103863"/>
                </a:lnTo>
                <a:lnTo>
                  <a:pt x="991094" y="4129627"/>
                </a:lnTo>
                <a:lnTo>
                  <a:pt x="1028744" y="4154663"/>
                </a:lnTo>
                <a:lnTo>
                  <a:pt x="1066919" y="4178960"/>
                </a:lnTo>
                <a:lnTo>
                  <a:pt x="1105607" y="4202509"/>
                </a:lnTo>
                <a:lnTo>
                  <a:pt x="1144799" y="4225299"/>
                </a:lnTo>
                <a:lnTo>
                  <a:pt x="1184485" y="4247320"/>
                </a:lnTo>
                <a:lnTo>
                  <a:pt x="1224654" y="4268563"/>
                </a:lnTo>
                <a:lnTo>
                  <a:pt x="1265297" y="4289015"/>
                </a:lnTo>
                <a:lnTo>
                  <a:pt x="1306403" y="4308669"/>
                </a:lnTo>
                <a:lnTo>
                  <a:pt x="1347962" y="4327512"/>
                </a:lnTo>
                <a:lnTo>
                  <a:pt x="1389963" y="4345536"/>
                </a:lnTo>
                <a:lnTo>
                  <a:pt x="1432397" y="4362730"/>
                </a:lnTo>
                <a:lnTo>
                  <a:pt x="1475254" y="4379083"/>
                </a:lnTo>
                <a:lnTo>
                  <a:pt x="1518522" y="4394586"/>
                </a:lnTo>
                <a:lnTo>
                  <a:pt x="1562193" y="4409229"/>
                </a:lnTo>
                <a:lnTo>
                  <a:pt x="1606255" y="4423000"/>
                </a:lnTo>
                <a:lnTo>
                  <a:pt x="1650700" y="4435891"/>
                </a:lnTo>
                <a:lnTo>
                  <a:pt x="1695515" y="4447890"/>
                </a:lnTo>
                <a:lnTo>
                  <a:pt x="1740692" y="4458988"/>
                </a:lnTo>
                <a:lnTo>
                  <a:pt x="1786220" y="4469174"/>
                </a:lnTo>
                <a:lnTo>
                  <a:pt x="1832089" y="4478439"/>
                </a:lnTo>
                <a:lnTo>
                  <a:pt x="1878288" y="4486772"/>
                </a:lnTo>
                <a:lnTo>
                  <a:pt x="1924808" y="4494162"/>
                </a:lnTo>
                <a:lnTo>
                  <a:pt x="1971638" y="4500600"/>
                </a:lnTo>
                <a:lnTo>
                  <a:pt x="2018769" y="4506076"/>
                </a:lnTo>
                <a:lnTo>
                  <a:pt x="2066189" y="4510579"/>
                </a:lnTo>
                <a:lnTo>
                  <a:pt x="2113890" y="4514099"/>
                </a:lnTo>
                <a:lnTo>
                  <a:pt x="2161860" y="4516626"/>
                </a:lnTo>
                <a:lnTo>
                  <a:pt x="2210089" y="4518149"/>
                </a:lnTo>
                <a:lnTo>
                  <a:pt x="2258567" y="4518660"/>
                </a:lnTo>
                <a:lnTo>
                  <a:pt x="2307046" y="4518149"/>
                </a:lnTo>
                <a:lnTo>
                  <a:pt x="2355275" y="4516626"/>
                </a:lnTo>
                <a:lnTo>
                  <a:pt x="2403245" y="4514099"/>
                </a:lnTo>
                <a:lnTo>
                  <a:pt x="2450946" y="4510579"/>
                </a:lnTo>
                <a:lnTo>
                  <a:pt x="2498366" y="4506076"/>
                </a:lnTo>
                <a:lnTo>
                  <a:pt x="2545497" y="4500600"/>
                </a:lnTo>
                <a:lnTo>
                  <a:pt x="2592327" y="4494162"/>
                </a:lnTo>
                <a:lnTo>
                  <a:pt x="2638847" y="4486772"/>
                </a:lnTo>
                <a:lnTo>
                  <a:pt x="2685046" y="4478439"/>
                </a:lnTo>
                <a:lnTo>
                  <a:pt x="2730915" y="4469174"/>
                </a:lnTo>
                <a:lnTo>
                  <a:pt x="2776443" y="4458988"/>
                </a:lnTo>
                <a:lnTo>
                  <a:pt x="2821620" y="4447890"/>
                </a:lnTo>
                <a:lnTo>
                  <a:pt x="2866435" y="4435891"/>
                </a:lnTo>
                <a:lnTo>
                  <a:pt x="2910880" y="4423000"/>
                </a:lnTo>
                <a:lnTo>
                  <a:pt x="2954942" y="4409229"/>
                </a:lnTo>
                <a:lnTo>
                  <a:pt x="2998613" y="4394586"/>
                </a:lnTo>
                <a:lnTo>
                  <a:pt x="3041881" y="4379083"/>
                </a:lnTo>
                <a:lnTo>
                  <a:pt x="3084738" y="4362730"/>
                </a:lnTo>
                <a:lnTo>
                  <a:pt x="3127172" y="4345536"/>
                </a:lnTo>
                <a:lnTo>
                  <a:pt x="3169173" y="4327512"/>
                </a:lnTo>
                <a:lnTo>
                  <a:pt x="3210732" y="4308669"/>
                </a:lnTo>
                <a:lnTo>
                  <a:pt x="3251838" y="4289015"/>
                </a:lnTo>
                <a:lnTo>
                  <a:pt x="3292481" y="4268563"/>
                </a:lnTo>
                <a:lnTo>
                  <a:pt x="3332650" y="4247320"/>
                </a:lnTo>
                <a:lnTo>
                  <a:pt x="3372336" y="4225299"/>
                </a:lnTo>
                <a:lnTo>
                  <a:pt x="3411528" y="4202509"/>
                </a:lnTo>
                <a:lnTo>
                  <a:pt x="3450216" y="4178960"/>
                </a:lnTo>
                <a:lnTo>
                  <a:pt x="3488391" y="4154663"/>
                </a:lnTo>
                <a:lnTo>
                  <a:pt x="3526041" y="4129627"/>
                </a:lnTo>
                <a:lnTo>
                  <a:pt x="3563157" y="4103863"/>
                </a:lnTo>
                <a:lnTo>
                  <a:pt x="3599728" y="4077381"/>
                </a:lnTo>
                <a:lnTo>
                  <a:pt x="3635744" y="4050192"/>
                </a:lnTo>
                <a:lnTo>
                  <a:pt x="3671196" y="4022304"/>
                </a:lnTo>
                <a:lnTo>
                  <a:pt x="3706072" y="3993730"/>
                </a:lnTo>
                <a:lnTo>
                  <a:pt x="3740363" y="3964478"/>
                </a:lnTo>
                <a:lnTo>
                  <a:pt x="3774058" y="3934559"/>
                </a:lnTo>
                <a:lnTo>
                  <a:pt x="3807148" y="3903983"/>
                </a:lnTo>
                <a:lnTo>
                  <a:pt x="3839621" y="3872761"/>
                </a:lnTo>
                <a:lnTo>
                  <a:pt x="3871469" y="3840902"/>
                </a:lnTo>
                <a:lnTo>
                  <a:pt x="3902681" y="3808417"/>
                </a:lnTo>
                <a:lnTo>
                  <a:pt x="3933246" y="3775315"/>
                </a:lnTo>
                <a:lnTo>
                  <a:pt x="3963154" y="3741608"/>
                </a:lnTo>
                <a:lnTo>
                  <a:pt x="3992396" y="3707306"/>
                </a:lnTo>
                <a:lnTo>
                  <a:pt x="4020960" y="3672417"/>
                </a:lnTo>
                <a:lnTo>
                  <a:pt x="4048838" y="3636954"/>
                </a:lnTo>
                <a:lnTo>
                  <a:pt x="4076018" y="3600925"/>
                </a:lnTo>
                <a:lnTo>
                  <a:pt x="4102490" y="3564341"/>
                </a:lnTo>
                <a:lnTo>
                  <a:pt x="4128245" y="3527213"/>
                </a:lnTo>
                <a:lnTo>
                  <a:pt x="4153272" y="3489550"/>
                </a:lnTo>
                <a:lnTo>
                  <a:pt x="4177560" y="3451363"/>
                </a:lnTo>
                <a:lnTo>
                  <a:pt x="4201101" y="3412661"/>
                </a:lnTo>
                <a:lnTo>
                  <a:pt x="4223883" y="3373456"/>
                </a:lnTo>
                <a:lnTo>
                  <a:pt x="4245896" y="3333757"/>
                </a:lnTo>
                <a:lnTo>
                  <a:pt x="4267130" y="3293574"/>
                </a:lnTo>
                <a:lnTo>
                  <a:pt x="4287576" y="3252918"/>
                </a:lnTo>
                <a:lnTo>
                  <a:pt x="4307222" y="3211798"/>
                </a:lnTo>
                <a:lnTo>
                  <a:pt x="4326059" y="3170225"/>
                </a:lnTo>
                <a:lnTo>
                  <a:pt x="4344076" y="3128210"/>
                </a:lnTo>
                <a:lnTo>
                  <a:pt x="4361263" y="3085762"/>
                </a:lnTo>
                <a:lnTo>
                  <a:pt x="4377611" y="3042892"/>
                </a:lnTo>
                <a:lnTo>
                  <a:pt x="4393108" y="2999609"/>
                </a:lnTo>
                <a:lnTo>
                  <a:pt x="4407745" y="2955924"/>
                </a:lnTo>
                <a:lnTo>
                  <a:pt x="4421512" y="2911847"/>
                </a:lnTo>
                <a:lnTo>
                  <a:pt x="4434397" y="2867389"/>
                </a:lnTo>
                <a:lnTo>
                  <a:pt x="4446392" y="2822559"/>
                </a:lnTo>
                <a:lnTo>
                  <a:pt x="4457486" y="2777367"/>
                </a:lnTo>
                <a:lnTo>
                  <a:pt x="4467669" y="2731825"/>
                </a:lnTo>
                <a:lnTo>
                  <a:pt x="4476930" y="2685941"/>
                </a:lnTo>
                <a:lnTo>
                  <a:pt x="4485260" y="2639727"/>
                </a:lnTo>
                <a:lnTo>
                  <a:pt x="4492647" y="2593193"/>
                </a:lnTo>
                <a:lnTo>
                  <a:pt x="4499083" y="2546347"/>
                </a:lnTo>
                <a:lnTo>
                  <a:pt x="4504557" y="2499202"/>
                </a:lnTo>
                <a:lnTo>
                  <a:pt x="4509058" y="2451767"/>
                </a:lnTo>
                <a:lnTo>
                  <a:pt x="4512577" y="2404052"/>
                </a:lnTo>
                <a:lnTo>
                  <a:pt x="4515103" y="2356067"/>
                </a:lnTo>
                <a:lnTo>
                  <a:pt x="4516626" y="2307823"/>
                </a:lnTo>
                <a:lnTo>
                  <a:pt x="4517136" y="2259329"/>
                </a:lnTo>
                <a:lnTo>
                  <a:pt x="4516626" y="2210836"/>
                </a:lnTo>
                <a:lnTo>
                  <a:pt x="4515103" y="2162592"/>
                </a:lnTo>
                <a:lnTo>
                  <a:pt x="4512577" y="2114607"/>
                </a:lnTo>
                <a:lnTo>
                  <a:pt x="4509058" y="2066892"/>
                </a:lnTo>
                <a:lnTo>
                  <a:pt x="4504557" y="2019457"/>
                </a:lnTo>
                <a:lnTo>
                  <a:pt x="4499083" y="1972312"/>
                </a:lnTo>
                <a:lnTo>
                  <a:pt x="4492647" y="1925466"/>
                </a:lnTo>
                <a:lnTo>
                  <a:pt x="4485260" y="1878932"/>
                </a:lnTo>
                <a:lnTo>
                  <a:pt x="4476930" y="1832718"/>
                </a:lnTo>
                <a:lnTo>
                  <a:pt x="4467669" y="1786834"/>
                </a:lnTo>
                <a:lnTo>
                  <a:pt x="4457486" y="1741292"/>
                </a:lnTo>
                <a:lnTo>
                  <a:pt x="4446392" y="1696100"/>
                </a:lnTo>
                <a:lnTo>
                  <a:pt x="4434397" y="1651270"/>
                </a:lnTo>
                <a:lnTo>
                  <a:pt x="4421512" y="1606812"/>
                </a:lnTo>
                <a:lnTo>
                  <a:pt x="4407745" y="1562735"/>
                </a:lnTo>
                <a:lnTo>
                  <a:pt x="4393108" y="1519050"/>
                </a:lnTo>
                <a:lnTo>
                  <a:pt x="4377611" y="1475767"/>
                </a:lnTo>
                <a:lnTo>
                  <a:pt x="4361263" y="1432897"/>
                </a:lnTo>
                <a:lnTo>
                  <a:pt x="4344076" y="1390449"/>
                </a:lnTo>
                <a:lnTo>
                  <a:pt x="4326059" y="1348434"/>
                </a:lnTo>
                <a:lnTo>
                  <a:pt x="4307222" y="1306861"/>
                </a:lnTo>
                <a:lnTo>
                  <a:pt x="4287576" y="1265741"/>
                </a:lnTo>
                <a:lnTo>
                  <a:pt x="4267130" y="1225085"/>
                </a:lnTo>
                <a:lnTo>
                  <a:pt x="4245896" y="1184902"/>
                </a:lnTo>
                <a:lnTo>
                  <a:pt x="4223883" y="1145203"/>
                </a:lnTo>
                <a:lnTo>
                  <a:pt x="4201101" y="1105998"/>
                </a:lnTo>
                <a:lnTo>
                  <a:pt x="4177560" y="1067296"/>
                </a:lnTo>
                <a:lnTo>
                  <a:pt x="4153272" y="1029109"/>
                </a:lnTo>
                <a:lnTo>
                  <a:pt x="4128245" y="991446"/>
                </a:lnTo>
                <a:lnTo>
                  <a:pt x="4102490" y="954318"/>
                </a:lnTo>
                <a:lnTo>
                  <a:pt x="4076018" y="917734"/>
                </a:lnTo>
                <a:lnTo>
                  <a:pt x="4048838" y="881705"/>
                </a:lnTo>
                <a:lnTo>
                  <a:pt x="4020960" y="846242"/>
                </a:lnTo>
                <a:lnTo>
                  <a:pt x="3992396" y="811353"/>
                </a:lnTo>
                <a:lnTo>
                  <a:pt x="3963154" y="777051"/>
                </a:lnTo>
                <a:lnTo>
                  <a:pt x="3933246" y="743344"/>
                </a:lnTo>
                <a:lnTo>
                  <a:pt x="3902681" y="710242"/>
                </a:lnTo>
                <a:lnTo>
                  <a:pt x="3871469" y="677757"/>
                </a:lnTo>
                <a:lnTo>
                  <a:pt x="3839621" y="645898"/>
                </a:lnTo>
                <a:lnTo>
                  <a:pt x="3807148" y="614676"/>
                </a:lnTo>
                <a:lnTo>
                  <a:pt x="3774058" y="584100"/>
                </a:lnTo>
                <a:lnTo>
                  <a:pt x="3740363" y="554181"/>
                </a:lnTo>
                <a:lnTo>
                  <a:pt x="3706072" y="524929"/>
                </a:lnTo>
                <a:lnTo>
                  <a:pt x="3671196" y="496355"/>
                </a:lnTo>
                <a:lnTo>
                  <a:pt x="3635744" y="468467"/>
                </a:lnTo>
                <a:lnTo>
                  <a:pt x="3599728" y="441278"/>
                </a:lnTo>
                <a:lnTo>
                  <a:pt x="3563157" y="414796"/>
                </a:lnTo>
                <a:lnTo>
                  <a:pt x="3526041" y="389032"/>
                </a:lnTo>
                <a:lnTo>
                  <a:pt x="3488391" y="363996"/>
                </a:lnTo>
                <a:lnTo>
                  <a:pt x="3450216" y="339699"/>
                </a:lnTo>
                <a:lnTo>
                  <a:pt x="3411528" y="316150"/>
                </a:lnTo>
                <a:lnTo>
                  <a:pt x="3372336" y="293360"/>
                </a:lnTo>
                <a:lnTo>
                  <a:pt x="3332650" y="271339"/>
                </a:lnTo>
                <a:lnTo>
                  <a:pt x="3292481" y="250096"/>
                </a:lnTo>
                <a:lnTo>
                  <a:pt x="3251838" y="229644"/>
                </a:lnTo>
                <a:lnTo>
                  <a:pt x="3210732" y="209990"/>
                </a:lnTo>
                <a:lnTo>
                  <a:pt x="3169173" y="191147"/>
                </a:lnTo>
                <a:lnTo>
                  <a:pt x="3127172" y="173123"/>
                </a:lnTo>
                <a:lnTo>
                  <a:pt x="3084738" y="155929"/>
                </a:lnTo>
                <a:lnTo>
                  <a:pt x="3041881" y="139576"/>
                </a:lnTo>
                <a:lnTo>
                  <a:pt x="2998613" y="124073"/>
                </a:lnTo>
                <a:lnTo>
                  <a:pt x="2954942" y="109430"/>
                </a:lnTo>
                <a:lnTo>
                  <a:pt x="2910880" y="95659"/>
                </a:lnTo>
                <a:lnTo>
                  <a:pt x="2866435" y="82768"/>
                </a:lnTo>
                <a:lnTo>
                  <a:pt x="2821620" y="70769"/>
                </a:lnTo>
                <a:lnTo>
                  <a:pt x="2776443" y="59671"/>
                </a:lnTo>
                <a:lnTo>
                  <a:pt x="2730915" y="49485"/>
                </a:lnTo>
                <a:lnTo>
                  <a:pt x="2685046" y="40220"/>
                </a:lnTo>
                <a:lnTo>
                  <a:pt x="2638847" y="31887"/>
                </a:lnTo>
                <a:lnTo>
                  <a:pt x="2592327" y="24497"/>
                </a:lnTo>
                <a:lnTo>
                  <a:pt x="2545497" y="18059"/>
                </a:lnTo>
                <a:lnTo>
                  <a:pt x="2498366" y="12583"/>
                </a:lnTo>
                <a:lnTo>
                  <a:pt x="2450946" y="8080"/>
                </a:lnTo>
                <a:lnTo>
                  <a:pt x="2403245" y="4560"/>
                </a:lnTo>
                <a:lnTo>
                  <a:pt x="2355275" y="2033"/>
                </a:lnTo>
                <a:lnTo>
                  <a:pt x="2307046" y="510"/>
                </a:lnTo>
                <a:lnTo>
                  <a:pt x="2258567" y="0"/>
                </a:lnTo>
                <a:close/>
              </a:path>
            </a:pathLst>
          </a:cu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" name="object 6"/>
          <p:cNvSpPr/>
          <p:nvPr/>
        </p:nvSpPr>
        <p:spPr>
          <a:xfrm>
            <a:off x="5871802" y="4417053"/>
            <a:ext cx="448400" cy="448526"/>
          </a:xfrm>
          <a:custGeom>
            <a:avLst/>
            <a:gdLst/>
            <a:ahLst/>
            <a:cxnLst/>
            <a:rect l="l" t="t" r="r" b="b"/>
            <a:pathLst>
              <a:path w="4517390" h="4518660">
                <a:moveTo>
                  <a:pt x="2258567" y="0"/>
                </a:moveTo>
                <a:lnTo>
                  <a:pt x="2210089" y="510"/>
                </a:lnTo>
                <a:lnTo>
                  <a:pt x="2161860" y="2033"/>
                </a:lnTo>
                <a:lnTo>
                  <a:pt x="2113890" y="4560"/>
                </a:lnTo>
                <a:lnTo>
                  <a:pt x="2066189" y="8080"/>
                </a:lnTo>
                <a:lnTo>
                  <a:pt x="2018769" y="12583"/>
                </a:lnTo>
                <a:lnTo>
                  <a:pt x="1971638" y="18059"/>
                </a:lnTo>
                <a:lnTo>
                  <a:pt x="1924808" y="24497"/>
                </a:lnTo>
                <a:lnTo>
                  <a:pt x="1878288" y="31887"/>
                </a:lnTo>
                <a:lnTo>
                  <a:pt x="1832089" y="40220"/>
                </a:lnTo>
                <a:lnTo>
                  <a:pt x="1786220" y="49485"/>
                </a:lnTo>
                <a:lnTo>
                  <a:pt x="1740692" y="59671"/>
                </a:lnTo>
                <a:lnTo>
                  <a:pt x="1695515" y="70769"/>
                </a:lnTo>
                <a:lnTo>
                  <a:pt x="1650700" y="82768"/>
                </a:lnTo>
                <a:lnTo>
                  <a:pt x="1606255" y="95659"/>
                </a:lnTo>
                <a:lnTo>
                  <a:pt x="1562193" y="109430"/>
                </a:lnTo>
                <a:lnTo>
                  <a:pt x="1518522" y="124073"/>
                </a:lnTo>
                <a:lnTo>
                  <a:pt x="1475254" y="139576"/>
                </a:lnTo>
                <a:lnTo>
                  <a:pt x="1432397" y="155929"/>
                </a:lnTo>
                <a:lnTo>
                  <a:pt x="1389963" y="173123"/>
                </a:lnTo>
                <a:lnTo>
                  <a:pt x="1347962" y="191147"/>
                </a:lnTo>
                <a:lnTo>
                  <a:pt x="1306403" y="209990"/>
                </a:lnTo>
                <a:lnTo>
                  <a:pt x="1265297" y="229644"/>
                </a:lnTo>
                <a:lnTo>
                  <a:pt x="1224654" y="250096"/>
                </a:lnTo>
                <a:lnTo>
                  <a:pt x="1184485" y="271339"/>
                </a:lnTo>
                <a:lnTo>
                  <a:pt x="1144799" y="293360"/>
                </a:lnTo>
                <a:lnTo>
                  <a:pt x="1105607" y="316150"/>
                </a:lnTo>
                <a:lnTo>
                  <a:pt x="1066919" y="339699"/>
                </a:lnTo>
                <a:lnTo>
                  <a:pt x="1028744" y="363996"/>
                </a:lnTo>
                <a:lnTo>
                  <a:pt x="991094" y="389032"/>
                </a:lnTo>
                <a:lnTo>
                  <a:pt x="953978" y="414796"/>
                </a:lnTo>
                <a:lnTo>
                  <a:pt x="917407" y="441278"/>
                </a:lnTo>
                <a:lnTo>
                  <a:pt x="881391" y="468467"/>
                </a:lnTo>
                <a:lnTo>
                  <a:pt x="845939" y="496355"/>
                </a:lnTo>
                <a:lnTo>
                  <a:pt x="811063" y="524929"/>
                </a:lnTo>
                <a:lnTo>
                  <a:pt x="776772" y="554181"/>
                </a:lnTo>
                <a:lnTo>
                  <a:pt x="743077" y="584100"/>
                </a:lnTo>
                <a:lnTo>
                  <a:pt x="709987" y="614676"/>
                </a:lnTo>
                <a:lnTo>
                  <a:pt x="677514" y="645898"/>
                </a:lnTo>
                <a:lnTo>
                  <a:pt x="645666" y="677757"/>
                </a:lnTo>
                <a:lnTo>
                  <a:pt x="614454" y="710242"/>
                </a:lnTo>
                <a:lnTo>
                  <a:pt x="583889" y="743344"/>
                </a:lnTo>
                <a:lnTo>
                  <a:pt x="553981" y="777051"/>
                </a:lnTo>
                <a:lnTo>
                  <a:pt x="524739" y="811353"/>
                </a:lnTo>
                <a:lnTo>
                  <a:pt x="496175" y="846242"/>
                </a:lnTo>
                <a:lnTo>
                  <a:pt x="468297" y="881705"/>
                </a:lnTo>
                <a:lnTo>
                  <a:pt x="441117" y="917734"/>
                </a:lnTo>
                <a:lnTo>
                  <a:pt x="414645" y="954318"/>
                </a:lnTo>
                <a:lnTo>
                  <a:pt x="388890" y="991446"/>
                </a:lnTo>
                <a:lnTo>
                  <a:pt x="363863" y="1029109"/>
                </a:lnTo>
                <a:lnTo>
                  <a:pt x="339575" y="1067296"/>
                </a:lnTo>
                <a:lnTo>
                  <a:pt x="316034" y="1105998"/>
                </a:lnTo>
                <a:lnTo>
                  <a:pt x="293252" y="1145203"/>
                </a:lnTo>
                <a:lnTo>
                  <a:pt x="271239" y="1184902"/>
                </a:lnTo>
                <a:lnTo>
                  <a:pt x="250005" y="1225085"/>
                </a:lnTo>
                <a:lnTo>
                  <a:pt x="229559" y="1265741"/>
                </a:lnTo>
                <a:lnTo>
                  <a:pt x="209913" y="1306861"/>
                </a:lnTo>
                <a:lnTo>
                  <a:pt x="191076" y="1348434"/>
                </a:lnTo>
                <a:lnTo>
                  <a:pt x="173059" y="1390449"/>
                </a:lnTo>
                <a:lnTo>
                  <a:pt x="155872" y="1432897"/>
                </a:lnTo>
                <a:lnTo>
                  <a:pt x="139524" y="1475767"/>
                </a:lnTo>
                <a:lnTo>
                  <a:pt x="124027" y="1519050"/>
                </a:lnTo>
                <a:lnTo>
                  <a:pt x="109390" y="1562735"/>
                </a:lnTo>
                <a:lnTo>
                  <a:pt x="95623" y="1606812"/>
                </a:lnTo>
                <a:lnTo>
                  <a:pt x="82738" y="1651270"/>
                </a:lnTo>
                <a:lnTo>
                  <a:pt x="70743" y="1696100"/>
                </a:lnTo>
                <a:lnTo>
                  <a:pt x="59649" y="1741292"/>
                </a:lnTo>
                <a:lnTo>
                  <a:pt x="49466" y="1786834"/>
                </a:lnTo>
                <a:lnTo>
                  <a:pt x="40205" y="1832718"/>
                </a:lnTo>
                <a:lnTo>
                  <a:pt x="31875" y="1878932"/>
                </a:lnTo>
                <a:lnTo>
                  <a:pt x="24488" y="1925466"/>
                </a:lnTo>
                <a:lnTo>
                  <a:pt x="18052" y="1972312"/>
                </a:lnTo>
                <a:lnTo>
                  <a:pt x="12578" y="2019457"/>
                </a:lnTo>
                <a:lnTo>
                  <a:pt x="8077" y="2066892"/>
                </a:lnTo>
                <a:lnTo>
                  <a:pt x="4558" y="2114607"/>
                </a:lnTo>
                <a:lnTo>
                  <a:pt x="2032" y="2162592"/>
                </a:lnTo>
                <a:lnTo>
                  <a:pt x="509" y="2210836"/>
                </a:lnTo>
                <a:lnTo>
                  <a:pt x="0" y="2259329"/>
                </a:lnTo>
                <a:lnTo>
                  <a:pt x="509" y="2307823"/>
                </a:lnTo>
                <a:lnTo>
                  <a:pt x="2032" y="2356067"/>
                </a:lnTo>
                <a:lnTo>
                  <a:pt x="4558" y="2404052"/>
                </a:lnTo>
                <a:lnTo>
                  <a:pt x="8077" y="2451767"/>
                </a:lnTo>
                <a:lnTo>
                  <a:pt x="12578" y="2499202"/>
                </a:lnTo>
                <a:lnTo>
                  <a:pt x="18052" y="2546347"/>
                </a:lnTo>
                <a:lnTo>
                  <a:pt x="24488" y="2593193"/>
                </a:lnTo>
                <a:lnTo>
                  <a:pt x="31875" y="2639727"/>
                </a:lnTo>
                <a:lnTo>
                  <a:pt x="40205" y="2685941"/>
                </a:lnTo>
                <a:lnTo>
                  <a:pt x="49466" y="2731825"/>
                </a:lnTo>
                <a:lnTo>
                  <a:pt x="59649" y="2777367"/>
                </a:lnTo>
                <a:lnTo>
                  <a:pt x="70743" y="2822559"/>
                </a:lnTo>
                <a:lnTo>
                  <a:pt x="82738" y="2867389"/>
                </a:lnTo>
                <a:lnTo>
                  <a:pt x="95623" y="2911847"/>
                </a:lnTo>
                <a:lnTo>
                  <a:pt x="109390" y="2955924"/>
                </a:lnTo>
                <a:lnTo>
                  <a:pt x="124027" y="2999609"/>
                </a:lnTo>
                <a:lnTo>
                  <a:pt x="139524" y="3042892"/>
                </a:lnTo>
                <a:lnTo>
                  <a:pt x="155872" y="3085762"/>
                </a:lnTo>
                <a:lnTo>
                  <a:pt x="173059" y="3128210"/>
                </a:lnTo>
                <a:lnTo>
                  <a:pt x="191076" y="3170225"/>
                </a:lnTo>
                <a:lnTo>
                  <a:pt x="209913" y="3211798"/>
                </a:lnTo>
                <a:lnTo>
                  <a:pt x="229559" y="3252918"/>
                </a:lnTo>
                <a:lnTo>
                  <a:pt x="250005" y="3293574"/>
                </a:lnTo>
                <a:lnTo>
                  <a:pt x="271239" y="3333757"/>
                </a:lnTo>
                <a:lnTo>
                  <a:pt x="293252" y="3373456"/>
                </a:lnTo>
                <a:lnTo>
                  <a:pt x="316034" y="3412661"/>
                </a:lnTo>
                <a:lnTo>
                  <a:pt x="339575" y="3451363"/>
                </a:lnTo>
                <a:lnTo>
                  <a:pt x="363863" y="3489550"/>
                </a:lnTo>
                <a:lnTo>
                  <a:pt x="388890" y="3527213"/>
                </a:lnTo>
                <a:lnTo>
                  <a:pt x="414645" y="3564341"/>
                </a:lnTo>
                <a:lnTo>
                  <a:pt x="441117" y="3600925"/>
                </a:lnTo>
                <a:lnTo>
                  <a:pt x="468297" y="3636954"/>
                </a:lnTo>
                <a:lnTo>
                  <a:pt x="496175" y="3672417"/>
                </a:lnTo>
                <a:lnTo>
                  <a:pt x="524739" y="3707306"/>
                </a:lnTo>
                <a:lnTo>
                  <a:pt x="553981" y="3741608"/>
                </a:lnTo>
                <a:lnTo>
                  <a:pt x="583889" y="3775315"/>
                </a:lnTo>
                <a:lnTo>
                  <a:pt x="614454" y="3808417"/>
                </a:lnTo>
                <a:lnTo>
                  <a:pt x="645666" y="3840902"/>
                </a:lnTo>
                <a:lnTo>
                  <a:pt x="677514" y="3872761"/>
                </a:lnTo>
                <a:lnTo>
                  <a:pt x="709987" y="3903983"/>
                </a:lnTo>
                <a:lnTo>
                  <a:pt x="743077" y="3934559"/>
                </a:lnTo>
                <a:lnTo>
                  <a:pt x="776772" y="3964478"/>
                </a:lnTo>
                <a:lnTo>
                  <a:pt x="811063" y="3993730"/>
                </a:lnTo>
                <a:lnTo>
                  <a:pt x="845939" y="4022304"/>
                </a:lnTo>
                <a:lnTo>
                  <a:pt x="881391" y="4050192"/>
                </a:lnTo>
                <a:lnTo>
                  <a:pt x="917407" y="4077381"/>
                </a:lnTo>
                <a:lnTo>
                  <a:pt x="953978" y="4103863"/>
                </a:lnTo>
                <a:lnTo>
                  <a:pt x="991094" y="4129627"/>
                </a:lnTo>
                <a:lnTo>
                  <a:pt x="1028744" y="4154663"/>
                </a:lnTo>
                <a:lnTo>
                  <a:pt x="1066919" y="4178960"/>
                </a:lnTo>
                <a:lnTo>
                  <a:pt x="1105607" y="4202509"/>
                </a:lnTo>
                <a:lnTo>
                  <a:pt x="1144799" y="4225299"/>
                </a:lnTo>
                <a:lnTo>
                  <a:pt x="1184485" y="4247320"/>
                </a:lnTo>
                <a:lnTo>
                  <a:pt x="1224654" y="4268563"/>
                </a:lnTo>
                <a:lnTo>
                  <a:pt x="1265297" y="4289015"/>
                </a:lnTo>
                <a:lnTo>
                  <a:pt x="1306403" y="4308669"/>
                </a:lnTo>
                <a:lnTo>
                  <a:pt x="1347962" y="4327512"/>
                </a:lnTo>
                <a:lnTo>
                  <a:pt x="1389963" y="4345536"/>
                </a:lnTo>
                <a:lnTo>
                  <a:pt x="1432397" y="4362730"/>
                </a:lnTo>
                <a:lnTo>
                  <a:pt x="1475254" y="4379083"/>
                </a:lnTo>
                <a:lnTo>
                  <a:pt x="1518522" y="4394586"/>
                </a:lnTo>
                <a:lnTo>
                  <a:pt x="1562193" y="4409229"/>
                </a:lnTo>
                <a:lnTo>
                  <a:pt x="1606255" y="4423000"/>
                </a:lnTo>
                <a:lnTo>
                  <a:pt x="1650700" y="4435891"/>
                </a:lnTo>
                <a:lnTo>
                  <a:pt x="1695515" y="4447890"/>
                </a:lnTo>
                <a:lnTo>
                  <a:pt x="1740692" y="4458988"/>
                </a:lnTo>
                <a:lnTo>
                  <a:pt x="1786220" y="4469174"/>
                </a:lnTo>
                <a:lnTo>
                  <a:pt x="1832089" y="4478439"/>
                </a:lnTo>
                <a:lnTo>
                  <a:pt x="1878288" y="4486772"/>
                </a:lnTo>
                <a:lnTo>
                  <a:pt x="1924808" y="4494162"/>
                </a:lnTo>
                <a:lnTo>
                  <a:pt x="1971638" y="4500600"/>
                </a:lnTo>
                <a:lnTo>
                  <a:pt x="2018769" y="4506076"/>
                </a:lnTo>
                <a:lnTo>
                  <a:pt x="2066189" y="4510579"/>
                </a:lnTo>
                <a:lnTo>
                  <a:pt x="2113890" y="4514099"/>
                </a:lnTo>
                <a:lnTo>
                  <a:pt x="2161860" y="4516626"/>
                </a:lnTo>
                <a:lnTo>
                  <a:pt x="2210089" y="4518149"/>
                </a:lnTo>
                <a:lnTo>
                  <a:pt x="2258567" y="4518660"/>
                </a:lnTo>
                <a:lnTo>
                  <a:pt x="2307046" y="4518149"/>
                </a:lnTo>
                <a:lnTo>
                  <a:pt x="2355275" y="4516626"/>
                </a:lnTo>
                <a:lnTo>
                  <a:pt x="2403245" y="4514099"/>
                </a:lnTo>
                <a:lnTo>
                  <a:pt x="2450946" y="4510579"/>
                </a:lnTo>
                <a:lnTo>
                  <a:pt x="2498366" y="4506076"/>
                </a:lnTo>
                <a:lnTo>
                  <a:pt x="2545497" y="4500600"/>
                </a:lnTo>
                <a:lnTo>
                  <a:pt x="2592327" y="4494162"/>
                </a:lnTo>
                <a:lnTo>
                  <a:pt x="2638847" y="4486772"/>
                </a:lnTo>
                <a:lnTo>
                  <a:pt x="2685046" y="4478439"/>
                </a:lnTo>
                <a:lnTo>
                  <a:pt x="2730915" y="4469174"/>
                </a:lnTo>
                <a:lnTo>
                  <a:pt x="2776443" y="4458988"/>
                </a:lnTo>
                <a:lnTo>
                  <a:pt x="2821620" y="4447890"/>
                </a:lnTo>
                <a:lnTo>
                  <a:pt x="2866435" y="4435891"/>
                </a:lnTo>
                <a:lnTo>
                  <a:pt x="2910880" y="4423000"/>
                </a:lnTo>
                <a:lnTo>
                  <a:pt x="2954942" y="4409229"/>
                </a:lnTo>
                <a:lnTo>
                  <a:pt x="2998613" y="4394586"/>
                </a:lnTo>
                <a:lnTo>
                  <a:pt x="3041881" y="4379083"/>
                </a:lnTo>
                <a:lnTo>
                  <a:pt x="3084738" y="4362730"/>
                </a:lnTo>
                <a:lnTo>
                  <a:pt x="3127172" y="4345536"/>
                </a:lnTo>
                <a:lnTo>
                  <a:pt x="3169173" y="4327512"/>
                </a:lnTo>
                <a:lnTo>
                  <a:pt x="3210732" y="4308669"/>
                </a:lnTo>
                <a:lnTo>
                  <a:pt x="3251838" y="4289015"/>
                </a:lnTo>
                <a:lnTo>
                  <a:pt x="3292481" y="4268563"/>
                </a:lnTo>
                <a:lnTo>
                  <a:pt x="3332650" y="4247320"/>
                </a:lnTo>
                <a:lnTo>
                  <a:pt x="3372336" y="4225299"/>
                </a:lnTo>
                <a:lnTo>
                  <a:pt x="3411528" y="4202509"/>
                </a:lnTo>
                <a:lnTo>
                  <a:pt x="3450216" y="4178960"/>
                </a:lnTo>
                <a:lnTo>
                  <a:pt x="3488391" y="4154663"/>
                </a:lnTo>
                <a:lnTo>
                  <a:pt x="3526041" y="4129627"/>
                </a:lnTo>
                <a:lnTo>
                  <a:pt x="3563157" y="4103863"/>
                </a:lnTo>
                <a:lnTo>
                  <a:pt x="3599728" y="4077381"/>
                </a:lnTo>
                <a:lnTo>
                  <a:pt x="3635744" y="4050192"/>
                </a:lnTo>
                <a:lnTo>
                  <a:pt x="3671196" y="4022304"/>
                </a:lnTo>
                <a:lnTo>
                  <a:pt x="3706072" y="3993730"/>
                </a:lnTo>
                <a:lnTo>
                  <a:pt x="3740363" y="3964478"/>
                </a:lnTo>
                <a:lnTo>
                  <a:pt x="3774058" y="3934559"/>
                </a:lnTo>
                <a:lnTo>
                  <a:pt x="3807148" y="3903983"/>
                </a:lnTo>
                <a:lnTo>
                  <a:pt x="3839621" y="3872761"/>
                </a:lnTo>
                <a:lnTo>
                  <a:pt x="3871469" y="3840902"/>
                </a:lnTo>
                <a:lnTo>
                  <a:pt x="3902681" y="3808417"/>
                </a:lnTo>
                <a:lnTo>
                  <a:pt x="3933246" y="3775315"/>
                </a:lnTo>
                <a:lnTo>
                  <a:pt x="3963154" y="3741608"/>
                </a:lnTo>
                <a:lnTo>
                  <a:pt x="3992396" y="3707306"/>
                </a:lnTo>
                <a:lnTo>
                  <a:pt x="4020960" y="3672417"/>
                </a:lnTo>
                <a:lnTo>
                  <a:pt x="4048838" y="3636954"/>
                </a:lnTo>
                <a:lnTo>
                  <a:pt x="4076018" y="3600925"/>
                </a:lnTo>
                <a:lnTo>
                  <a:pt x="4102490" y="3564341"/>
                </a:lnTo>
                <a:lnTo>
                  <a:pt x="4128245" y="3527213"/>
                </a:lnTo>
                <a:lnTo>
                  <a:pt x="4153272" y="3489550"/>
                </a:lnTo>
                <a:lnTo>
                  <a:pt x="4177560" y="3451363"/>
                </a:lnTo>
                <a:lnTo>
                  <a:pt x="4201101" y="3412661"/>
                </a:lnTo>
                <a:lnTo>
                  <a:pt x="4223883" y="3373456"/>
                </a:lnTo>
                <a:lnTo>
                  <a:pt x="4245896" y="3333757"/>
                </a:lnTo>
                <a:lnTo>
                  <a:pt x="4267130" y="3293574"/>
                </a:lnTo>
                <a:lnTo>
                  <a:pt x="4287576" y="3252918"/>
                </a:lnTo>
                <a:lnTo>
                  <a:pt x="4307222" y="3211798"/>
                </a:lnTo>
                <a:lnTo>
                  <a:pt x="4326059" y="3170225"/>
                </a:lnTo>
                <a:lnTo>
                  <a:pt x="4344076" y="3128210"/>
                </a:lnTo>
                <a:lnTo>
                  <a:pt x="4361263" y="3085762"/>
                </a:lnTo>
                <a:lnTo>
                  <a:pt x="4377611" y="3042892"/>
                </a:lnTo>
                <a:lnTo>
                  <a:pt x="4393108" y="2999609"/>
                </a:lnTo>
                <a:lnTo>
                  <a:pt x="4407745" y="2955924"/>
                </a:lnTo>
                <a:lnTo>
                  <a:pt x="4421512" y="2911847"/>
                </a:lnTo>
                <a:lnTo>
                  <a:pt x="4434397" y="2867389"/>
                </a:lnTo>
                <a:lnTo>
                  <a:pt x="4446392" y="2822559"/>
                </a:lnTo>
                <a:lnTo>
                  <a:pt x="4457486" y="2777367"/>
                </a:lnTo>
                <a:lnTo>
                  <a:pt x="4467669" y="2731825"/>
                </a:lnTo>
                <a:lnTo>
                  <a:pt x="4476930" y="2685941"/>
                </a:lnTo>
                <a:lnTo>
                  <a:pt x="4485260" y="2639727"/>
                </a:lnTo>
                <a:lnTo>
                  <a:pt x="4492647" y="2593193"/>
                </a:lnTo>
                <a:lnTo>
                  <a:pt x="4499083" y="2546347"/>
                </a:lnTo>
                <a:lnTo>
                  <a:pt x="4504557" y="2499202"/>
                </a:lnTo>
                <a:lnTo>
                  <a:pt x="4509058" y="2451767"/>
                </a:lnTo>
                <a:lnTo>
                  <a:pt x="4512577" y="2404052"/>
                </a:lnTo>
                <a:lnTo>
                  <a:pt x="4515103" y="2356067"/>
                </a:lnTo>
                <a:lnTo>
                  <a:pt x="4516626" y="2307823"/>
                </a:lnTo>
                <a:lnTo>
                  <a:pt x="4517136" y="2259329"/>
                </a:lnTo>
                <a:lnTo>
                  <a:pt x="4516626" y="2210836"/>
                </a:lnTo>
                <a:lnTo>
                  <a:pt x="4515103" y="2162592"/>
                </a:lnTo>
                <a:lnTo>
                  <a:pt x="4512577" y="2114607"/>
                </a:lnTo>
                <a:lnTo>
                  <a:pt x="4509058" y="2066892"/>
                </a:lnTo>
                <a:lnTo>
                  <a:pt x="4504557" y="2019457"/>
                </a:lnTo>
                <a:lnTo>
                  <a:pt x="4499083" y="1972312"/>
                </a:lnTo>
                <a:lnTo>
                  <a:pt x="4492647" y="1925466"/>
                </a:lnTo>
                <a:lnTo>
                  <a:pt x="4485260" y="1878932"/>
                </a:lnTo>
                <a:lnTo>
                  <a:pt x="4476930" y="1832718"/>
                </a:lnTo>
                <a:lnTo>
                  <a:pt x="4467669" y="1786834"/>
                </a:lnTo>
                <a:lnTo>
                  <a:pt x="4457486" y="1741292"/>
                </a:lnTo>
                <a:lnTo>
                  <a:pt x="4446392" y="1696100"/>
                </a:lnTo>
                <a:lnTo>
                  <a:pt x="4434397" y="1651270"/>
                </a:lnTo>
                <a:lnTo>
                  <a:pt x="4421512" y="1606812"/>
                </a:lnTo>
                <a:lnTo>
                  <a:pt x="4407745" y="1562735"/>
                </a:lnTo>
                <a:lnTo>
                  <a:pt x="4393108" y="1519050"/>
                </a:lnTo>
                <a:lnTo>
                  <a:pt x="4377611" y="1475767"/>
                </a:lnTo>
                <a:lnTo>
                  <a:pt x="4361263" y="1432897"/>
                </a:lnTo>
                <a:lnTo>
                  <a:pt x="4344076" y="1390449"/>
                </a:lnTo>
                <a:lnTo>
                  <a:pt x="4326059" y="1348434"/>
                </a:lnTo>
                <a:lnTo>
                  <a:pt x="4307222" y="1306861"/>
                </a:lnTo>
                <a:lnTo>
                  <a:pt x="4287576" y="1265741"/>
                </a:lnTo>
                <a:lnTo>
                  <a:pt x="4267130" y="1225085"/>
                </a:lnTo>
                <a:lnTo>
                  <a:pt x="4245896" y="1184902"/>
                </a:lnTo>
                <a:lnTo>
                  <a:pt x="4223883" y="1145203"/>
                </a:lnTo>
                <a:lnTo>
                  <a:pt x="4201101" y="1105998"/>
                </a:lnTo>
                <a:lnTo>
                  <a:pt x="4177560" y="1067296"/>
                </a:lnTo>
                <a:lnTo>
                  <a:pt x="4153272" y="1029109"/>
                </a:lnTo>
                <a:lnTo>
                  <a:pt x="4128245" y="991446"/>
                </a:lnTo>
                <a:lnTo>
                  <a:pt x="4102490" y="954318"/>
                </a:lnTo>
                <a:lnTo>
                  <a:pt x="4076018" y="917734"/>
                </a:lnTo>
                <a:lnTo>
                  <a:pt x="4048838" y="881705"/>
                </a:lnTo>
                <a:lnTo>
                  <a:pt x="4020960" y="846242"/>
                </a:lnTo>
                <a:lnTo>
                  <a:pt x="3992396" y="811353"/>
                </a:lnTo>
                <a:lnTo>
                  <a:pt x="3963154" y="777051"/>
                </a:lnTo>
                <a:lnTo>
                  <a:pt x="3933246" y="743344"/>
                </a:lnTo>
                <a:lnTo>
                  <a:pt x="3902681" y="710242"/>
                </a:lnTo>
                <a:lnTo>
                  <a:pt x="3871469" y="677757"/>
                </a:lnTo>
                <a:lnTo>
                  <a:pt x="3839621" y="645898"/>
                </a:lnTo>
                <a:lnTo>
                  <a:pt x="3807148" y="614676"/>
                </a:lnTo>
                <a:lnTo>
                  <a:pt x="3774058" y="584100"/>
                </a:lnTo>
                <a:lnTo>
                  <a:pt x="3740363" y="554181"/>
                </a:lnTo>
                <a:lnTo>
                  <a:pt x="3706072" y="524929"/>
                </a:lnTo>
                <a:lnTo>
                  <a:pt x="3671196" y="496355"/>
                </a:lnTo>
                <a:lnTo>
                  <a:pt x="3635744" y="468467"/>
                </a:lnTo>
                <a:lnTo>
                  <a:pt x="3599728" y="441278"/>
                </a:lnTo>
                <a:lnTo>
                  <a:pt x="3563157" y="414796"/>
                </a:lnTo>
                <a:lnTo>
                  <a:pt x="3526041" y="389032"/>
                </a:lnTo>
                <a:lnTo>
                  <a:pt x="3488391" y="363996"/>
                </a:lnTo>
                <a:lnTo>
                  <a:pt x="3450216" y="339699"/>
                </a:lnTo>
                <a:lnTo>
                  <a:pt x="3411528" y="316150"/>
                </a:lnTo>
                <a:lnTo>
                  <a:pt x="3372336" y="293360"/>
                </a:lnTo>
                <a:lnTo>
                  <a:pt x="3332650" y="271339"/>
                </a:lnTo>
                <a:lnTo>
                  <a:pt x="3292481" y="250096"/>
                </a:lnTo>
                <a:lnTo>
                  <a:pt x="3251838" y="229644"/>
                </a:lnTo>
                <a:lnTo>
                  <a:pt x="3210732" y="209990"/>
                </a:lnTo>
                <a:lnTo>
                  <a:pt x="3169173" y="191147"/>
                </a:lnTo>
                <a:lnTo>
                  <a:pt x="3127172" y="173123"/>
                </a:lnTo>
                <a:lnTo>
                  <a:pt x="3084738" y="155929"/>
                </a:lnTo>
                <a:lnTo>
                  <a:pt x="3041881" y="139576"/>
                </a:lnTo>
                <a:lnTo>
                  <a:pt x="2998613" y="124073"/>
                </a:lnTo>
                <a:lnTo>
                  <a:pt x="2954942" y="109430"/>
                </a:lnTo>
                <a:lnTo>
                  <a:pt x="2910880" y="95659"/>
                </a:lnTo>
                <a:lnTo>
                  <a:pt x="2866435" y="82768"/>
                </a:lnTo>
                <a:lnTo>
                  <a:pt x="2821620" y="70769"/>
                </a:lnTo>
                <a:lnTo>
                  <a:pt x="2776443" y="59671"/>
                </a:lnTo>
                <a:lnTo>
                  <a:pt x="2730915" y="49485"/>
                </a:lnTo>
                <a:lnTo>
                  <a:pt x="2685046" y="40220"/>
                </a:lnTo>
                <a:lnTo>
                  <a:pt x="2638847" y="31887"/>
                </a:lnTo>
                <a:lnTo>
                  <a:pt x="2592327" y="24497"/>
                </a:lnTo>
                <a:lnTo>
                  <a:pt x="2545497" y="18059"/>
                </a:lnTo>
                <a:lnTo>
                  <a:pt x="2498366" y="12583"/>
                </a:lnTo>
                <a:lnTo>
                  <a:pt x="2450946" y="8080"/>
                </a:lnTo>
                <a:lnTo>
                  <a:pt x="2403245" y="4560"/>
                </a:lnTo>
                <a:lnTo>
                  <a:pt x="2355275" y="2033"/>
                </a:lnTo>
                <a:lnTo>
                  <a:pt x="2307046" y="510"/>
                </a:lnTo>
                <a:lnTo>
                  <a:pt x="2258567" y="0"/>
                </a:lnTo>
                <a:close/>
              </a:path>
            </a:pathLst>
          </a:cu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" name="object 6"/>
          <p:cNvSpPr/>
          <p:nvPr/>
        </p:nvSpPr>
        <p:spPr>
          <a:xfrm>
            <a:off x="6770345" y="3549786"/>
            <a:ext cx="448400" cy="448526"/>
          </a:xfrm>
          <a:custGeom>
            <a:avLst/>
            <a:gdLst/>
            <a:ahLst/>
            <a:cxnLst/>
            <a:rect l="l" t="t" r="r" b="b"/>
            <a:pathLst>
              <a:path w="4517390" h="4518660">
                <a:moveTo>
                  <a:pt x="2258567" y="0"/>
                </a:moveTo>
                <a:lnTo>
                  <a:pt x="2210089" y="510"/>
                </a:lnTo>
                <a:lnTo>
                  <a:pt x="2161860" y="2033"/>
                </a:lnTo>
                <a:lnTo>
                  <a:pt x="2113890" y="4560"/>
                </a:lnTo>
                <a:lnTo>
                  <a:pt x="2066189" y="8080"/>
                </a:lnTo>
                <a:lnTo>
                  <a:pt x="2018769" y="12583"/>
                </a:lnTo>
                <a:lnTo>
                  <a:pt x="1971638" y="18059"/>
                </a:lnTo>
                <a:lnTo>
                  <a:pt x="1924808" y="24497"/>
                </a:lnTo>
                <a:lnTo>
                  <a:pt x="1878288" y="31887"/>
                </a:lnTo>
                <a:lnTo>
                  <a:pt x="1832089" y="40220"/>
                </a:lnTo>
                <a:lnTo>
                  <a:pt x="1786220" y="49485"/>
                </a:lnTo>
                <a:lnTo>
                  <a:pt x="1740692" y="59671"/>
                </a:lnTo>
                <a:lnTo>
                  <a:pt x="1695515" y="70769"/>
                </a:lnTo>
                <a:lnTo>
                  <a:pt x="1650700" y="82768"/>
                </a:lnTo>
                <a:lnTo>
                  <a:pt x="1606255" y="95659"/>
                </a:lnTo>
                <a:lnTo>
                  <a:pt x="1562193" y="109430"/>
                </a:lnTo>
                <a:lnTo>
                  <a:pt x="1518522" y="124073"/>
                </a:lnTo>
                <a:lnTo>
                  <a:pt x="1475254" y="139576"/>
                </a:lnTo>
                <a:lnTo>
                  <a:pt x="1432397" y="155929"/>
                </a:lnTo>
                <a:lnTo>
                  <a:pt x="1389963" y="173123"/>
                </a:lnTo>
                <a:lnTo>
                  <a:pt x="1347962" y="191147"/>
                </a:lnTo>
                <a:lnTo>
                  <a:pt x="1306403" y="209990"/>
                </a:lnTo>
                <a:lnTo>
                  <a:pt x="1265297" y="229644"/>
                </a:lnTo>
                <a:lnTo>
                  <a:pt x="1224654" y="250096"/>
                </a:lnTo>
                <a:lnTo>
                  <a:pt x="1184485" y="271339"/>
                </a:lnTo>
                <a:lnTo>
                  <a:pt x="1144799" y="293360"/>
                </a:lnTo>
                <a:lnTo>
                  <a:pt x="1105607" y="316150"/>
                </a:lnTo>
                <a:lnTo>
                  <a:pt x="1066919" y="339699"/>
                </a:lnTo>
                <a:lnTo>
                  <a:pt x="1028744" y="363996"/>
                </a:lnTo>
                <a:lnTo>
                  <a:pt x="991094" y="389032"/>
                </a:lnTo>
                <a:lnTo>
                  <a:pt x="953978" y="414796"/>
                </a:lnTo>
                <a:lnTo>
                  <a:pt x="917407" y="441278"/>
                </a:lnTo>
                <a:lnTo>
                  <a:pt x="881391" y="468467"/>
                </a:lnTo>
                <a:lnTo>
                  <a:pt x="845939" y="496355"/>
                </a:lnTo>
                <a:lnTo>
                  <a:pt x="811063" y="524929"/>
                </a:lnTo>
                <a:lnTo>
                  <a:pt x="776772" y="554181"/>
                </a:lnTo>
                <a:lnTo>
                  <a:pt x="743077" y="584100"/>
                </a:lnTo>
                <a:lnTo>
                  <a:pt x="709987" y="614676"/>
                </a:lnTo>
                <a:lnTo>
                  <a:pt x="677514" y="645898"/>
                </a:lnTo>
                <a:lnTo>
                  <a:pt x="645666" y="677757"/>
                </a:lnTo>
                <a:lnTo>
                  <a:pt x="614454" y="710242"/>
                </a:lnTo>
                <a:lnTo>
                  <a:pt x="583889" y="743344"/>
                </a:lnTo>
                <a:lnTo>
                  <a:pt x="553981" y="777051"/>
                </a:lnTo>
                <a:lnTo>
                  <a:pt x="524739" y="811353"/>
                </a:lnTo>
                <a:lnTo>
                  <a:pt x="496175" y="846242"/>
                </a:lnTo>
                <a:lnTo>
                  <a:pt x="468297" y="881705"/>
                </a:lnTo>
                <a:lnTo>
                  <a:pt x="441117" y="917734"/>
                </a:lnTo>
                <a:lnTo>
                  <a:pt x="414645" y="954318"/>
                </a:lnTo>
                <a:lnTo>
                  <a:pt x="388890" y="991446"/>
                </a:lnTo>
                <a:lnTo>
                  <a:pt x="363863" y="1029109"/>
                </a:lnTo>
                <a:lnTo>
                  <a:pt x="339575" y="1067296"/>
                </a:lnTo>
                <a:lnTo>
                  <a:pt x="316034" y="1105998"/>
                </a:lnTo>
                <a:lnTo>
                  <a:pt x="293252" y="1145203"/>
                </a:lnTo>
                <a:lnTo>
                  <a:pt x="271239" y="1184902"/>
                </a:lnTo>
                <a:lnTo>
                  <a:pt x="250005" y="1225085"/>
                </a:lnTo>
                <a:lnTo>
                  <a:pt x="229559" y="1265741"/>
                </a:lnTo>
                <a:lnTo>
                  <a:pt x="209913" y="1306861"/>
                </a:lnTo>
                <a:lnTo>
                  <a:pt x="191076" y="1348434"/>
                </a:lnTo>
                <a:lnTo>
                  <a:pt x="173059" y="1390449"/>
                </a:lnTo>
                <a:lnTo>
                  <a:pt x="155872" y="1432897"/>
                </a:lnTo>
                <a:lnTo>
                  <a:pt x="139524" y="1475767"/>
                </a:lnTo>
                <a:lnTo>
                  <a:pt x="124027" y="1519050"/>
                </a:lnTo>
                <a:lnTo>
                  <a:pt x="109390" y="1562735"/>
                </a:lnTo>
                <a:lnTo>
                  <a:pt x="95623" y="1606812"/>
                </a:lnTo>
                <a:lnTo>
                  <a:pt x="82738" y="1651270"/>
                </a:lnTo>
                <a:lnTo>
                  <a:pt x="70743" y="1696100"/>
                </a:lnTo>
                <a:lnTo>
                  <a:pt x="59649" y="1741292"/>
                </a:lnTo>
                <a:lnTo>
                  <a:pt x="49466" y="1786834"/>
                </a:lnTo>
                <a:lnTo>
                  <a:pt x="40205" y="1832718"/>
                </a:lnTo>
                <a:lnTo>
                  <a:pt x="31875" y="1878932"/>
                </a:lnTo>
                <a:lnTo>
                  <a:pt x="24488" y="1925466"/>
                </a:lnTo>
                <a:lnTo>
                  <a:pt x="18052" y="1972312"/>
                </a:lnTo>
                <a:lnTo>
                  <a:pt x="12578" y="2019457"/>
                </a:lnTo>
                <a:lnTo>
                  <a:pt x="8077" y="2066892"/>
                </a:lnTo>
                <a:lnTo>
                  <a:pt x="4558" y="2114607"/>
                </a:lnTo>
                <a:lnTo>
                  <a:pt x="2032" y="2162592"/>
                </a:lnTo>
                <a:lnTo>
                  <a:pt x="509" y="2210836"/>
                </a:lnTo>
                <a:lnTo>
                  <a:pt x="0" y="2259329"/>
                </a:lnTo>
                <a:lnTo>
                  <a:pt x="509" y="2307823"/>
                </a:lnTo>
                <a:lnTo>
                  <a:pt x="2032" y="2356067"/>
                </a:lnTo>
                <a:lnTo>
                  <a:pt x="4558" y="2404052"/>
                </a:lnTo>
                <a:lnTo>
                  <a:pt x="8077" y="2451767"/>
                </a:lnTo>
                <a:lnTo>
                  <a:pt x="12578" y="2499202"/>
                </a:lnTo>
                <a:lnTo>
                  <a:pt x="18052" y="2546347"/>
                </a:lnTo>
                <a:lnTo>
                  <a:pt x="24488" y="2593193"/>
                </a:lnTo>
                <a:lnTo>
                  <a:pt x="31875" y="2639727"/>
                </a:lnTo>
                <a:lnTo>
                  <a:pt x="40205" y="2685941"/>
                </a:lnTo>
                <a:lnTo>
                  <a:pt x="49466" y="2731825"/>
                </a:lnTo>
                <a:lnTo>
                  <a:pt x="59649" y="2777367"/>
                </a:lnTo>
                <a:lnTo>
                  <a:pt x="70743" y="2822559"/>
                </a:lnTo>
                <a:lnTo>
                  <a:pt x="82738" y="2867389"/>
                </a:lnTo>
                <a:lnTo>
                  <a:pt x="95623" y="2911847"/>
                </a:lnTo>
                <a:lnTo>
                  <a:pt x="109390" y="2955924"/>
                </a:lnTo>
                <a:lnTo>
                  <a:pt x="124027" y="2999609"/>
                </a:lnTo>
                <a:lnTo>
                  <a:pt x="139524" y="3042892"/>
                </a:lnTo>
                <a:lnTo>
                  <a:pt x="155872" y="3085762"/>
                </a:lnTo>
                <a:lnTo>
                  <a:pt x="173059" y="3128210"/>
                </a:lnTo>
                <a:lnTo>
                  <a:pt x="191076" y="3170225"/>
                </a:lnTo>
                <a:lnTo>
                  <a:pt x="209913" y="3211798"/>
                </a:lnTo>
                <a:lnTo>
                  <a:pt x="229559" y="3252918"/>
                </a:lnTo>
                <a:lnTo>
                  <a:pt x="250005" y="3293574"/>
                </a:lnTo>
                <a:lnTo>
                  <a:pt x="271239" y="3333757"/>
                </a:lnTo>
                <a:lnTo>
                  <a:pt x="293252" y="3373456"/>
                </a:lnTo>
                <a:lnTo>
                  <a:pt x="316034" y="3412661"/>
                </a:lnTo>
                <a:lnTo>
                  <a:pt x="339575" y="3451363"/>
                </a:lnTo>
                <a:lnTo>
                  <a:pt x="363863" y="3489550"/>
                </a:lnTo>
                <a:lnTo>
                  <a:pt x="388890" y="3527213"/>
                </a:lnTo>
                <a:lnTo>
                  <a:pt x="414645" y="3564341"/>
                </a:lnTo>
                <a:lnTo>
                  <a:pt x="441117" y="3600925"/>
                </a:lnTo>
                <a:lnTo>
                  <a:pt x="468297" y="3636954"/>
                </a:lnTo>
                <a:lnTo>
                  <a:pt x="496175" y="3672417"/>
                </a:lnTo>
                <a:lnTo>
                  <a:pt x="524739" y="3707306"/>
                </a:lnTo>
                <a:lnTo>
                  <a:pt x="553981" y="3741608"/>
                </a:lnTo>
                <a:lnTo>
                  <a:pt x="583889" y="3775315"/>
                </a:lnTo>
                <a:lnTo>
                  <a:pt x="614454" y="3808417"/>
                </a:lnTo>
                <a:lnTo>
                  <a:pt x="645666" y="3840902"/>
                </a:lnTo>
                <a:lnTo>
                  <a:pt x="677514" y="3872761"/>
                </a:lnTo>
                <a:lnTo>
                  <a:pt x="709987" y="3903983"/>
                </a:lnTo>
                <a:lnTo>
                  <a:pt x="743077" y="3934559"/>
                </a:lnTo>
                <a:lnTo>
                  <a:pt x="776772" y="3964478"/>
                </a:lnTo>
                <a:lnTo>
                  <a:pt x="811063" y="3993730"/>
                </a:lnTo>
                <a:lnTo>
                  <a:pt x="845939" y="4022304"/>
                </a:lnTo>
                <a:lnTo>
                  <a:pt x="881391" y="4050192"/>
                </a:lnTo>
                <a:lnTo>
                  <a:pt x="917407" y="4077381"/>
                </a:lnTo>
                <a:lnTo>
                  <a:pt x="953978" y="4103863"/>
                </a:lnTo>
                <a:lnTo>
                  <a:pt x="991094" y="4129627"/>
                </a:lnTo>
                <a:lnTo>
                  <a:pt x="1028744" y="4154663"/>
                </a:lnTo>
                <a:lnTo>
                  <a:pt x="1066919" y="4178960"/>
                </a:lnTo>
                <a:lnTo>
                  <a:pt x="1105607" y="4202509"/>
                </a:lnTo>
                <a:lnTo>
                  <a:pt x="1144799" y="4225299"/>
                </a:lnTo>
                <a:lnTo>
                  <a:pt x="1184485" y="4247320"/>
                </a:lnTo>
                <a:lnTo>
                  <a:pt x="1224654" y="4268563"/>
                </a:lnTo>
                <a:lnTo>
                  <a:pt x="1265297" y="4289015"/>
                </a:lnTo>
                <a:lnTo>
                  <a:pt x="1306403" y="4308669"/>
                </a:lnTo>
                <a:lnTo>
                  <a:pt x="1347962" y="4327512"/>
                </a:lnTo>
                <a:lnTo>
                  <a:pt x="1389963" y="4345536"/>
                </a:lnTo>
                <a:lnTo>
                  <a:pt x="1432397" y="4362730"/>
                </a:lnTo>
                <a:lnTo>
                  <a:pt x="1475254" y="4379083"/>
                </a:lnTo>
                <a:lnTo>
                  <a:pt x="1518522" y="4394586"/>
                </a:lnTo>
                <a:lnTo>
                  <a:pt x="1562193" y="4409229"/>
                </a:lnTo>
                <a:lnTo>
                  <a:pt x="1606255" y="4423000"/>
                </a:lnTo>
                <a:lnTo>
                  <a:pt x="1650700" y="4435891"/>
                </a:lnTo>
                <a:lnTo>
                  <a:pt x="1695515" y="4447890"/>
                </a:lnTo>
                <a:lnTo>
                  <a:pt x="1740692" y="4458988"/>
                </a:lnTo>
                <a:lnTo>
                  <a:pt x="1786220" y="4469174"/>
                </a:lnTo>
                <a:lnTo>
                  <a:pt x="1832089" y="4478439"/>
                </a:lnTo>
                <a:lnTo>
                  <a:pt x="1878288" y="4486772"/>
                </a:lnTo>
                <a:lnTo>
                  <a:pt x="1924808" y="4494162"/>
                </a:lnTo>
                <a:lnTo>
                  <a:pt x="1971638" y="4500600"/>
                </a:lnTo>
                <a:lnTo>
                  <a:pt x="2018769" y="4506076"/>
                </a:lnTo>
                <a:lnTo>
                  <a:pt x="2066189" y="4510579"/>
                </a:lnTo>
                <a:lnTo>
                  <a:pt x="2113890" y="4514099"/>
                </a:lnTo>
                <a:lnTo>
                  <a:pt x="2161860" y="4516626"/>
                </a:lnTo>
                <a:lnTo>
                  <a:pt x="2210089" y="4518149"/>
                </a:lnTo>
                <a:lnTo>
                  <a:pt x="2258567" y="4518660"/>
                </a:lnTo>
                <a:lnTo>
                  <a:pt x="2307046" y="4518149"/>
                </a:lnTo>
                <a:lnTo>
                  <a:pt x="2355275" y="4516626"/>
                </a:lnTo>
                <a:lnTo>
                  <a:pt x="2403245" y="4514099"/>
                </a:lnTo>
                <a:lnTo>
                  <a:pt x="2450946" y="4510579"/>
                </a:lnTo>
                <a:lnTo>
                  <a:pt x="2498366" y="4506076"/>
                </a:lnTo>
                <a:lnTo>
                  <a:pt x="2545497" y="4500600"/>
                </a:lnTo>
                <a:lnTo>
                  <a:pt x="2592327" y="4494162"/>
                </a:lnTo>
                <a:lnTo>
                  <a:pt x="2638847" y="4486772"/>
                </a:lnTo>
                <a:lnTo>
                  <a:pt x="2685046" y="4478439"/>
                </a:lnTo>
                <a:lnTo>
                  <a:pt x="2730915" y="4469174"/>
                </a:lnTo>
                <a:lnTo>
                  <a:pt x="2776443" y="4458988"/>
                </a:lnTo>
                <a:lnTo>
                  <a:pt x="2821620" y="4447890"/>
                </a:lnTo>
                <a:lnTo>
                  <a:pt x="2866435" y="4435891"/>
                </a:lnTo>
                <a:lnTo>
                  <a:pt x="2910880" y="4423000"/>
                </a:lnTo>
                <a:lnTo>
                  <a:pt x="2954942" y="4409229"/>
                </a:lnTo>
                <a:lnTo>
                  <a:pt x="2998613" y="4394586"/>
                </a:lnTo>
                <a:lnTo>
                  <a:pt x="3041881" y="4379083"/>
                </a:lnTo>
                <a:lnTo>
                  <a:pt x="3084738" y="4362730"/>
                </a:lnTo>
                <a:lnTo>
                  <a:pt x="3127172" y="4345536"/>
                </a:lnTo>
                <a:lnTo>
                  <a:pt x="3169173" y="4327512"/>
                </a:lnTo>
                <a:lnTo>
                  <a:pt x="3210732" y="4308669"/>
                </a:lnTo>
                <a:lnTo>
                  <a:pt x="3251838" y="4289015"/>
                </a:lnTo>
                <a:lnTo>
                  <a:pt x="3292481" y="4268563"/>
                </a:lnTo>
                <a:lnTo>
                  <a:pt x="3332650" y="4247320"/>
                </a:lnTo>
                <a:lnTo>
                  <a:pt x="3372336" y="4225299"/>
                </a:lnTo>
                <a:lnTo>
                  <a:pt x="3411528" y="4202509"/>
                </a:lnTo>
                <a:lnTo>
                  <a:pt x="3450216" y="4178960"/>
                </a:lnTo>
                <a:lnTo>
                  <a:pt x="3488391" y="4154663"/>
                </a:lnTo>
                <a:lnTo>
                  <a:pt x="3526041" y="4129627"/>
                </a:lnTo>
                <a:lnTo>
                  <a:pt x="3563157" y="4103863"/>
                </a:lnTo>
                <a:lnTo>
                  <a:pt x="3599728" y="4077381"/>
                </a:lnTo>
                <a:lnTo>
                  <a:pt x="3635744" y="4050192"/>
                </a:lnTo>
                <a:lnTo>
                  <a:pt x="3671196" y="4022304"/>
                </a:lnTo>
                <a:lnTo>
                  <a:pt x="3706072" y="3993730"/>
                </a:lnTo>
                <a:lnTo>
                  <a:pt x="3740363" y="3964478"/>
                </a:lnTo>
                <a:lnTo>
                  <a:pt x="3774058" y="3934559"/>
                </a:lnTo>
                <a:lnTo>
                  <a:pt x="3807148" y="3903983"/>
                </a:lnTo>
                <a:lnTo>
                  <a:pt x="3839621" y="3872761"/>
                </a:lnTo>
                <a:lnTo>
                  <a:pt x="3871469" y="3840902"/>
                </a:lnTo>
                <a:lnTo>
                  <a:pt x="3902681" y="3808417"/>
                </a:lnTo>
                <a:lnTo>
                  <a:pt x="3933246" y="3775315"/>
                </a:lnTo>
                <a:lnTo>
                  <a:pt x="3963154" y="3741608"/>
                </a:lnTo>
                <a:lnTo>
                  <a:pt x="3992396" y="3707306"/>
                </a:lnTo>
                <a:lnTo>
                  <a:pt x="4020960" y="3672417"/>
                </a:lnTo>
                <a:lnTo>
                  <a:pt x="4048838" y="3636954"/>
                </a:lnTo>
                <a:lnTo>
                  <a:pt x="4076018" y="3600925"/>
                </a:lnTo>
                <a:lnTo>
                  <a:pt x="4102490" y="3564341"/>
                </a:lnTo>
                <a:lnTo>
                  <a:pt x="4128245" y="3527213"/>
                </a:lnTo>
                <a:lnTo>
                  <a:pt x="4153272" y="3489550"/>
                </a:lnTo>
                <a:lnTo>
                  <a:pt x="4177560" y="3451363"/>
                </a:lnTo>
                <a:lnTo>
                  <a:pt x="4201101" y="3412661"/>
                </a:lnTo>
                <a:lnTo>
                  <a:pt x="4223883" y="3373456"/>
                </a:lnTo>
                <a:lnTo>
                  <a:pt x="4245896" y="3333757"/>
                </a:lnTo>
                <a:lnTo>
                  <a:pt x="4267130" y="3293574"/>
                </a:lnTo>
                <a:lnTo>
                  <a:pt x="4287576" y="3252918"/>
                </a:lnTo>
                <a:lnTo>
                  <a:pt x="4307222" y="3211798"/>
                </a:lnTo>
                <a:lnTo>
                  <a:pt x="4326059" y="3170225"/>
                </a:lnTo>
                <a:lnTo>
                  <a:pt x="4344076" y="3128210"/>
                </a:lnTo>
                <a:lnTo>
                  <a:pt x="4361263" y="3085762"/>
                </a:lnTo>
                <a:lnTo>
                  <a:pt x="4377611" y="3042892"/>
                </a:lnTo>
                <a:lnTo>
                  <a:pt x="4393108" y="2999609"/>
                </a:lnTo>
                <a:lnTo>
                  <a:pt x="4407745" y="2955924"/>
                </a:lnTo>
                <a:lnTo>
                  <a:pt x="4421512" y="2911847"/>
                </a:lnTo>
                <a:lnTo>
                  <a:pt x="4434397" y="2867389"/>
                </a:lnTo>
                <a:lnTo>
                  <a:pt x="4446392" y="2822559"/>
                </a:lnTo>
                <a:lnTo>
                  <a:pt x="4457486" y="2777367"/>
                </a:lnTo>
                <a:lnTo>
                  <a:pt x="4467669" y="2731825"/>
                </a:lnTo>
                <a:lnTo>
                  <a:pt x="4476930" y="2685941"/>
                </a:lnTo>
                <a:lnTo>
                  <a:pt x="4485260" y="2639727"/>
                </a:lnTo>
                <a:lnTo>
                  <a:pt x="4492647" y="2593193"/>
                </a:lnTo>
                <a:lnTo>
                  <a:pt x="4499083" y="2546347"/>
                </a:lnTo>
                <a:lnTo>
                  <a:pt x="4504557" y="2499202"/>
                </a:lnTo>
                <a:lnTo>
                  <a:pt x="4509058" y="2451767"/>
                </a:lnTo>
                <a:lnTo>
                  <a:pt x="4512577" y="2404052"/>
                </a:lnTo>
                <a:lnTo>
                  <a:pt x="4515103" y="2356067"/>
                </a:lnTo>
                <a:lnTo>
                  <a:pt x="4516626" y="2307823"/>
                </a:lnTo>
                <a:lnTo>
                  <a:pt x="4517136" y="2259329"/>
                </a:lnTo>
                <a:lnTo>
                  <a:pt x="4516626" y="2210836"/>
                </a:lnTo>
                <a:lnTo>
                  <a:pt x="4515103" y="2162592"/>
                </a:lnTo>
                <a:lnTo>
                  <a:pt x="4512577" y="2114607"/>
                </a:lnTo>
                <a:lnTo>
                  <a:pt x="4509058" y="2066892"/>
                </a:lnTo>
                <a:lnTo>
                  <a:pt x="4504557" y="2019457"/>
                </a:lnTo>
                <a:lnTo>
                  <a:pt x="4499083" y="1972312"/>
                </a:lnTo>
                <a:lnTo>
                  <a:pt x="4492647" y="1925466"/>
                </a:lnTo>
                <a:lnTo>
                  <a:pt x="4485260" y="1878932"/>
                </a:lnTo>
                <a:lnTo>
                  <a:pt x="4476930" y="1832718"/>
                </a:lnTo>
                <a:lnTo>
                  <a:pt x="4467669" y="1786834"/>
                </a:lnTo>
                <a:lnTo>
                  <a:pt x="4457486" y="1741292"/>
                </a:lnTo>
                <a:lnTo>
                  <a:pt x="4446392" y="1696100"/>
                </a:lnTo>
                <a:lnTo>
                  <a:pt x="4434397" y="1651270"/>
                </a:lnTo>
                <a:lnTo>
                  <a:pt x="4421512" y="1606812"/>
                </a:lnTo>
                <a:lnTo>
                  <a:pt x="4407745" y="1562735"/>
                </a:lnTo>
                <a:lnTo>
                  <a:pt x="4393108" y="1519050"/>
                </a:lnTo>
                <a:lnTo>
                  <a:pt x="4377611" y="1475767"/>
                </a:lnTo>
                <a:lnTo>
                  <a:pt x="4361263" y="1432897"/>
                </a:lnTo>
                <a:lnTo>
                  <a:pt x="4344076" y="1390449"/>
                </a:lnTo>
                <a:lnTo>
                  <a:pt x="4326059" y="1348434"/>
                </a:lnTo>
                <a:lnTo>
                  <a:pt x="4307222" y="1306861"/>
                </a:lnTo>
                <a:lnTo>
                  <a:pt x="4287576" y="1265741"/>
                </a:lnTo>
                <a:lnTo>
                  <a:pt x="4267130" y="1225085"/>
                </a:lnTo>
                <a:lnTo>
                  <a:pt x="4245896" y="1184902"/>
                </a:lnTo>
                <a:lnTo>
                  <a:pt x="4223883" y="1145203"/>
                </a:lnTo>
                <a:lnTo>
                  <a:pt x="4201101" y="1105998"/>
                </a:lnTo>
                <a:lnTo>
                  <a:pt x="4177560" y="1067296"/>
                </a:lnTo>
                <a:lnTo>
                  <a:pt x="4153272" y="1029109"/>
                </a:lnTo>
                <a:lnTo>
                  <a:pt x="4128245" y="991446"/>
                </a:lnTo>
                <a:lnTo>
                  <a:pt x="4102490" y="954318"/>
                </a:lnTo>
                <a:lnTo>
                  <a:pt x="4076018" y="917734"/>
                </a:lnTo>
                <a:lnTo>
                  <a:pt x="4048838" y="881705"/>
                </a:lnTo>
                <a:lnTo>
                  <a:pt x="4020960" y="846242"/>
                </a:lnTo>
                <a:lnTo>
                  <a:pt x="3992396" y="811353"/>
                </a:lnTo>
                <a:lnTo>
                  <a:pt x="3963154" y="777051"/>
                </a:lnTo>
                <a:lnTo>
                  <a:pt x="3933246" y="743344"/>
                </a:lnTo>
                <a:lnTo>
                  <a:pt x="3902681" y="710242"/>
                </a:lnTo>
                <a:lnTo>
                  <a:pt x="3871469" y="677757"/>
                </a:lnTo>
                <a:lnTo>
                  <a:pt x="3839621" y="645898"/>
                </a:lnTo>
                <a:lnTo>
                  <a:pt x="3807148" y="614676"/>
                </a:lnTo>
                <a:lnTo>
                  <a:pt x="3774058" y="584100"/>
                </a:lnTo>
                <a:lnTo>
                  <a:pt x="3740363" y="554181"/>
                </a:lnTo>
                <a:lnTo>
                  <a:pt x="3706072" y="524929"/>
                </a:lnTo>
                <a:lnTo>
                  <a:pt x="3671196" y="496355"/>
                </a:lnTo>
                <a:lnTo>
                  <a:pt x="3635744" y="468467"/>
                </a:lnTo>
                <a:lnTo>
                  <a:pt x="3599728" y="441278"/>
                </a:lnTo>
                <a:lnTo>
                  <a:pt x="3563157" y="414796"/>
                </a:lnTo>
                <a:lnTo>
                  <a:pt x="3526041" y="389032"/>
                </a:lnTo>
                <a:lnTo>
                  <a:pt x="3488391" y="363996"/>
                </a:lnTo>
                <a:lnTo>
                  <a:pt x="3450216" y="339699"/>
                </a:lnTo>
                <a:lnTo>
                  <a:pt x="3411528" y="316150"/>
                </a:lnTo>
                <a:lnTo>
                  <a:pt x="3372336" y="293360"/>
                </a:lnTo>
                <a:lnTo>
                  <a:pt x="3332650" y="271339"/>
                </a:lnTo>
                <a:lnTo>
                  <a:pt x="3292481" y="250096"/>
                </a:lnTo>
                <a:lnTo>
                  <a:pt x="3251838" y="229644"/>
                </a:lnTo>
                <a:lnTo>
                  <a:pt x="3210732" y="209990"/>
                </a:lnTo>
                <a:lnTo>
                  <a:pt x="3169173" y="191147"/>
                </a:lnTo>
                <a:lnTo>
                  <a:pt x="3127172" y="173123"/>
                </a:lnTo>
                <a:lnTo>
                  <a:pt x="3084738" y="155929"/>
                </a:lnTo>
                <a:lnTo>
                  <a:pt x="3041881" y="139576"/>
                </a:lnTo>
                <a:lnTo>
                  <a:pt x="2998613" y="124073"/>
                </a:lnTo>
                <a:lnTo>
                  <a:pt x="2954942" y="109430"/>
                </a:lnTo>
                <a:lnTo>
                  <a:pt x="2910880" y="95659"/>
                </a:lnTo>
                <a:lnTo>
                  <a:pt x="2866435" y="82768"/>
                </a:lnTo>
                <a:lnTo>
                  <a:pt x="2821620" y="70769"/>
                </a:lnTo>
                <a:lnTo>
                  <a:pt x="2776443" y="59671"/>
                </a:lnTo>
                <a:lnTo>
                  <a:pt x="2730915" y="49485"/>
                </a:lnTo>
                <a:lnTo>
                  <a:pt x="2685046" y="40220"/>
                </a:lnTo>
                <a:lnTo>
                  <a:pt x="2638847" y="31887"/>
                </a:lnTo>
                <a:lnTo>
                  <a:pt x="2592327" y="24497"/>
                </a:lnTo>
                <a:lnTo>
                  <a:pt x="2545497" y="18059"/>
                </a:lnTo>
                <a:lnTo>
                  <a:pt x="2498366" y="12583"/>
                </a:lnTo>
                <a:lnTo>
                  <a:pt x="2450946" y="8080"/>
                </a:lnTo>
                <a:lnTo>
                  <a:pt x="2403245" y="4560"/>
                </a:lnTo>
                <a:lnTo>
                  <a:pt x="2355275" y="2033"/>
                </a:lnTo>
                <a:lnTo>
                  <a:pt x="2307046" y="510"/>
                </a:lnTo>
                <a:lnTo>
                  <a:pt x="2258567" y="0"/>
                </a:lnTo>
                <a:close/>
              </a:path>
            </a:pathLst>
          </a:cu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791202" y="2286712"/>
            <a:ext cx="6479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solidFill>
                  <a:srgbClr val="080B85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芯片</a:t>
            </a:r>
            <a:endParaRPr kumimoji="1" lang="zh-CN" altLang="en-US" b="1" dirty="0">
              <a:solidFill>
                <a:srgbClr val="080B85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4403915" y="358457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solidFill>
                  <a:srgbClr val="080B85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算法</a:t>
            </a:r>
            <a:endParaRPr kumimoji="1" lang="zh-CN" altLang="en-US" b="1" dirty="0">
              <a:solidFill>
                <a:srgbClr val="080B85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792805" y="485070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solidFill>
                  <a:srgbClr val="080B85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软件</a:t>
            </a:r>
            <a:endParaRPr kumimoji="1" lang="zh-CN" altLang="en-US" b="1" dirty="0">
              <a:solidFill>
                <a:srgbClr val="080B85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" name="文本框 12"/>
          <p:cNvSpPr txBox="1">
            <a:spLocks noChangeAspect="1"/>
          </p:cNvSpPr>
          <p:nvPr/>
        </p:nvSpPr>
        <p:spPr>
          <a:xfrm>
            <a:off x="7153736" y="3584578"/>
            <a:ext cx="7752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b="1" dirty="0">
                <a:solidFill>
                  <a:srgbClr val="080B85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t>系统</a:t>
            </a:r>
            <a:endParaRPr kumimoji="1" lang="zh-CN" altLang="en-US" b="1" dirty="0">
              <a:solidFill>
                <a:srgbClr val="080B85"/>
              </a:solidFill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" name="椭圆 13"/>
          <p:cNvSpPr/>
          <p:nvPr/>
        </p:nvSpPr>
        <p:spPr>
          <a:xfrm>
            <a:off x="4110454" y="1759381"/>
            <a:ext cx="3961268" cy="3961268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" name="五边形 14"/>
          <p:cNvSpPr/>
          <p:nvPr/>
        </p:nvSpPr>
        <p:spPr>
          <a:xfrm>
            <a:off x="6010781" y="1625848"/>
            <a:ext cx="223573" cy="300251"/>
          </a:xfrm>
          <a:prstGeom prst="homePlate">
            <a:avLst>
              <a:gd name="adj" fmla="val 20188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" name="五边形 15"/>
          <p:cNvSpPr/>
          <p:nvPr/>
        </p:nvSpPr>
        <p:spPr>
          <a:xfrm rot="10800000">
            <a:off x="5979301" y="5572620"/>
            <a:ext cx="223573" cy="300251"/>
          </a:xfrm>
          <a:prstGeom prst="homePlate">
            <a:avLst>
              <a:gd name="adj" fmla="val 20188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pSp>
        <p:nvGrpSpPr>
          <p:cNvPr id="18" name="组合 17"/>
          <p:cNvGrpSpPr>
            <a:grpSpLocks noChangeAspect="1"/>
          </p:cNvGrpSpPr>
          <p:nvPr/>
        </p:nvGrpSpPr>
        <p:grpSpPr>
          <a:xfrm>
            <a:off x="8610780" y="2475131"/>
            <a:ext cx="437548" cy="432000"/>
            <a:chOff x="8269007" y="2787537"/>
            <a:chExt cx="350520" cy="346075"/>
          </a:xfrm>
        </p:grpSpPr>
        <p:sp>
          <p:nvSpPr>
            <p:cNvPr id="19" name="object 32"/>
            <p:cNvSpPr/>
            <p:nvPr/>
          </p:nvSpPr>
          <p:spPr>
            <a:xfrm>
              <a:off x="8269007" y="2787537"/>
              <a:ext cx="350520" cy="346075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solidFill>
              <a:srgbClr val="080B85"/>
            </a:solidFill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0" name="object 33"/>
            <p:cNvSpPr/>
            <p:nvPr/>
          </p:nvSpPr>
          <p:spPr>
            <a:xfrm>
              <a:off x="8285517" y="2800998"/>
              <a:ext cx="317500" cy="314325"/>
            </a:xfrm>
            <a:custGeom>
              <a:avLst/>
              <a:gdLst/>
              <a:ahLst/>
              <a:cxnLst/>
              <a:rect l="l" t="t" r="r" b="b"/>
              <a:pathLst>
                <a:path w="317500" h="314325">
                  <a:moveTo>
                    <a:pt x="314071" y="302387"/>
                  </a:moveTo>
                  <a:lnTo>
                    <a:pt x="307594" y="302387"/>
                  </a:lnTo>
                  <a:lnTo>
                    <a:pt x="305053" y="304926"/>
                  </a:lnTo>
                  <a:lnTo>
                    <a:pt x="305053" y="311530"/>
                  </a:lnTo>
                  <a:lnTo>
                    <a:pt x="307594" y="313943"/>
                  </a:lnTo>
                  <a:lnTo>
                    <a:pt x="314071" y="313943"/>
                  </a:lnTo>
                  <a:lnTo>
                    <a:pt x="316992" y="311530"/>
                  </a:lnTo>
                  <a:lnTo>
                    <a:pt x="316992" y="304926"/>
                  </a:lnTo>
                  <a:lnTo>
                    <a:pt x="314071" y="302387"/>
                  </a:lnTo>
                  <a:close/>
                </a:path>
                <a:path w="317500" h="314325">
                  <a:moveTo>
                    <a:pt x="290956" y="302387"/>
                  </a:moveTo>
                  <a:lnTo>
                    <a:pt x="284606" y="302387"/>
                  </a:lnTo>
                  <a:lnTo>
                    <a:pt x="281940" y="305053"/>
                  </a:lnTo>
                  <a:lnTo>
                    <a:pt x="281940" y="311403"/>
                  </a:lnTo>
                  <a:lnTo>
                    <a:pt x="284606" y="313943"/>
                  </a:lnTo>
                  <a:lnTo>
                    <a:pt x="290956" y="313943"/>
                  </a:lnTo>
                  <a:lnTo>
                    <a:pt x="293497" y="311403"/>
                  </a:lnTo>
                  <a:lnTo>
                    <a:pt x="293497" y="305053"/>
                  </a:lnTo>
                  <a:lnTo>
                    <a:pt x="290956" y="302387"/>
                  </a:lnTo>
                  <a:close/>
                </a:path>
                <a:path w="317500" h="314325">
                  <a:moveTo>
                    <a:pt x="267462" y="302387"/>
                  </a:moveTo>
                  <a:lnTo>
                    <a:pt x="261112" y="302387"/>
                  </a:lnTo>
                  <a:lnTo>
                    <a:pt x="258445" y="305053"/>
                  </a:lnTo>
                  <a:lnTo>
                    <a:pt x="258445" y="311403"/>
                  </a:lnTo>
                  <a:lnTo>
                    <a:pt x="261112" y="313943"/>
                  </a:lnTo>
                  <a:lnTo>
                    <a:pt x="267462" y="313943"/>
                  </a:lnTo>
                  <a:lnTo>
                    <a:pt x="270128" y="311403"/>
                  </a:lnTo>
                  <a:lnTo>
                    <a:pt x="270128" y="305053"/>
                  </a:lnTo>
                  <a:lnTo>
                    <a:pt x="267462" y="302387"/>
                  </a:lnTo>
                  <a:close/>
                </a:path>
                <a:path w="317500" h="314325">
                  <a:moveTo>
                    <a:pt x="243840" y="302387"/>
                  </a:moveTo>
                  <a:lnTo>
                    <a:pt x="237236" y="302387"/>
                  </a:lnTo>
                  <a:lnTo>
                    <a:pt x="234569" y="305053"/>
                  </a:lnTo>
                  <a:lnTo>
                    <a:pt x="234569" y="311403"/>
                  </a:lnTo>
                  <a:lnTo>
                    <a:pt x="237236" y="313943"/>
                  </a:lnTo>
                  <a:lnTo>
                    <a:pt x="243840" y="313943"/>
                  </a:lnTo>
                  <a:lnTo>
                    <a:pt x="246506" y="311403"/>
                  </a:lnTo>
                  <a:lnTo>
                    <a:pt x="246506" y="305053"/>
                  </a:lnTo>
                  <a:lnTo>
                    <a:pt x="243840" y="302387"/>
                  </a:lnTo>
                  <a:close/>
                </a:path>
                <a:path w="317500" h="314325">
                  <a:moveTo>
                    <a:pt x="220345" y="302387"/>
                  </a:moveTo>
                  <a:lnTo>
                    <a:pt x="213614" y="302387"/>
                  </a:lnTo>
                  <a:lnTo>
                    <a:pt x="210947" y="305053"/>
                  </a:lnTo>
                  <a:lnTo>
                    <a:pt x="210947" y="311403"/>
                  </a:lnTo>
                  <a:lnTo>
                    <a:pt x="213614" y="313943"/>
                  </a:lnTo>
                  <a:lnTo>
                    <a:pt x="220345" y="313943"/>
                  </a:lnTo>
                  <a:lnTo>
                    <a:pt x="223012" y="311403"/>
                  </a:lnTo>
                  <a:lnTo>
                    <a:pt x="223012" y="305053"/>
                  </a:lnTo>
                  <a:lnTo>
                    <a:pt x="220345" y="302387"/>
                  </a:lnTo>
                  <a:close/>
                </a:path>
                <a:path w="317500" h="314325">
                  <a:moveTo>
                    <a:pt x="196850" y="302387"/>
                  </a:moveTo>
                  <a:lnTo>
                    <a:pt x="190373" y="302387"/>
                  </a:lnTo>
                  <a:lnTo>
                    <a:pt x="187833" y="305053"/>
                  </a:lnTo>
                  <a:lnTo>
                    <a:pt x="187833" y="311403"/>
                  </a:lnTo>
                  <a:lnTo>
                    <a:pt x="190373" y="313943"/>
                  </a:lnTo>
                  <a:lnTo>
                    <a:pt x="196850" y="313943"/>
                  </a:lnTo>
                  <a:lnTo>
                    <a:pt x="199390" y="311403"/>
                  </a:lnTo>
                  <a:lnTo>
                    <a:pt x="199390" y="305053"/>
                  </a:lnTo>
                  <a:lnTo>
                    <a:pt x="196850" y="302387"/>
                  </a:lnTo>
                  <a:close/>
                </a:path>
                <a:path w="317500" h="314325">
                  <a:moveTo>
                    <a:pt x="173354" y="302387"/>
                  </a:moveTo>
                  <a:lnTo>
                    <a:pt x="167004" y="302387"/>
                  </a:lnTo>
                  <a:lnTo>
                    <a:pt x="164338" y="305053"/>
                  </a:lnTo>
                  <a:lnTo>
                    <a:pt x="164338" y="311403"/>
                  </a:lnTo>
                  <a:lnTo>
                    <a:pt x="167004" y="313943"/>
                  </a:lnTo>
                  <a:lnTo>
                    <a:pt x="173354" y="313943"/>
                  </a:lnTo>
                  <a:lnTo>
                    <a:pt x="175895" y="311403"/>
                  </a:lnTo>
                  <a:lnTo>
                    <a:pt x="175895" y="305053"/>
                  </a:lnTo>
                  <a:lnTo>
                    <a:pt x="173354" y="302387"/>
                  </a:lnTo>
                  <a:close/>
                </a:path>
                <a:path w="317500" h="314325">
                  <a:moveTo>
                    <a:pt x="150114" y="302387"/>
                  </a:moveTo>
                  <a:lnTo>
                    <a:pt x="143383" y="302387"/>
                  </a:lnTo>
                  <a:lnTo>
                    <a:pt x="140716" y="305053"/>
                  </a:lnTo>
                  <a:lnTo>
                    <a:pt x="140716" y="311403"/>
                  </a:lnTo>
                  <a:lnTo>
                    <a:pt x="143383" y="313943"/>
                  </a:lnTo>
                  <a:lnTo>
                    <a:pt x="150114" y="313943"/>
                  </a:lnTo>
                  <a:lnTo>
                    <a:pt x="152780" y="311403"/>
                  </a:lnTo>
                  <a:lnTo>
                    <a:pt x="152780" y="305053"/>
                  </a:lnTo>
                  <a:lnTo>
                    <a:pt x="150114" y="302387"/>
                  </a:lnTo>
                  <a:close/>
                </a:path>
                <a:path w="317500" h="314325">
                  <a:moveTo>
                    <a:pt x="126619" y="302387"/>
                  </a:moveTo>
                  <a:lnTo>
                    <a:pt x="120015" y="302387"/>
                  </a:lnTo>
                  <a:lnTo>
                    <a:pt x="117348" y="305053"/>
                  </a:lnTo>
                  <a:lnTo>
                    <a:pt x="117348" y="311403"/>
                  </a:lnTo>
                  <a:lnTo>
                    <a:pt x="120015" y="313943"/>
                  </a:lnTo>
                  <a:lnTo>
                    <a:pt x="126619" y="313943"/>
                  </a:lnTo>
                  <a:lnTo>
                    <a:pt x="129286" y="311403"/>
                  </a:lnTo>
                  <a:lnTo>
                    <a:pt x="129286" y="305053"/>
                  </a:lnTo>
                  <a:lnTo>
                    <a:pt x="126619" y="302387"/>
                  </a:lnTo>
                  <a:close/>
                </a:path>
                <a:path w="317500" h="314325">
                  <a:moveTo>
                    <a:pt x="103124" y="302387"/>
                  </a:moveTo>
                  <a:lnTo>
                    <a:pt x="96774" y="302387"/>
                  </a:lnTo>
                  <a:lnTo>
                    <a:pt x="94106" y="305053"/>
                  </a:lnTo>
                  <a:lnTo>
                    <a:pt x="94106" y="311403"/>
                  </a:lnTo>
                  <a:lnTo>
                    <a:pt x="96774" y="313943"/>
                  </a:lnTo>
                  <a:lnTo>
                    <a:pt x="103124" y="313943"/>
                  </a:lnTo>
                  <a:lnTo>
                    <a:pt x="105664" y="311403"/>
                  </a:lnTo>
                  <a:lnTo>
                    <a:pt x="105664" y="305053"/>
                  </a:lnTo>
                  <a:lnTo>
                    <a:pt x="103124" y="302387"/>
                  </a:lnTo>
                  <a:close/>
                </a:path>
                <a:path w="317500" h="314325">
                  <a:moveTo>
                    <a:pt x="79628" y="302387"/>
                  </a:moveTo>
                  <a:lnTo>
                    <a:pt x="73278" y="302387"/>
                  </a:lnTo>
                  <a:lnTo>
                    <a:pt x="70739" y="305053"/>
                  </a:lnTo>
                  <a:lnTo>
                    <a:pt x="70739" y="311403"/>
                  </a:lnTo>
                  <a:lnTo>
                    <a:pt x="73278" y="313943"/>
                  </a:lnTo>
                  <a:lnTo>
                    <a:pt x="79628" y="313943"/>
                  </a:lnTo>
                  <a:lnTo>
                    <a:pt x="82296" y="311403"/>
                  </a:lnTo>
                  <a:lnTo>
                    <a:pt x="82296" y="305053"/>
                  </a:lnTo>
                  <a:lnTo>
                    <a:pt x="79628" y="302387"/>
                  </a:lnTo>
                  <a:close/>
                </a:path>
                <a:path w="317500" h="314325">
                  <a:moveTo>
                    <a:pt x="56006" y="302387"/>
                  </a:moveTo>
                  <a:lnTo>
                    <a:pt x="49656" y="302387"/>
                  </a:lnTo>
                  <a:lnTo>
                    <a:pt x="47117" y="305053"/>
                  </a:lnTo>
                  <a:lnTo>
                    <a:pt x="47117" y="311403"/>
                  </a:lnTo>
                  <a:lnTo>
                    <a:pt x="49656" y="313943"/>
                  </a:lnTo>
                  <a:lnTo>
                    <a:pt x="56006" y="313943"/>
                  </a:lnTo>
                  <a:lnTo>
                    <a:pt x="58674" y="311403"/>
                  </a:lnTo>
                  <a:lnTo>
                    <a:pt x="58674" y="305053"/>
                  </a:lnTo>
                  <a:lnTo>
                    <a:pt x="56006" y="302387"/>
                  </a:lnTo>
                  <a:close/>
                </a:path>
                <a:path w="317500" h="314325">
                  <a:moveTo>
                    <a:pt x="32639" y="302387"/>
                  </a:moveTo>
                  <a:lnTo>
                    <a:pt x="26162" y="302387"/>
                  </a:lnTo>
                  <a:lnTo>
                    <a:pt x="23622" y="305053"/>
                  </a:lnTo>
                  <a:lnTo>
                    <a:pt x="23622" y="311403"/>
                  </a:lnTo>
                  <a:lnTo>
                    <a:pt x="26162" y="313943"/>
                  </a:lnTo>
                  <a:lnTo>
                    <a:pt x="32639" y="313943"/>
                  </a:lnTo>
                  <a:lnTo>
                    <a:pt x="35178" y="311403"/>
                  </a:lnTo>
                  <a:lnTo>
                    <a:pt x="35178" y="305053"/>
                  </a:lnTo>
                  <a:lnTo>
                    <a:pt x="32639" y="302387"/>
                  </a:lnTo>
                  <a:close/>
                </a:path>
                <a:path w="317500" h="314325">
                  <a:moveTo>
                    <a:pt x="9017" y="302387"/>
                  </a:moveTo>
                  <a:lnTo>
                    <a:pt x="2540" y="302387"/>
                  </a:lnTo>
                  <a:lnTo>
                    <a:pt x="0" y="305053"/>
                  </a:lnTo>
                  <a:lnTo>
                    <a:pt x="0" y="311403"/>
                  </a:lnTo>
                  <a:lnTo>
                    <a:pt x="2540" y="313943"/>
                  </a:lnTo>
                  <a:lnTo>
                    <a:pt x="9017" y="313943"/>
                  </a:lnTo>
                  <a:lnTo>
                    <a:pt x="11556" y="311403"/>
                  </a:lnTo>
                  <a:lnTo>
                    <a:pt x="11556" y="305053"/>
                  </a:lnTo>
                  <a:lnTo>
                    <a:pt x="9017" y="302387"/>
                  </a:lnTo>
                  <a:close/>
                </a:path>
                <a:path w="317500" h="314325">
                  <a:moveTo>
                    <a:pt x="314071" y="278891"/>
                  </a:moveTo>
                  <a:lnTo>
                    <a:pt x="307594" y="278891"/>
                  </a:lnTo>
                  <a:lnTo>
                    <a:pt x="305053" y="281813"/>
                  </a:lnTo>
                  <a:lnTo>
                    <a:pt x="305053" y="288036"/>
                  </a:lnTo>
                  <a:lnTo>
                    <a:pt x="307594" y="290449"/>
                  </a:lnTo>
                  <a:lnTo>
                    <a:pt x="314071" y="290449"/>
                  </a:lnTo>
                  <a:lnTo>
                    <a:pt x="316992" y="288036"/>
                  </a:lnTo>
                  <a:lnTo>
                    <a:pt x="316992" y="281813"/>
                  </a:lnTo>
                  <a:lnTo>
                    <a:pt x="314071" y="278891"/>
                  </a:lnTo>
                  <a:close/>
                </a:path>
                <a:path w="317500" h="314325">
                  <a:moveTo>
                    <a:pt x="290956" y="278891"/>
                  </a:moveTo>
                  <a:lnTo>
                    <a:pt x="284606" y="278891"/>
                  </a:lnTo>
                  <a:lnTo>
                    <a:pt x="281940" y="281559"/>
                  </a:lnTo>
                  <a:lnTo>
                    <a:pt x="281940" y="287909"/>
                  </a:lnTo>
                  <a:lnTo>
                    <a:pt x="284606" y="290449"/>
                  </a:lnTo>
                  <a:lnTo>
                    <a:pt x="290956" y="290449"/>
                  </a:lnTo>
                  <a:lnTo>
                    <a:pt x="293497" y="287909"/>
                  </a:lnTo>
                  <a:lnTo>
                    <a:pt x="293497" y="281559"/>
                  </a:lnTo>
                  <a:lnTo>
                    <a:pt x="290956" y="278891"/>
                  </a:lnTo>
                  <a:close/>
                </a:path>
                <a:path w="317500" h="314325">
                  <a:moveTo>
                    <a:pt x="267462" y="278891"/>
                  </a:moveTo>
                  <a:lnTo>
                    <a:pt x="261112" y="278891"/>
                  </a:lnTo>
                  <a:lnTo>
                    <a:pt x="258445" y="281559"/>
                  </a:lnTo>
                  <a:lnTo>
                    <a:pt x="258445" y="287909"/>
                  </a:lnTo>
                  <a:lnTo>
                    <a:pt x="261112" y="290449"/>
                  </a:lnTo>
                  <a:lnTo>
                    <a:pt x="267462" y="290449"/>
                  </a:lnTo>
                  <a:lnTo>
                    <a:pt x="270128" y="287909"/>
                  </a:lnTo>
                  <a:lnTo>
                    <a:pt x="270128" y="281559"/>
                  </a:lnTo>
                  <a:lnTo>
                    <a:pt x="267462" y="278891"/>
                  </a:lnTo>
                  <a:close/>
                </a:path>
                <a:path w="317500" h="314325">
                  <a:moveTo>
                    <a:pt x="243840" y="278891"/>
                  </a:moveTo>
                  <a:lnTo>
                    <a:pt x="237236" y="278891"/>
                  </a:lnTo>
                  <a:lnTo>
                    <a:pt x="234569" y="281559"/>
                  </a:lnTo>
                  <a:lnTo>
                    <a:pt x="234569" y="287909"/>
                  </a:lnTo>
                  <a:lnTo>
                    <a:pt x="237236" y="290449"/>
                  </a:lnTo>
                  <a:lnTo>
                    <a:pt x="243840" y="290449"/>
                  </a:lnTo>
                  <a:lnTo>
                    <a:pt x="246506" y="287909"/>
                  </a:lnTo>
                  <a:lnTo>
                    <a:pt x="246506" y="281559"/>
                  </a:lnTo>
                  <a:lnTo>
                    <a:pt x="243840" y="278891"/>
                  </a:lnTo>
                  <a:close/>
                </a:path>
                <a:path w="317500" h="314325">
                  <a:moveTo>
                    <a:pt x="220345" y="278891"/>
                  </a:moveTo>
                  <a:lnTo>
                    <a:pt x="213614" y="278891"/>
                  </a:lnTo>
                  <a:lnTo>
                    <a:pt x="210947" y="281559"/>
                  </a:lnTo>
                  <a:lnTo>
                    <a:pt x="210947" y="287909"/>
                  </a:lnTo>
                  <a:lnTo>
                    <a:pt x="213614" y="290449"/>
                  </a:lnTo>
                  <a:lnTo>
                    <a:pt x="220345" y="290449"/>
                  </a:lnTo>
                  <a:lnTo>
                    <a:pt x="223012" y="287909"/>
                  </a:lnTo>
                  <a:lnTo>
                    <a:pt x="223012" y="281559"/>
                  </a:lnTo>
                  <a:lnTo>
                    <a:pt x="220345" y="278891"/>
                  </a:lnTo>
                  <a:close/>
                </a:path>
                <a:path w="317500" h="314325">
                  <a:moveTo>
                    <a:pt x="196850" y="278891"/>
                  </a:moveTo>
                  <a:lnTo>
                    <a:pt x="190373" y="278891"/>
                  </a:lnTo>
                  <a:lnTo>
                    <a:pt x="187833" y="281559"/>
                  </a:lnTo>
                  <a:lnTo>
                    <a:pt x="187833" y="287909"/>
                  </a:lnTo>
                  <a:lnTo>
                    <a:pt x="190373" y="290449"/>
                  </a:lnTo>
                  <a:lnTo>
                    <a:pt x="196850" y="290449"/>
                  </a:lnTo>
                  <a:lnTo>
                    <a:pt x="199390" y="287909"/>
                  </a:lnTo>
                  <a:lnTo>
                    <a:pt x="199390" y="281559"/>
                  </a:lnTo>
                  <a:lnTo>
                    <a:pt x="196850" y="278891"/>
                  </a:lnTo>
                  <a:close/>
                </a:path>
                <a:path w="317500" h="314325">
                  <a:moveTo>
                    <a:pt x="173354" y="278891"/>
                  </a:moveTo>
                  <a:lnTo>
                    <a:pt x="167004" y="278891"/>
                  </a:lnTo>
                  <a:lnTo>
                    <a:pt x="164338" y="281559"/>
                  </a:lnTo>
                  <a:lnTo>
                    <a:pt x="164338" y="287909"/>
                  </a:lnTo>
                  <a:lnTo>
                    <a:pt x="167004" y="290449"/>
                  </a:lnTo>
                  <a:lnTo>
                    <a:pt x="173354" y="290449"/>
                  </a:lnTo>
                  <a:lnTo>
                    <a:pt x="175895" y="287909"/>
                  </a:lnTo>
                  <a:lnTo>
                    <a:pt x="175895" y="281559"/>
                  </a:lnTo>
                  <a:lnTo>
                    <a:pt x="173354" y="278891"/>
                  </a:lnTo>
                  <a:close/>
                </a:path>
                <a:path w="317500" h="314325">
                  <a:moveTo>
                    <a:pt x="150114" y="278891"/>
                  </a:moveTo>
                  <a:lnTo>
                    <a:pt x="143383" y="278891"/>
                  </a:lnTo>
                  <a:lnTo>
                    <a:pt x="140716" y="281559"/>
                  </a:lnTo>
                  <a:lnTo>
                    <a:pt x="140716" y="287909"/>
                  </a:lnTo>
                  <a:lnTo>
                    <a:pt x="143383" y="290449"/>
                  </a:lnTo>
                  <a:lnTo>
                    <a:pt x="150114" y="290449"/>
                  </a:lnTo>
                  <a:lnTo>
                    <a:pt x="152780" y="287909"/>
                  </a:lnTo>
                  <a:lnTo>
                    <a:pt x="152780" y="281559"/>
                  </a:lnTo>
                  <a:lnTo>
                    <a:pt x="150114" y="278891"/>
                  </a:lnTo>
                  <a:close/>
                </a:path>
                <a:path w="317500" h="314325">
                  <a:moveTo>
                    <a:pt x="126619" y="278891"/>
                  </a:moveTo>
                  <a:lnTo>
                    <a:pt x="120015" y="278891"/>
                  </a:lnTo>
                  <a:lnTo>
                    <a:pt x="117348" y="281559"/>
                  </a:lnTo>
                  <a:lnTo>
                    <a:pt x="117348" y="287909"/>
                  </a:lnTo>
                  <a:lnTo>
                    <a:pt x="120015" y="290449"/>
                  </a:lnTo>
                  <a:lnTo>
                    <a:pt x="126619" y="290449"/>
                  </a:lnTo>
                  <a:lnTo>
                    <a:pt x="129286" y="287909"/>
                  </a:lnTo>
                  <a:lnTo>
                    <a:pt x="129286" y="281559"/>
                  </a:lnTo>
                  <a:lnTo>
                    <a:pt x="126619" y="278891"/>
                  </a:lnTo>
                  <a:close/>
                </a:path>
                <a:path w="317500" h="314325">
                  <a:moveTo>
                    <a:pt x="103124" y="278891"/>
                  </a:moveTo>
                  <a:lnTo>
                    <a:pt x="96774" y="278891"/>
                  </a:lnTo>
                  <a:lnTo>
                    <a:pt x="94106" y="281559"/>
                  </a:lnTo>
                  <a:lnTo>
                    <a:pt x="94106" y="287909"/>
                  </a:lnTo>
                  <a:lnTo>
                    <a:pt x="96774" y="290449"/>
                  </a:lnTo>
                  <a:lnTo>
                    <a:pt x="103124" y="290449"/>
                  </a:lnTo>
                  <a:lnTo>
                    <a:pt x="105664" y="287909"/>
                  </a:lnTo>
                  <a:lnTo>
                    <a:pt x="105664" y="281559"/>
                  </a:lnTo>
                  <a:lnTo>
                    <a:pt x="103124" y="278891"/>
                  </a:lnTo>
                  <a:close/>
                </a:path>
                <a:path w="317500" h="314325">
                  <a:moveTo>
                    <a:pt x="79628" y="278891"/>
                  </a:moveTo>
                  <a:lnTo>
                    <a:pt x="73278" y="278891"/>
                  </a:lnTo>
                  <a:lnTo>
                    <a:pt x="70739" y="281559"/>
                  </a:lnTo>
                  <a:lnTo>
                    <a:pt x="70739" y="287909"/>
                  </a:lnTo>
                  <a:lnTo>
                    <a:pt x="73278" y="290449"/>
                  </a:lnTo>
                  <a:lnTo>
                    <a:pt x="79628" y="290449"/>
                  </a:lnTo>
                  <a:lnTo>
                    <a:pt x="82296" y="287909"/>
                  </a:lnTo>
                  <a:lnTo>
                    <a:pt x="82296" y="281559"/>
                  </a:lnTo>
                  <a:lnTo>
                    <a:pt x="79628" y="278891"/>
                  </a:lnTo>
                  <a:close/>
                </a:path>
                <a:path w="317500" h="314325">
                  <a:moveTo>
                    <a:pt x="56006" y="278891"/>
                  </a:moveTo>
                  <a:lnTo>
                    <a:pt x="49656" y="278891"/>
                  </a:lnTo>
                  <a:lnTo>
                    <a:pt x="47117" y="281559"/>
                  </a:lnTo>
                  <a:lnTo>
                    <a:pt x="47117" y="287909"/>
                  </a:lnTo>
                  <a:lnTo>
                    <a:pt x="49656" y="290449"/>
                  </a:lnTo>
                  <a:lnTo>
                    <a:pt x="56006" y="290449"/>
                  </a:lnTo>
                  <a:lnTo>
                    <a:pt x="58674" y="287909"/>
                  </a:lnTo>
                  <a:lnTo>
                    <a:pt x="58674" y="281559"/>
                  </a:lnTo>
                  <a:lnTo>
                    <a:pt x="56006" y="278891"/>
                  </a:lnTo>
                  <a:close/>
                </a:path>
                <a:path w="317500" h="314325">
                  <a:moveTo>
                    <a:pt x="32639" y="278891"/>
                  </a:moveTo>
                  <a:lnTo>
                    <a:pt x="26162" y="278891"/>
                  </a:lnTo>
                  <a:lnTo>
                    <a:pt x="23622" y="281559"/>
                  </a:lnTo>
                  <a:lnTo>
                    <a:pt x="23622" y="287909"/>
                  </a:lnTo>
                  <a:lnTo>
                    <a:pt x="26162" y="290449"/>
                  </a:lnTo>
                  <a:lnTo>
                    <a:pt x="32639" y="290449"/>
                  </a:lnTo>
                  <a:lnTo>
                    <a:pt x="35178" y="287909"/>
                  </a:lnTo>
                  <a:lnTo>
                    <a:pt x="35178" y="281559"/>
                  </a:lnTo>
                  <a:lnTo>
                    <a:pt x="32639" y="278891"/>
                  </a:lnTo>
                  <a:close/>
                </a:path>
                <a:path w="317500" h="314325">
                  <a:moveTo>
                    <a:pt x="9017" y="278891"/>
                  </a:moveTo>
                  <a:lnTo>
                    <a:pt x="2540" y="278891"/>
                  </a:lnTo>
                  <a:lnTo>
                    <a:pt x="0" y="281559"/>
                  </a:lnTo>
                  <a:lnTo>
                    <a:pt x="0" y="287909"/>
                  </a:lnTo>
                  <a:lnTo>
                    <a:pt x="2540" y="290449"/>
                  </a:lnTo>
                  <a:lnTo>
                    <a:pt x="9017" y="290449"/>
                  </a:lnTo>
                  <a:lnTo>
                    <a:pt x="11556" y="287909"/>
                  </a:lnTo>
                  <a:lnTo>
                    <a:pt x="11556" y="281559"/>
                  </a:lnTo>
                  <a:lnTo>
                    <a:pt x="9017" y="278891"/>
                  </a:lnTo>
                  <a:close/>
                </a:path>
                <a:path w="317500" h="314325">
                  <a:moveTo>
                    <a:pt x="314071" y="255650"/>
                  </a:moveTo>
                  <a:lnTo>
                    <a:pt x="307594" y="255650"/>
                  </a:lnTo>
                  <a:lnTo>
                    <a:pt x="305053" y="258445"/>
                  </a:lnTo>
                  <a:lnTo>
                    <a:pt x="305053" y="264540"/>
                  </a:lnTo>
                  <a:lnTo>
                    <a:pt x="307594" y="267462"/>
                  </a:lnTo>
                  <a:lnTo>
                    <a:pt x="314071" y="267462"/>
                  </a:lnTo>
                  <a:lnTo>
                    <a:pt x="316992" y="264540"/>
                  </a:lnTo>
                  <a:lnTo>
                    <a:pt x="316992" y="258445"/>
                  </a:lnTo>
                  <a:lnTo>
                    <a:pt x="314071" y="255650"/>
                  </a:lnTo>
                  <a:close/>
                </a:path>
                <a:path w="317500" h="314325">
                  <a:moveTo>
                    <a:pt x="290956" y="255650"/>
                  </a:moveTo>
                  <a:lnTo>
                    <a:pt x="284606" y="255650"/>
                  </a:lnTo>
                  <a:lnTo>
                    <a:pt x="281940" y="258190"/>
                  </a:lnTo>
                  <a:lnTo>
                    <a:pt x="281940" y="264795"/>
                  </a:lnTo>
                  <a:lnTo>
                    <a:pt x="284606" y="267462"/>
                  </a:lnTo>
                  <a:lnTo>
                    <a:pt x="290956" y="267462"/>
                  </a:lnTo>
                  <a:lnTo>
                    <a:pt x="293497" y="264795"/>
                  </a:lnTo>
                  <a:lnTo>
                    <a:pt x="293497" y="258190"/>
                  </a:lnTo>
                  <a:lnTo>
                    <a:pt x="290956" y="255650"/>
                  </a:lnTo>
                  <a:close/>
                </a:path>
                <a:path w="317500" h="314325">
                  <a:moveTo>
                    <a:pt x="32639" y="255650"/>
                  </a:moveTo>
                  <a:lnTo>
                    <a:pt x="26162" y="255650"/>
                  </a:lnTo>
                  <a:lnTo>
                    <a:pt x="23622" y="258190"/>
                  </a:lnTo>
                  <a:lnTo>
                    <a:pt x="23622" y="264795"/>
                  </a:lnTo>
                  <a:lnTo>
                    <a:pt x="26162" y="267462"/>
                  </a:lnTo>
                  <a:lnTo>
                    <a:pt x="32639" y="267462"/>
                  </a:lnTo>
                  <a:lnTo>
                    <a:pt x="35178" y="264795"/>
                  </a:lnTo>
                  <a:lnTo>
                    <a:pt x="35178" y="258190"/>
                  </a:lnTo>
                  <a:lnTo>
                    <a:pt x="32639" y="255650"/>
                  </a:lnTo>
                  <a:close/>
                </a:path>
                <a:path w="317500" h="314325">
                  <a:moveTo>
                    <a:pt x="9017" y="255650"/>
                  </a:moveTo>
                  <a:lnTo>
                    <a:pt x="2540" y="255650"/>
                  </a:lnTo>
                  <a:lnTo>
                    <a:pt x="0" y="258190"/>
                  </a:lnTo>
                  <a:lnTo>
                    <a:pt x="0" y="264795"/>
                  </a:lnTo>
                  <a:lnTo>
                    <a:pt x="2540" y="267462"/>
                  </a:lnTo>
                  <a:lnTo>
                    <a:pt x="9017" y="267462"/>
                  </a:lnTo>
                  <a:lnTo>
                    <a:pt x="11556" y="264795"/>
                  </a:lnTo>
                  <a:lnTo>
                    <a:pt x="11556" y="258190"/>
                  </a:lnTo>
                  <a:lnTo>
                    <a:pt x="9017" y="255650"/>
                  </a:lnTo>
                  <a:close/>
                </a:path>
                <a:path w="317500" h="314325">
                  <a:moveTo>
                    <a:pt x="314071" y="232537"/>
                  </a:moveTo>
                  <a:lnTo>
                    <a:pt x="307594" y="232537"/>
                  </a:lnTo>
                  <a:lnTo>
                    <a:pt x="305053" y="235076"/>
                  </a:lnTo>
                  <a:lnTo>
                    <a:pt x="305053" y="241680"/>
                  </a:lnTo>
                  <a:lnTo>
                    <a:pt x="307594" y="244093"/>
                  </a:lnTo>
                  <a:lnTo>
                    <a:pt x="314071" y="244093"/>
                  </a:lnTo>
                  <a:lnTo>
                    <a:pt x="316992" y="241680"/>
                  </a:lnTo>
                  <a:lnTo>
                    <a:pt x="316992" y="235076"/>
                  </a:lnTo>
                  <a:lnTo>
                    <a:pt x="314071" y="232537"/>
                  </a:lnTo>
                  <a:close/>
                </a:path>
                <a:path w="317500" h="314325">
                  <a:moveTo>
                    <a:pt x="290956" y="232537"/>
                  </a:moveTo>
                  <a:lnTo>
                    <a:pt x="284606" y="232537"/>
                  </a:lnTo>
                  <a:lnTo>
                    <a:pt x="281940" y="235203"/>
                  </a:lnTo>
                  <a:lnTo>
                    <a:pt x="281940" y="241553"/>
                  </a:lnTo>
                  <a:lnTo>
                    <a:pt x="284606" y="244093"/>
                  </a:lnTo>
                  <a:lnTo>
                    <a:pt x="290956" y="244093"/>
                  </a:lnTo>
                  <a:lnTo>
                    <a:pt x="293497" y="241553"/>
                  </a:lnTo>
                  <a:lnTo>
                    <a:pt x="293497" y="235203"/>
                  </a:lnTo>
                  <a:lnTo>
                    <a:pt x="290956" y="232537"/>
                  </a:lnTo>
                  <a:close/>
                </a:path>
                <a:path w="317500" h="314325">
                  <a:moveTo>
                    <a:pt x="32639" y="232537"/>
                  </a:moveTo>
                  <a:lnTo>
                    <a:pt x="26162" y="232537"/>
                  </a:lnTo>
                  <a:lnTo>
                    <a:pt x="23622" y="235203"/>
                  </a:lnTo>
                  <a:lnTo>
                    <a:pt x="23622" y="241553"/>
                  </a:lnTo>
                  <a:lnTo>
                    <a:pt x="26162" y="244093"/>
                  </a:lnTo>
                  <a:lnTo>
                    <a:pt x="32639" y="244093"/>
                  </a:lnTo>
                  <a:lnTo>
                    <a:pt x="35178" y="241553"/>
                  </a:lnTo>
                  <a:lnTo>
                    <a:pt x="35178" y="235203"/>
                  </a:lnTo>
                  <a:lnTo>
                    <a:pt x="32639" y="232537"/>
                  </a:lnTo>
                  <a:close/>
                </a:path>
                <a:path w="317500" h="314325">
                  <a:moveTo>
                    <a:pt x="9017" y="232537"/>
                  </a:moveTo>
                  <a:lnTo>
                    <a:pt x="2540" y="232537"/>
                  </a:lnTo>
                  <a:lnTo>
                    <a:pt x="0" y="235203"/>
                  </a:lnTo>
                  <a:lnTo>
                    <a:pt x="0" y="241553"/>
                  </a:lnTo>
                  <a:lnTo>
                    <a:pt x="2540" y="244093"/>
                  </a:lnTo>
                  <a:lnTo>
                    <a:pt x="9017" y="244093"/>
                  </a:lnTo>
                  <a:lnTo>
                    <a:pt x="11556" y="241553"/>
                  </a:lnTo>
                  <a:lnTo>
                    <a:pt x="11556" y="235203"/>
                  </a:lnTo>
                  <a:lnTo>
                    <a:pt x="9017" y="232537"/>
                  </a:lnTo>
                  <a:close/>
                </a:path>
                <a:path w="317500" h="314325">
                  <a:moveTo>
                    <a:pt x="314071" y="209041"/>
                  </a:moveTo>
                  <a:lnTo>
                    <a:pt x="307594" y="209041"/>
                  </a:lnTo>
                  <a:lnTo>
                    <a:pt x="305053" y="211582"/>
                  </a:lnTo>
                  <a:lnTo>
                    <a:pt x="305053" y="218186"/>
                  </a:lnTo>
                  <a:lnTo>
                    <a:pt x="307594" y="220599"/>
                  </a:lnTo>
                  <a:lnTo>
                    <a:pt x="314071" y="220599"/>
                  </a:lnTo>
                  <a:lnTo>
                    <a:pt x="316992" y="218186"/>
                  </a:lnTo>
                  <a:lnTo>
                    <a:pt x="316992" y="211582"/>
                  </a:lnTo>
                  <a:lnTo>
                    <a:pt x="314071" y="209041"/>
                  </a:lnTo>
                  <a:close/>
                </a:path>
                <a:path w="317500" h="314325">
                  <a:moveTo>
                    <a:pt x="290956" y="209041"/>
                  </a:moveTo>
                  <a:lnTo>
                    <a:pt x="284606" y="209041"/>
                  </a:lnTo>
                  <a:lnTo>
                    <a:pt x="281940" y="211709"/>
                  </a:lnTo>
                  <a:lnTo>
                    <a:pt x="281940" y="218059"/>
                  </a:lnTo>
                  <a:lnTo>
                    <a:pt x="284606" y="220599"/>
                  </a:lnTo>
                  <a:lnTo>
                    <a:pt x="290956" y="220599"/>
                  </a:lnTo>
                  <a:lnTo>
                    <a:pt x="293497" y="218059"/>
                  </a:lnTo>
                  <a:lnTo>
                    <a:pt x="293497" y="211709"/>
                  </a:lnTo>
                  <a:lnTo>
                    <a:pt x="290956" y="209041"/>
                  </a:lnTo>
                  <a:close/>
                </a:path>
                <a:path w="317500" h="314325">
                  <a:moveTo>
                    <a:pt x="32639" y="209041"/>
                  </a:moveTo>
                  <a:lnTo>
                    <a:pt x="26162" y="209041"/>
                  </a:lnTo>
                  <a:lnTo>
                    <a:pt x="23622" y="211709"/>
                  </a:lnTo>
                  <a:lnTo>
                    <a:pt x="23622" y="218059"/>
                  </a:lnTo>
                  <a:lnTo>
                    <a:pt x="26162" y="220599"/>
                  </a:lnTo>
                  <a:lnTo>
                    <a:pt x="32639" y="220599"/>
                  </a:lnTo>
                  <a:lnTo>
                    <a:pt x="35178" y="218059"/>
                  </a:lnTo>
                  <a:lnTo>
                    <a:pt x="35178" y="211709"/>
                  </a:lnTo>
                  <a:lnTo>
                    <a:pt x="32639" y="209041"/>
                  </a:lnTo>
                  <a:close/>
                </a:path>
                <a:path w="317500" h="314325">
                  <a:moveTo>
                    <a:pt x="9017" y="209041"/>
                  </a:moveTo>
                  <a:lnTo>
                    <a:pt x="2540" y="209041"/>
                  </a:lnTo>
                  <a:lnTo>
                    <a:pt x="0" y="211709"/>
                  </a:lnTo>
                  <a:lnTo>
                    <a:pt x="0" y="218059"/>
                  </a:lnTo>
                  <a:lnTo>
                    <a:pt x="2540" y="220599"/>
                  </a:lnTo>
                  <a:lnTo>
                    <a:pt x="9017" y="220599"/>
                  </a:lnTo>
                  <a:lnTo>
                    <a:pt x="11556" y="218059"/>
                  </a:lnTo>
                  <a:lnTo>
                    <a:pt x="11556" y="211709"/>
                  </a:lnTo>
                  <a:lnTo>
                    <a:pt x="9017" y="209041"/>
                  </a:lnTo>
                  <a:close/>
                </a:path>
                <a:path w="317500" h="314325">
                  <a:moveTo>
                    <a:pt x="314071" y="185800"/>
                  </a:moveTo>
                  <a:lnTo>
                    <a:pt x="307594" y="185800"/>
                  </a:lnTo>
                  <a:lnTo>
                    <a:pt x="305053" y="188595"/>
                  </a:lnTo>
                  <a:lnTo>
                    <a:pt x="305053" y="195072"/>
                  </a:lnTo>
                  <a:lnTo>
                    <a:pt x="307594" y="197612"/>
                  </a:lnTo>
                  <a:lnTo>
                    <a:pt x="314071" y="197612"/>
                  </a:lnTo>
                  <a:lnTo>
                    <a:pt x="316992" y="195072"/>
                  </a:lnTo>
                  <a:lnTo>
                    <a:pt x="316992" y="188595"/>
                  </a:lnTo>
                  <a:lnTo>
                    <a:pt x="314071" y="185800"/>
                  </a:lnTo>
                  <a:close/>
                </a:path>
                <a:path w="317500" h="314325">
                  <a:moveTo>
                    <a:pt x="290702" y="185800"/>
                  </a:moveTo>
                  <a:lnTo>
                    <a:pt x="284479" y="185800"/>
                  </a:lnTo>
                  <a:lnTo>
                    <a:pt x="281940" y="188595"/>
                  </a:lnTo>
                  <a:lnTo>
                    <a:pt x="281940" y="195072"/>
                  </a:lnTo>
                  <a:lnTo>
                    <a:pt x="284479" y="197612"/>
                  </a:lnTo>
                  <a:lnTo>
                    <a:pt x="290702" y="197612"/>
                  </a:lnTo>
                  <a:lnTo>
                    <a:pt x="293497" y="195072"/>
                  </a:lnTo>
                  <a:lnTo>
                    <a:pt x="293497" y="188595"/>
                  </a:lnTo>
                  <a:lnTo>
                    <a:pt x="290702" y="185800"/>
                  </a:lnTo>
                  <a:close/>
                </a:path>
                <a:path w="317500" h="314325">
                  <a:moveTo>
                    <a:pt x="32766" y="185800"/>
                  </a:moveTo>
                  <a:lnTo>
                    <a:pt x="26543" y="185800"/>
                  </a:lnTo>
                  <a:lnTo>
                    <a:pt x="23622" y="188595"/>
                  </a:lnTo>
                  <a:lnTo>
                    <a:pt x="23622" y="195072"/>
                  </a:lnTo>
                  <a:lnTo>
                    <a:pt x="26543" y="197612"/>
                  </a:lnTo>
                  <a:lnTo>
                    <a:pt x="32766" y="197612"/>
                  </a:lnTo>
                  <a:lnTo>
                    <a:pt x="35178" y="195072"/>
                  </a:lnTo>
                  <a:lnTo>
                    <a:pt x="35178" y="188595"/>
                  </a:lnTo>
                  <a:lnTo>
                    <a:pt x="32766" y="185800"/>
                  </a:lnTo>
                  <a:close/>
                </a:path>
                <a:path w="317500" h="314325">
                  <a:moveTo>
                    <a:pt x="9144" y="185800"/>
                  </a:moveTo>
                  <a:lnTo>
                    <a:pt x="2921" y="185800"/>
                  </a:lnTo>
                  <a:lnTo>
                    <a:pt x="0" y="188595"/>
                  </a:lnTo>
                  <a:lnTo>
                    <a:pt x="0" y="195072"/>
                  </a:lnTo>
                  <a:lnTo>
                    <a:pt x="2921" y="197612"/>
                  </a:lnTo>
                  <a:lnTo>
                    <a:pt x="9144" y="197612"/>
                  </a:lnTo>
                  <a:lnTo>
                    <a:pt x="11556" y="195072"/>
                  </a:lnTo>
                  <a:lnTo>
                    <a:pt x="11556" y="188595"/>
                  </a:lnTo>
                  <a:lnTo>
                    <a:pt x="9144" y="185800"/>
                  </a:lnTo>
                  <a:close/>
                </a:path>
                <a:path w="317500" h="314325">
                  <a:moveTo>
                    <a:pt x="314071" y="162687"/>
                  </a:moveTo>
                  <a:lnTo>
                    <a:pt x="307594" y="162687"/>
                  </a:lnTo>
                  <a:lnTo>
                    <a:pt x="305053" y="165608"/>
                  </a:lnTo>
                  <a:lnTo>
                    <a:pt x="305053" y="171830"/>
                  </a:lnTo>
                  <a:lnTo>
                    <a:pt x="307594" y="174243"/>
                  </a:lnTo>
                  <a:lnTo>
                    <a:pt x="314071" y="174243"/>
                  </a:lnTo>
                  <a:lnTo>
                    <a:pt x="316992" y="171830"/>
                  </a:lnTo>
                  <a:lnTo>
                    <a:pt x="316992" y="165608"/>
                  </a:lnTo>
                  <a:lnTo>
                    <a:pt x="314071" y="162687"/>
                  </a:lnTo>
                  <a:close/>
                </a:path>
                <a:path w="317500" h="314325">
                  <a:moveTo>
                    <a:pt x="290956" y="162687"/>
                  </a:moveTo>
                  <a:lnTo>
                    <a:pt x="284606" y="162687"/>
                  </a:lnTo>
                  <a:lnTo>
                    <a:pt x="281940" y="165353"/>
                  </a:lnTo>
                  <a:lnTo>
                    <a:pt x="281940" y="171703"/>
                  </a:lnTo>
                  <a:lnTo>
                    <a:pt x="284606" y="174243"/>
                  </a:lnTo>
                  <a:lnTo>
                    <a:pt x="290956" y="174243"/>
                  </a:lnTo>
                  <a:lnTo>
                    <a:pt x="293497" y="171703"/>
                  </a:lnTo>
                  <a:lnTo>
                    <a:pt x="293497" y="165353"/>
                  </a:lnTo>
                  <a:lnTo>
                    <a:pt x="290956" y="162687"/>
                  </a:lnTo>
                  <a:close/>
                </a:path>
                <a:path w="317500" h="314325">
                  <a:moveTo>
                    <a:pt x="32639" y="162687"/>
                  </a:moveTo>
                  <a:lnTo>
                    <a:pt x="26162" y="162687"/>
                  </a:lnTo>
                  <a:lnTo>
                    <a:pt x="23622" y="165353"/>
                  </a:lnTo>
                  <a:lnTo>
                    <a:pt x="23622" y="171703"/>
                  </a:lnTo>
                  <a:lnTo>
                    <a:pt x="26162" y="174243"/>
                  </a:lnTo>
                  <a:lnTo>
                    <a:pt x="32639" y="174243"/>
                  </a:lnTo>
                  <a:lnTo>
                    <a:pt x="35178" y="171703"/>
                  </a:lnTo>
                  <a:lnTo>
                    <a:pt x="35178" y="165353"/>
                  </a:lnTo>
                  <a:lnTo>
                    <a:pt x="32639" y="162687"/>
                  </a:lnTo>
                  <a:close/>
                </a:path>
                <a:path w="317500" h="314325">
                  <a:moveTo>
                    <a:pt x="9017" y="162687"/>
                  </a:moveTo>
                  <a:lnTo>
                    <a:pt x="2540" y="162687"/>
                  </a:lnTo>
                  <a:lnTo>
                    <a:pt x="0" y="165353"/>
                  </a:lnTo>
                  <a:lnTo>
                    <a:pt x="0" y="171703"/>
                  </a:lnTo>
                  <a:lnTo>
                    <a:pt x="2540" y="174243"/>
                  </a:lnTo>
                  <a:lnTo>
                    <a:pt x="9017" y="174243"/>
                  </a:lnTo>
                  <a:lnTo>
                    <a:pt x="11556" y="171703"/>
                  </a:lnTo>
                  <a:lnTo>
                    <a:pt x="11556" y="165353"/>
                  </a:lnTo>
                  <a:lnTo>
                    <a:pt x="9017" y="162687"/>
                  </a:lnTo>
                  <a:close/>
                </a:path>
                <a:path w="317500" h="314325">
                  <a:moveTo>
                    <a:pt x="314071" y="139700"/>
                  </a:moveTo>
                  <a:lnTo>
                    <a:pt x="307594" y="139700"/>
                  </a:lnTo>
                  <a:lnTo>
                    <a:pt x="305053" y="142112"/>
                  </a:lnTo>
                  <a:lnTo>
                    <a:pt x="305053" y="148336"/>
                  </a:lnTo>
                  <a:lnTo>
                    <a:pt x="307594" y="151257"/>
                  </a:lnTo>
                  <a:lnTo>
                    <a:pt x="314071" y="151257"/>
                  </a:lnTo>
                  <a:lnTo>
                    <a:pt x="316992" y="148336"/>
                  </a:lnTo>
                  <a:lnTo>
                    <a:pt x="316992" y="142112"/>
                  </a:lnTo>
                  <a:lnTo>
                    <a:pt x="314071" y="139700"/>
                  </a:lnTo>
                  <a:close/>
                </a:path>
                <a:path w="317500" h="314325">
                  <a:moveTo>
                    <a:pt x="290956" y="139700"/>
                  </a:moveTo>
                  <a:lnTo>
                    <a:pt x="284606" y="139700"/>
                  </a:lnTo>
                  <a:lnTo>
                    <a:pt x="281940" y="142239"/>
                  </a:lnTo>
                  <a:lnTo>
                    <a:pt x="281940" y="148589"/>
                  </a:lnTo>
                  <a:lnTo>
                    <a:pt x="284606" y="151257"/>
                  </a:lnTo>
                  <a:lnTo>
                    <a:pt x="290956" y="151257"/>
                  </a:lnTo>
                  <a:lnTo>
                    <a:pt x="293497" y="148589"/>
                  </a:lnTo>
                  <a:lnTo>
                    <a:pt x="293497" y="142239"/>
                  </a:lnTo>
                  <a:lnTo>
                    <a:pt x="290956" y="139700"/>
                  </a:lnTo>
                  <a:close/>
                </a:path>
                <a:path w="317500" h="314325">
                  <a:moveTo>
                    <a:pt x="32639" y="139700"/>
                  </a:moveTo>
                  <a:lnTo>
                    <a:pt x="26162" y="139700"/>
                  </a:lnTo>
                  <a:lnTo>
                    <a:pt x="23622" y="142239"/>
                  </a:lnTo>
                  <a:lnTo>
                    <a:pt x="23622" y="148589"/>
                  </a:lnTo>
                  <a:lnTo>
                    <a:pt x="26162" y="151257"/>
                  </a:lnTo>
                  <a:lnTo>
                    <a:pt x="32639" y="151257"/>
                  </a:lnTo>
                  <a:lnTo>
                    <a:pt x="35178" y="148589"/>
                  </a:lnTo>
                  <a:lnTo>
                    <a:pt x="35178" y="142239"/>
                  </a:lnTo>
                  <a:lnTo>
                    <a:pt x="32639" y="139700"/>
                  </a:lnTo>
                  <a:close/>
                </a:path>
                <a:path w="317500" h="314325">
                  <a:moveTo>
                    <a:pt x="9017" y="139700"/>
                  </a:moveTo>
                  <a:lnTo>
                    <a:pt x="2540" y="139700"/>
                  </a:lnTo>
                  <a:lnTo>
                    <a:pt x="0" y="142239"/>
                  </a:lnTo>
                  <a:lnTo>
                    <a:pt x="0" y="148589"/>
                  </a:lnTo>
                  <a:lnTo>
                    <a:pt x="2540" y="151257"/>
                  </a:lnTo>
                  <a:lnTo>
                    <a:pt x="9017" y="151257"/>
                  </a:lnTo>
                  <a:lnTo>
                    <a:pt x="11556" y="148589"/>
                  </a:lnTo>
                  <a:lnTo>
                    <a:pt x="11556" y="142239"/>
                  </a:lnTo>
                  <a:lnTo>
                    <a:pt x="9017" y="139700"/>
                  </a:lnTo>
                  <a:close/>
                </a:path>
                <a:path w="317500" h="314325">
                  <a:moveTo>
                    <a:pt x="314071" y="116204"/>
                  </a:moveTo>
                  <a:lnTo>
                    <a:pt x="307594" y="116204"/>
                  </a:lnTo>
                  <a:lnTo>
                    <a:pt x="305053" y="118617"/>
                  </a:lnTo>
                  <a:lnTo>
                    <a:pt x="305053" y="125222"/>
                  </a:lnTo>
                  <a:lnTo>
                    <a:pt x="307594" y="127762"/>
                  </a:lnTo>
                  <a:lnTo>
                    <a:pt x="314071" y="127762"/>
                  </a:lnTo>
                  <a:lnTo>
                    <a:pt x="316992" y="125222"/>
                  </a:lnTo>
                  <a:lnTo>
                    <a:pt x="316992" y="118617"/>
                  </a:lnTo>
                  <a:lnTo>
                    <a:pt x="314071" y="116204"/>
                  </a:lnTo>
                  <a:close/>
                </a:path>
                <a:path w="317500" h="314325">
                  <a:moveTo>
                    <a:pt x="290956" y="116204"/>
                  </a:moveTo>
                  <a:lnTo>
                    <a:pt x="284606" y="116204"/>
                  </a:lnTo>
                  <a:lnTo>
                    <a:pt x="281940" y="118745"/>
                  </a:lnTo>
                  <a:lnTo>
                    <a:pt x="281940" y="125095"/>
                  </a:lnTo>
                  <a:lnTo>
                    <a:pt x="284606" y="127762"/>
                  </a:lnTo>
                  <a:lnTo>
                    <a:pt x="290956" y="127762"/>
                  </a:lnTo>
                  <a:lnTo>
                    <a:pt x="293497" y="125095"/>
                  </a:lnTo>
                  <a:lnTo>
                    <a:pt x="293497" y="118745"/>
                  </a:lnTo>
                  <a:lnTo>
                    <a:pt x="290956" y="116204"/>
                  </a:lnTo>
                  <a:close/>
                </a:path>
                <a:path w="317500" h="314325">
                  <a:moveTo>
                    <a:pt x="32639" y="116204"/>
                  </a:moveTo>
                  <a:lnTo>
                    <a:pt x="26162" y="116204"/>
                  </a:lnTo>
                  <a:lnTo>
                    <a:pt x="23622" y="118745"/>
                  </a:lnTo>
                  <a:lnTo>
                    <a:pt x="23622" y="125095"/>
                  </a:lnTo>
                  <a:lnTo>
                    <a:pt x="26162" y="127762"/>
                  </a:lnTo>
                  <a:lnTo>
                    <a:pt x="32639" y="127762"/>
                  </a:lnTo>
                  <a:lnTo>
                    <a:pt x="35178" y="125095"/>
                  </a:lnTo>
                  <a:lnTo>
                    <a:pt x="35178" y="118745"/>
                  </a:lnTo>
                  <a:lnTo>
                    <a:pt x="32639" y="116204"/>
                  </a:lnTo>
                  <a:close/>
                </a:path>
                <a:path w="317500" h="314325">
                  <a:moveTo>
                    <a:pt x="9017" y="116204"/>
                  </a:moveTo>
                  <a:lnTo>
                    <a:pt x="2540" y="116204"/>
                  </a:lnTo>
                  <a:lnTo>
                    <a:pt x="0" y="118745"/>
                  </a:lnTo>
                  <a:lnTo>
                    <a:pt x="0" y="125095"/>
                  </a:lnTo>
                  <a:lnTo>
                    <a:pt x="2540" y="127762"/>
                  </a:lnTo>
                  <a:lnTo>
                    <a:pt x="9017" y="127762"/>
                  </a:lnTo>
                  <a:lnTo>
                    <a:pt x="11556" y="125095"/>
                  </a:lnTo>
                  <a:lnTo>
                    <a:pt x="11556" y="118745"/>
                  </a:lnTo>
                  <a:lnTo>
                    <a:pt x="9017" y="116204"/>
                  </a:lnTo>
                  <a:close/>
                </a:path>
                <a:path w="317500" h="314325">
                  <a:moveTo>
                    <a:pt x="314071" y="92837"/>
                  </a:moveTo>
                  <a:lnTo>
                    <a:pt x="307594" y="92837"/>
                  </a:lnTo>
                  <a:lnTo>
                    <a:pt x="305053" y="95376"/>
                  </a:lnTo>
                  <a:lnTo>
                    <a:pt x="305053" y="102235"/>
                  </a:lnTo>
                  <a:lnTo>
                    <a:pt x="307594" y="104648"/>
                  </a:lnTo>
                  <a:lnTo>
                    <a:pt x="314071" y="104648"/>
                  </a:lnTo>
                  <a:lnTo>
                    <a:pt x="316992" y="102235"/>
                  </a:lnTo>
                  <a:lnTo>
                    <a:pt x="316992" y="95376"/>
                  </a:lnTo>
                  <a:lnTo>
                    <a:pt x="314071" y="92837"/>
                  </a:lnTo>
                  <a:close/>
                </a:path>
                <a:path w="317500" h="314325">
                  <a:moveTo>
                    <a:pt x="290956" y="92837"/>
                  </a:moveTo>
                  <a:lnTo>
                    <a:pt x="284606" y="92837"/>
                  </a:lnTo>
                  <a:lnTo>
                    <a:pt x="281940" y="95503"/>
                  </a:lnTo>
                  <a:lnTo>
                    <a:pt x="281940" y="102108"/>
                  </a:lnTo>
                  <a:lnTo>
                    <a:pt x="284606" y="104648"/>
                  </a:lnTo>
                  <a:lnTo>
                    <a:pt x="290956" y="104648"/>
                  </a:lnTo>
                  <a:lnTo>
                    <a:pt x="293497" y="102108"/>
                  </a:lnTo>
                  <a:lnTo>
                    <a:pt x="293497" y="95503"/>
                  </a:lnTo>
                  <a:lnTo>
                    <a:pt x="290956" y="92837"/>
                  </a:lnTo>
                  <a:close/>
                </a:path>
                <a:path w="317500" h="314325">
                  <a:moveTo>
                    <a:pt x="32639" y="92837"/>
                  </a:moveTo>
                  <a:lnTo>
                    <a:pt x="26162" y="92837"/>
                  </a:lnTo>
                  <a:lnTo>
                    <a:pt x="23622" y="95503"/>
                  </a:lnTo>
                  <a:lnTo>
                    <a:pt x="23622" y="102108"/>
                  </a:lnTo>
                  <a:lnTo>
                    <a:pt x="26162" y="104648"/>
                  </a:lnTo>
                  <a:lnTo>
                    <a:pt x="32639" y="104648"/>
                  </a:lnTo>
                  <a:lnTo>
                    <a:pt x="35178" y="102108"/>
                  </a:lnTo>
                  <a:lnTo>
                    <a:pt x="35178" y="95503"/>
                  </a:lnTo>
                  <a:lnTo>
                    <a:pt x="32639" y="92837"/>
                  </a:lnTo>
                  <a:close/>
                </a:path>
                <a:path w="317500" h="314325">
                  <a:moveTo>
                    <a:pt x="9017" y="92837"/>
                  </a:moveTo>
                  <a:lnTo>
                    <a:pt x="2540" y="92837"/>
                  </a:lnTo>
                  <a:lnTo>
                    <a:pt x="0" y="95503"/>
                  </a:lnTo>
                  <a:lnTo>
                    <a:pt x="0" y="102108"/>
                  </a:lnTo>
                  <a:lnTo>
                    <a:pt x="2540" y="104648"/>
                  </a:lnTo>
                  <a:lnTo>
                    <a:pt x="9017" y="104648"/>
                  </a:lnTo>
                  <a:lnTo>
                    <a:pt x="11556" y="102108"/>
                  </a:lnTo>
                  <a:lnTo>
                    <a:pt x="11556" y="95503"/>
                  </a:lnTo>
                  <a:lnTo>
                    <a:pt x="9017" y="92837"/>
                  </a:lnTo>
                  <a:close/>
                </a:path>
                <a:path w="317500" h="314325">
                  <a:moveTo>
                    <a:pt x="314071" y="69850"/>
                  </a:moveTo>
                  <a:lnTo>
                    <a:pt x="307594" y="69850"/>
                  </a:lnTo>
                  <a:lnTo>
                    <a:pt x="305053" y="72262"/>
                  </a:lnTo>
                  <a:lnTo>
                    <a:pt x="305053" y="78866"/>
                  </a:lnTo>
                  <a:lnTo>
                    <a:pt x="307594" y="81407"/>
                  </a:lnTo>
                  <a:lnTo>
                    <a:pt x="314071" y="81407"/>
                  </a:lnTo>
                  <a:lnTo>
                    <a:pt x="316992" y="78866"/>
                  </a:lnTo>
                  <a:lnTo>
                    <a:pt x="316992" y="72262"/>
                  </a:lnTo>
                  <a:lnTo>
                    <a:pt x="314071" y="69850"/>
                  </a:lnTo>
                  <a:close/>
                </a:path>
                <a:path w="317500" h="314325">
                  <a:moveTo>
                    <a:pt x="290956" y="69850"/>
                  </a:moveTo>
                  <a:lnTo>
                    <a:pt x="284606" y="69850"/>
                  </a:lnTo>
                  <a:lnTo>
                    <a:pt x="281940" y="72389"/>
                  </a:lnTo>
                  <a:lnTo>
                    <a:pt x="281940" y="78739"/>
                  </a:lnTo>
                  <a:lnTo>
                    <a:pt x="284606" y="81407"/>
                  </a:lnTo>
                  <a:lnTo>
                    <a:pt x="290956" y="81407"/>
                  </a:lnTo>
                  <a:lnTo>
                    <a:pt x="293497" y="78739"/>
                  </a:lnTo>
                  <a:lnTo>
                    <a:pt x="293497" y="72389"/>
                  </a:lnTo>
                  <a:lnTo>
                    <a:pt x="290956" y="69850"/>
                  </a:lnTo>
                  <a:close/>
                </a:path>
                <a:path w="317500" h="314325">
                  <a:moveTo>
                    <a:pt x="32639" y="69850"/>
                  </a:moveTo>
                  <a:lnTo>
                    <a:pt x="26162" y="69850"/>
                  </a:lnTo>
                  <a:lnTo>
                    <a:pt x="23622" y="72389"/>
                  </a:lnTo>
                  <a:lnTo>
                    <a:pt x="23622" y="78739"/>
                  </a:lnTo>
                  <a:lnTo>
                    <a:pt x="26162" y="81407"/>
                  </a:lnTo>
                  <a:lnTo>
                    <a:pt x="32639" y="81407"/>
                  </a:lnTo>
                  <a:lnTo>
                    <a:pt x="35178" y="78739"/>
                  </a:lnTo>
                  <a:lnTo>
                    <a:pt x="35178" y="72389"/>
                  </a:lnTo>
                  <a:lnTo>
                    <a:pt x="32639" y="69850"/>
                  </a:lnTo>
                  <a:close/>
                </a:path>
                <a:path w="317500" h="314325">
                  <a:moveTo>
                    <a:pt x="9017" y="69850"/>
                  </a:moveTo>
                  <a:lnTo>
                    <a:pt x="2540" y="69850"/>
                  </a:lnTo>
                  <a:lnTo>
                    <a:pt x="0" y="72389"/>
                  </a:lnTo>
                  <a:lnTo>
                    <a:pt x="0" y="78739"/>
                  </a:lnTo>
                  <a:lnTo>
                    <a:pt x="2540" y="81407"/>
                  </a:lnTo>
                  <a:lnTo>
                    <a:pt x="9017" y="81407"/>
                  </a:lnTo>
                  <a:lnTo>
                    <a:pt x="11556" y="78739"/>
                  </a:lnTo>
                  <a:lnTo>
                    <a:pt x="11556" y="72389"/>
                  </a:lnTo>
                  <a:lnTo>
                    <a:pt x="9017" y="69850"/>
                  </a:lnTo>
                  <a:close/>
                </a:path>
                <a:path w="317500" h="314325">
                  <a:moveTo>
                    <a:pt x="314071" y="46354"/>
                  </a:moveTo>
                  <a:lnTo>
                    <a:pt x="307594" y="46354"/>
                  </a:lnTo>
                  <a:lnTo>
                    <a:pt x="305053" y="49275"/>
                  </a:lnTo>
                  <a:lnTo>
                    <a:pt x="305053" y="55372"/>
                  </a:lnTo>
                  <a:lnTo>
                    <a:pt x="307594" y="57912"/>
                  </a:lnTo>
                  <a:lnTo>
                    <a:pt x="314071" y="57912"/>
                  </a:lnTo>
                  <a:lnTo>
                    <a:pt x="316992" y="55372"/>
                  </a:lnTo>
                  <a:lnTo>
                    <a:pt x="316992" y="49275"/>
                  </a:lnTo>
                  <a:lnTo>
                    <a:pt x="314071" y="46354"/>
                  </a:lnTo>
                  <a:close/>
                </a:path>
                <a:path w="317500" h="314325">
                  <a:moveTo>
                    <a:pt x="290956" y="46354"/>
                  </a:moveTo>
                  <a:lnTo>
                    <a:pt x="284606" y="46354"/>
                  </a:lnTo>
                  <a:lnTo>
                    <a:pt x="281940" y="48895"/>
                  </a:lnTo>
                  <a:lnTo>
                    <a:pt x="281940" y="55245"/>
                  </a:lnTo>
                  <a:lnTo>
                    <a:pt x="284606" y="57912"/>
                  </a:lnTo>
                  <a:lnTo>
                    <a:pt x="290956" y="57912"/>
                  </a:lnTo>
                  <a:lnTo>
                    <a:pt x="293497" y="55245"/>
                  </a:lnTo>
                  <a:lnTo>
                    <a:pt x="293497" y="48895"/>
                  </a:lnTo>
                  <a:lnTo>
                    <a:pt x="290956" y="46354"/>
                  </a:lnTo>
                  <a:close/>
                </a:path>
                <a:path w="317500" h="314325">
                  <a:moveTo>
                    <a:pt x="32639" y="46354"/>
                  </a:moveTo>
                  <a:lnTo>
                    <a:pt x="26162" y="46354"/>
                  </a:lnTo>
                  <a:lnTo>
                    <a:pt x="23622" y="48895"/>
                  </a:lnTo>
                  <a:lnTo>
                    <a:pt x="23622" y="55245"/>
                  </a:lnTo>
                  <a:lnTo>
                    <a:pt x="26162" y="57912"/>
                  </a:lnTo>
                  <a:lnTo>
                    <a:pt x="32639" y="57912"/>
                  </a:lnTo>
                  <a:lnTo>
                    <a:pt x="35178" y="55245"/>
                  </a:lnTo>
                  <a:lnTo>
                    <a:pt x="35178" y="48895"/>
                  </a:lnTo>
                  <a:lnTo>
                    <a:pt x="32639" y="46354"/>
                  </a:lnTo>
                  <a:close/>
                </a:path>
                <a:path w="317500" h="314325">
                  <a:moveTo>
                    <a:pt x="9017" y="46354"/>
                  </a:moveTo>
                  <a:lnTo>
                    <a:pt x="2540" y="46354"/>
                  </a:lnTo>
                  <a:lnTo>
                    <a:pt x="0" y="48895"/>
                  </a:lnTo>
                  <a:lnTo>
                    <a:pt x="0" y="55245"/>
                  </a:lnTo>
                  <a:lnTo>
                    <a:pt x="2540" y="57912"/>
                  </a:lnTo>
                  <a:lnTo>
                    <a:pt x="9017" y="57912"/>
                  </a:lnTo>
                  <a:lnTo>
                    <a:pt x="11556" y="55245"/>
                  </a:lnTo>
                  <a:lnTo>
                    <a:pt x="11556" y="48895"/>
                  </a:lnTo>
                  <a:lnTo>
                    <a:pt x="9017" y="46354"/>
                  </a:lnTo>
                  <a:close/>
                </a:path>
                <a:path w="317500" h="314325">
                  <a:moveTo>
                    <a:pt x="314071" y="23367"/>
                  </a:moveTo>
                  <a:lnTo>
                    <a:pt x="307594" y="23367"/>
                  </a:lnTo>
                  <a:lnTo>
                    <a:pt x="305053" y="25780"/>
                  </a:lnTo>
                  <a:lnTo>
                    <a:pt x="305053" y="32003"/>
                  </a:lnTo>
                  <a:lnTo>
                    <a:pt x="307594" y="34798"/>
                  </a:lnTo>
                  <a:lnTo>
                    <a:pt x="314071" y="34798"/>
                  </a:lnTo>
                  <a:lnTo>
                    <a:pt x="316992" y="32003"/>
                  </a:lnTo>
                  <a:lnTo>
                    <a:pt x="316992" y="25780"/>
                  </a:lnTo>
                  <a:lnTo>
                    <a:pt x="314071" y="23367"/>
                  </a:lnTo>
                  <a:close/>
                </a:path>
                <a:path w="317500" h="314325">
                  <a:moveTo>
                    <a:pt x="290956" y="23367"/>
                  </a:moveTo>
                  <a:lnTo>
                    <a:pt x="284606" y="23367"/>
                  </a:lnTo>
                  <a:lnTo>
                    <a:pt x="281940" y="25908"/>
                  </a:lnTo>
                  <a:lnTo>
                    <a:pt x="281940" y="32258"/>
                  </a:lnTo>
                  <a:lnTo>
                    <a:pt x="284606" y="34798"/>
                  </a:lnTo>
                  <a:lnTo>
                    <a:pt x="290956" y="34798"/>
                  </a:lnTo>
                  <a:lnTo>
                    <a:pt x="293497" y="32258"/>
                  </a:lnTo>
                  <a:lnTo>
                    <a:pt x="293497" y="25908"/>
                  </a:lnTo>
                  <a:lnTo>
                    <a:pt x="290956" y="23367"/>
                  </a:lnTo>
                  <a:close/>
                </a:path>
                <a:path w="317500" h="314325">
                  <a:moveTo>
                    <a:pt x="267462" y="23367"/>
                  </a:moveTo>
                  <a:lnTo>
                    <a:pt x="261112" y="23367"/>
                  </a:lnTo>
                  <a:lnTo>
                    <a:pt x="258445" y="25908"/>
                  </a:lnTo>
                  <a:lnTo>
                    <a:pt x="258445" y="32258"/>
                  </a:lnTo>
                  <a:lnTo>
                    <a:pt x="261112" y="34798"/>
                  </a:lnTo>
                  <a:lnTo>
                    <a:pt x="267462" y="34798"/>
                  </a:lnTo>
                  <a:lnTo>
                    <a:pt x="270128" y="32258"/>
                  </a:lnTo>
                  <a:lnTo>
                    <a:pt x="270128" y="25908"/>
                  </a:lnTo>
                  <a:lnTo>
                    <a:pt x="267462" y="23367"/>
                  </a:lnTo>
                  <a:close/>
                </a:path>
                <a:path w="317500" h="314325">
                  <a:moveTo>
                    <a:pt x="243840" y="23367"/>
                  </a:moveTo>
                  <a:lnTo>
                    <a:pt x="237236" y="23367"/>
                  </a:lnTo>
                  <a:lnTo>
                    <a:pt x="234569" y="25908"/>
                  </a:lnTo>
                  <a:lnTo>
                    <a:pt x="234569" y="32258"/>
                  </a:lnTo>
                  <a:lnTo>
                    <a:pt x="237236" y="34798"/>
                  </a:lnTo>
                  <a:lnTo>
                    <a:pt x="243840" y="34798"/>
                  </a:lnTo>
                  <a:lnTo>
                    <a:pt x="246506" y="32258"/>
                  </a:lnTo>
                  <a:lnTo>
                    <a:pt x="246506" y="25908"/>
                  </a:lnTo>
                  <a:lnTo>
                    <a:pt x="243840" y="23367"/>
                  </a:lnTo>
                  <a:close/>
                </a:path>
                <a:path w="317500" h="314325">
                  <a:moveTo>
                    <a:pt x="220345" y="23367"/>
                  </a:moveTo>
                  <a:lnTo>
                    <a:pt x="213614" y="23367"/>
                  </a:lnTo>
                  <a:lnTo>
                    <a:pt x="210947" y="25908"/>
                  </a:lnTo>
                  <a:lnTo>
                    <a:pt x="210947" y="32258"/>
                  </a:lnTo>
                  <a:lnTo>
                    <a:pt x="213614" y="34798"/>
                  </a:lnTo>
                  <a:lnTo>
                    <a:pt x="220345" y="34798"/>
                  </a:lnTo>
                  <a:lnTo>
                    <a:pt x="223012" y="32258"/>
                  </a:lnTo>
                  <a:lnTo>
                    <a:pt x="223012" y="25908"/>
                  </a:lnTo>
                  <a:lnTo>
                    <a:pt x="220345" y="23367"/>
                  </a:lnTo>
                  <a:close/>
                </a:path>
                <a:path w="317500" h="314325">
                  <a:moveTo>
                    <a:pt x="196850" y="23367"/>
                  </a:moveTo>
                  <a:lnTo>
                    <a:pt x="190373" y="23367"/>
                  </a:lnTo>
                  <a:lnTo>
                    <a:pt x="187833" y="25908"/>
                  </a:lnTo>
                  <a:lnTo>
                    <a:pt x="187833" y="32258"/>
                  </a:lnTo>
                  <a:lnTo>
                    <a:pt x="190373" y="34798"/>
                  </a:lnTo>
                  <a:lnTo>
                    <a:pt x="196850" y="34798"/>
                  </a:lnTo>
                  <a:lnTo>
                    <a:pt x="199390" y="32258"/>
                  </a:lnTo>
                  <a:lnTo>
                    <a:pt x="199390" y="25908"/>
                  </a:lnTo>
                  <a:lnTo>
                    <a:pt x="196850" y="23367"/>
                  </a:lnTo>
                  <a:close/>
                </a:path>
                <a:path w="317500" h="314325">
                  <a:moveTo>
                    <a:pt x="173354" y="23367"/>
                  </a:moveTo>
                  <a:lnTo>
                    <a:pt x="167004" y="23367"/>
                  </a:lnTo>
                  <a:lnTo>
                    <a:pt x="164338" y="25908"/>
                  </a:lnTo>
                  <a:lnTo>
                    <a:pt x="164338" y="32258"/>
                  </a:lnTo>
                  <a:lnTo>
                    <a:pt x="167004" y="34798"/>
                  </a:lnTo>
                  <a:lnTo>
                    <a:pt x="173354" y="34798"/>
                  </a:lnTo>
                  <a:lnTo>
                    <a:pt x="175895" y="32258"/>
                  </a:lnTo>
                  <a:lnTo>
                    <a:pt x="175895" y="25908"/>
                  </a:lnTo>
                  <a:lnTo>
                    <a:pt x="173354" y="23367"/>
                  </a:lnTo>
                  <a:close/>
                </a:path>
                <a:path w="317500" h="314325">
                  <a:moveTo>
                    <a:pt x="150114" y="23367"/>
                  </a:moveTo>
                  <a:lnTo>
                    <a:pt x="143383" y="23367"/>
                  </a:lnTo>
                  <a:lnTo>
                    <a:pt x="140716" y="25908"/>
                  </a:lnTo>
                  <a:lnTo>
                    <a:pt x="140716" y="32258"/>
                  </a:lnTo>
                  <a:lnTo>
                    <a:pt x="143383" y="34798"/>
                  </a:lnTo>
                  <a:lnTo>
                    <a:pt x="150114" y="34798"/>
                  </a:lnTo>
                  <a:lnTo>
                    <a:pt x="152780" y="32258"/>
                  </a:lnTo>
                  <a:lnTo>
                    <a:pt x="152780" y="25908"/>
                  </a:lnTo>
                  <a:lnTo>
                    <a:pt x="150114" y="23367"/>
                  </a:lnTo>
                  <a:close/>
                </a:path>
                <a:path w="317500" h="314325">
                  <a:moveTo>
                    <a:pt x="126619" y="23367"/>
                  </a:moveTo>
                  <a:lnTo>
                    <a:pt x="120015" y="23367"/>
                  </a:lnTo>
                  <a:lnTo>
                    <a:pt x="117348" y="25908"/>
                  </a:lnTo>
                  <a:lnTo>
                    <a:pt x="117348" y="32258"/>
                  </a:lnTo>
                  <a:lnTo>
                    <a:pt x="120015" y="34798"/>
                  </a:lnTo>
                  <a:lnTo>
                    <a:pt x="126619" y="34798"/>
                  </a:lnTo>
                  <a:lnTo>
                    <a:pt x="129286" y="32258"/>
                  </a:lnTo>
                  <a:lnTo>
                    <a:pt x="129286" y="25908"/>
                  </a:lnTo>
                  <a:lnTo>
                    <a:pt x="126619" y="23367"/>
                  </a:lnTo>
                  <a:close/>
                </a:path>
                <a:path w="317500" h="314325">
                  <a:moveTo>
                    <a:pt x="103124" y="23367"/>
                  </a:moveTo>
                  <a:lnTo>
                    <a:pt x="96774" y="23367"/>
                  </a:lnTo>
                  <a:lnTo>
                    <a:pt x="94106" y="25908"/>
                  </a:lnTo>
                  <a:lnTo>
                    <a:pt x="94106" y="32258"/>
                  </a:lnTo>
                  <a:lnTo>
                    <a:pt x="96774" y="34798"/>
                  </a:lnTo>
                  <a:lnTo>
                    <a:pt x="103124" y="34798"/>
                  </a:lnTo>
                  <a:lnTo>
                    <a:pt x="105664" y="32258"/>
                  </a:lnTo>
                  <a:lnTo>
                    <a:pt x="105664" y="25908"/>
                  </a:lnTo>
                  <a:lnTo>
                    <a:pt x="103124" y="23367"/>
                  </a:lnTo>
                  <a:close/>
                </a:path>
                <a:path w="317500" h="314325">
                  <a:moveTo>
                    <a:pt x="79628" y="23367"/>
                  </a:moveTo>
                  <a:lnTo>
                    <a:pt x="73278" y="23367"/>
                  </a:lnTo>
                  <a:lnTo>
                    <a:pt x="70739" y="25908"/>
                  </a:lnTo>
                  <a:lnTo>
                    <a:pt x="70739" y="32258"/>
                  </a:lnTo>
                  <a:lnTo>
                    <a:pt x="73278" y="34798"/>
                  </a:lnTo>
                  <a:lnTo>
                    <a:pt x="79628" y="34798"/>
                  </a:lnTo>
                  <a:lnTo>
                    <a:pt x="82296" y="32258"/>
                  </a:lnTo>
                  <a:lnTo>
                    <a:pt x="82296" y="25908"/>
                  </a:lnTo>
                  <a:lnTo>
                    <a:pt x="79628" y="23367"/>
                  </a:lnTo>
                  <a:close/>
                </a:path>
                <a:path w="317500" h="314325">
                  <a:moveTo>
                    <a:pt x="56006" y="23367"/>
                  </a:moveTo>
                  <a:lnTo>
                    <a:pt x="49656" y="23367"/>
                  </a:lnTo>
                  <a:lnTo>
                    <a:pt x="47117" y="25908"/>
                  </a:lnTo>
                  <a:lnTo>
                    <a:pt x="47117" y="32258"/>
                  </a:lnTo>
                  <a:lnTo>
                    <a:pt x="49656" y="34798"/>
                  </a:lnTo>
                  <a:lnTo>
                    <a:pt x="56006" y="34798"/>
                  </a:lnTo>
                  <a:lnTo>
                    <a:pt x="58674" y="32258"/>
                  </a:lnTo>
                  <a:lnTo>
                    <a:pt x="58674" y="25908"/>
                  </a:lnTo>
                  <a:lnTo>
                    <a:pt x="56006" y="23367"/>
                  </a:lnTo>
                  <a:close/>
                </a:path>
                <a:path w="317500" h="314325">
                  <a:moveTo>
                    <a:pt x="32639" y="23367"/>
                  </a:moveTo>
                  <a:lnTo>
                    <a:pt x="26162" y="23367"/>
                  </a:lnTo>
                  <a:lnTo>
                    <a:pt x="23622" y="25908"/>
                  </a:lnTo>
                  <a:lnTo>
                    <a:pt x="23622" y="32258"/>
                  </a:lnTo>
                  <a:lnTo>
                    <a:pt x="26162" y="34798"/>
                  </a:lnTo>
                  <a:lnTo>
                    <a:pt x="32639" y="34798"/>
                  </a:lnTo>
                  <a:lnTo>
                    <a:pt x="35178" y="32258"/>
                  </a:lnTo>
                  <a:lnTo>
                    <a:pt x="35178" y="25908"/>
                  </a:lnTo>
                  <a:lnTo>
                    <a:pt x="32639" y="23367"/>
                  </a:lnTo>
                  <a:close/>
                </a:path>
                <a:path w="317500" h="314325">
                  <a:moveTo>
                    <a:pt x="9017" y="23367"/>
                  </a:moveTo>
                  <a:lnTo>
                    <a:pt x="2540" y="23367"/>
                  </a:lnTo>
                  <a:lnTo>
                    <a:pt x="0" y="25908"/>
                  </a:lnTo>
                  <a:lnTo>
                    <a:pt x="0" y="32258"/>
                  </a:lnTo>
                  <a:lnTo>
                    <a:pt x="2540" y="34798"/>
                  </a:lnTo>
                  <a:lnTo>
                    <a:pt x="9017" y="34798"/>
                  </a:lnTo>
                  <a:lnTo>
                    <a:pt x="11556" y="32258"/>
                  </a:lnTo>
                  <a:lnTo>
                    <a:pt x="11556" y="25908"/>
                  </a:lnTo>
                  <a:lnTo>
                    <a:pt x="9017" y="23367"/>
                  </a:lnTo>
                  <a:close/>
                </a:path>
                <a:path w="317500" h="314325">
                  <a:moveTo>
                    <a:pt x="314071" y="0"/>
                  </a:moveTo>
                  <a:lnTo>
                    <a:pt x="307594" y="0"/>
                  </a:lnTo>
                  <a:lnTo>
                    <a:pt x="305053" y="2412"/>
                  </a:lnTo>
                  <a:lnTo>
                    <a:pt x="305053" y="9016"/>
                  </a:lnTo>
                  <a:lnTo>
                    <a:pt x="307594" y="11811"/>
                  </a:lnTo>
                  <a:lnTo>
                    <a:pt x="314071" y="11811"/>
                  </a:lnTo>
                  <a:lnTo>
                    <a:pt x="316992" y="9016"/>
                  </a:lnTo>
                  <a:lnTo>
                    <a:pt x="316992" y="2412"/>
                  </a:lnTo>
                  <a:lnTo>
                    <a:pt x="314071" y="0"/>
                  </a:lnTo>
                  <a:close/>
                </a:path>
                <a:path w="317500" h="314325">
                  <a:moveTo>
                    <a:pt x="290702" y="0"/>
                  </a:moveTo>
                  <a:lnTo>
                    <a:pt x="284479" y="0"/>
                  </a:lnTo>
                  <a:lnTo>
                    <a:pt x="281940" y="2412"/>
                  </a:lnTo>
                  <a:lnTo>
                    <a:pt x="281940" y="9016"/>
                  </a:lnTo>
                  <a:lnTo>
                    <a:pt x="284479" y="11811"/>
                  </a:lnTo>
                  <a:lnTo>
                    <a:pt x="290702" y="11811"/>
                  </a:lnTo>
                  <a:lnTo>
                    <a:pt x="293497" y="9016"/>
                  </a:lnTo>
                  <a:lnTo>
                    <a:pt x="293497" y="2412"/>
                  </a:lnTo>
                  <a:lnTo>
                    <a:pt x="290702" y="0"/>
                  </a:lnTo>
                  <a:close/>
                </a:path>
                <a:path w="317500" h="314325">
                  <a:moveTo>
                    <a:pt x="267208" y="0"/>
                  </a:moveTo>
                  <a:lnTo>
                    <a:pt x="260985" y="0"/>
                  </a:lnTo>
                  <a:lnTo>
                    <a:pt x="258445" y="2412"/>
                  </a:lnTo>
                  <a:lnTo>
                    <a:pt x="258445" y="9016"/>
                  </a:lnTo>
                  <a:lnTo>
                    <a:pt x="260985" y="11811"/>
                  </a:lnTo>
                  <a:lnTo>
                    <a:pt x="267208" y="11811"/>
                  </a:lnTo>
                  <a:lnTo>
                    <a:pt x="270128" y="9016"/>
                  </a:lnTo>
                  <a:lnTo>
                    <a:pt x="270128" y="2412"/>
                  </a:lnTo>
                  <a:lnTo>
                    <a:pt x="267208" y="0"/>
                  </a:lnTo>
                  <a:close/>
                </a:path>
                <a:path w="317500" h="314325">
                  <a:moveTo>
                    <a:pt x="243586" y="0"/>
                  </a:moveTo>
                  <a:lnTo>
                    <a:pt x="237490" y="0"/>
                  </a:lnTo>
                  <a:lnTo>
                    <a:pt x="234569" y="2412"/>
                  </a:lnTo>
                  <a:lnTo>
                    <a:pt x="234569" y="9016"/>
                  </a:lnTo>
                  <a:lnTo>
                    <a:pt x="237490" y="11811"/>
                  </a:lnTo>
                  <a:lnTo>
                    <a:pt x="243586" y="11811"/>
                  </a:lnTo>
                  <a:lnTo>
                    <a:pt x="246506" y="9016"/>
                  </a:lnTo>
                  <a:lnTo>
                    <a:pt x="246506" y="2412"/>
                  </a:lnTo>
                  <a:lnTo>
                    <a:pt x="243586" y="0"/>
                  </a:lnTo>
                  <a:close/>
                </a:path>
                <a:path w="317500" h="314325">
                  <a:moveTo>
                    <a:pt x="220472" y="0"/>
                  </a:moveTo>
                  <a:lnTo>
                    <a:pt x="213868" y="0"/>
                  </a:lnTo>
                  <a:lnTo>
                    <a:pt x="210947" y="2412"/>
                  </a:lnTo>
                  <a:lnTo>
                    <a:pt x="210947" y="9016"/>
                  </a:lnTo>
                  <a:lnTo>
                    <a:pt x="213868" y="11811"/>
                  </a:lnTo>
                  <a:lnTo>
                    <a:pt x="220472" y="11811"/>
                  </a:lnTo>
                  <a:lnTo>
                    <a:pt x="223012" y="9016"/>
                  </a:lnTo>
                  <a:lnTo>
                    <a:pt x="223012" y="2412"/>
                  </a:lnTo>
                  <a:lnTo>
                    <a:pt x="220472" y="0"/>
                  </a:lnTo>
                  <a:close/>
                </a:path>
                <a:path w="317500" h="314325">
                  <a:moveTo>
                    <a:pt x="196850" y="0"/>
                  </a:moveTo>
                  <a:lnTo>
                    <a:pt x="190246" y="0"/>
                  </a:lnTo>
                  <a:lnTo>
                    <a:pt x="187833" y="2412"/>
                  </a:lnTo>
                  <a:lnTo>
                    <a:pt x="187833" y="9016"/>
                  </a:lnTo>
                  <a:lnTo>
                    <a:pt x="190246" y="11811"/>
                  </a:lnTo>
                  <a:lnTo>
                    <a:pt x="196850" y="11811"/>
                  </a:lnTo>
                  <a:lnTo>
                    <a:pt x="199390" y="9016"/>
                  </a:lnTo>
                  <a:lnTo>
                    <a:pt x="199390" y="2412"/>
                  </a:lnTo>
                  <a:lnTo>
                    <a:pt x="196850" y="0"/>
                  </a:lnTo>
                  <a:close/>
                </a:path>
                <a:path w="317500" h="314325">
                  <a:moveTo>
                    <a:pt x="173481" y="0"/>
                  </a:moveTo>
                  <a:lnTo>
                    <a:pt x="166877" y="0"/>
                  </a:lnTo>
                  <a:lnTo>
                    <a:pt x="164338" y="2412"/>
                  </a:lnTo>
                  <a:lnTo>
                    <a:pt x="164338" y="9016"/>
                  </a:lnTo>
                  <a:lnTo>
                    <a:pt x="166877" y="11811"/>
                  </a:lnTo>
                  <a:lnTo>
                    <a:pt x="173481" y="11811"/>
                  </a:lnTo>
                  <a:lnTo>
                    <a:pt x="175895" y="9016"/>
                  </a:lnTo>
                  <a:lnTo>
                    <a:pt x="175895" y="2412"/>
                  </a:lnTo>
                  <a:lnTo>
                    <a:pt x="173481" y="0"/>
                  </a:lnTo>
                  <a:close/>
                </a:path>
                <a:path w="317500" h="314325">
                  <a:moveTo>
                    <a:pt x="150241" y="0"/>
                  </a:moveTo>
                  <a:lnTo>
                    <a:pt x="143255" y="0"/>
                  </a:lnTo>
                  <a:lnTo>
                    <a:pt x="140716" y="2412"/>
                  </a:lnTo>
                  <a:lnTo>
                    <a:pt x="140716" y="9016"/>
                  </a:lnTo>
                  <a:lnTo>
                    <a:pt x="143255" y="11811"/>
                  </a:lnTo>
                  <a:lnTo>
                    <a:pt x="150241" y="11811"/>
                  </a:lnTo>
                  <a:lnTo>
                    <a:pt x="152780" y="9016"/>
                  </a:lnTo>
                  <a:lnTo>
                    <a:pt x="152780" y="2412"/>
                  </a:lnTo>
                  <a:lnTo>
                    <a:pt x="150241" y="0"/>
                  </a:lnTo>
                  <a:close/>
                </a:path>
                <a:path w="317500" h="314325">
                  <a:moveTo>
                    <a:pt x="126873" y="0"/>
                  </a:moveTo>
                  <a:lnTo>
                    <a:pt x="119761" y="0"/>
                  </a:lnTo>
                  <a:lnTo>
                    <a:pt x="117348" y="2412"/>
                  </a:lnTo>
                  <a:lnTo>
                    <a:pt x="117348" y="9016"/>
                  </a:lnTo>
                  <a:lnTo>
                    <a:pt x="119761" y="11811"/>
                  </a:lnTo>
                  <a:lnTo>
                    <a:pt x="126873" y="11811"/>
                  </a:lnTo>
                  <a:lnTo>
                    <a:pt x="129286" y="9016"/>
                  </a:lnTo>
                  <a:lnTo>
                    <a:pt x="129286" y="2412"/>
                  </a:lnTo>
                  <a:lnTo>
                    <a:pt x="126873" y="0"/>
                  </a:lnTo>
                  <a:close/>
                </a:path>
                <a:path w="317500" h="314325">
                  <a:moveTo>
                    <a:pt x="102870" y="0"/>
                  </a:moveTo>
                  <a:lnTo>
                    <a:pt x="96647" y="0"/>
                  </a:lnTo>
                  <a:lnTo>
                    <a:pt x="94106" y="2412"/>
                  </a:lnTo>
                  <a:lnTo>
                    <a:pt x="94106" y="9016"/>
                  </a:lnTo>
                  <a:lnTo>
                    <a:pt x="96647" y="11811"/>
                  </a:lnTo>
                  <a:lnTo>
                    <a:pt x="102870" y="11811"/>
                  </a:lnTo>
                  <a:lnTo>
                    <a:pt x="105664" y="9016"/>
                  </a:lnTo>
                  <a:lnTo>
                    <a:pt x="105664" y="2412"/>
                  </a:lnTo>
                  <a:lnTo>
                    <a:pt x="102870" y="0"/>
                  </a:lnTo>
                  <a:close/>
                </a:path>
                <a:path w="317500" h="314325">
                  <a:moveTo>
                    <a:pt x="79375" y="0"/>
                  </a:moveTo>
                  <a:lnTo>
                    <a:pt x="73151" y="0"/>
                  </a:lnTo>
                  <a:lnTo>
                    <a:pt x="70739" y="2412"/>
                  </a:lnTo>
                  <a:lnTo>
                    <a:pt x="70739" y="9016"/>
                  </a:lnTo>
                  <a:lnTo>
                    <a:pt x="73151" y="11811"/>
                  </a:lnTo>
                  <a:lnTo>
                    <a:pt x="79375" y="11811"/>
                  </a:lnTo>
                  <a:lnTo>
                    <a:pt x="82296" y="9016"/>
                  </a:lnTo>
                  <a:lnTo>
                    <a:pt x="82296" y="2412"/>
                  </a:lnTo>
                  <a:lnTo>
                    <a:pt x="79375" y="0"/>
                  </a:lnTo>
                  <a:close/>
                </a:path>
                <a:path w="317500" h="314325">
                  <a:moveTo>
                    <a:pt x="56134" y="0"/>
                  </a:moveTo>
                  <a:lnTo>
                    <a:pt x="49529" y="0"/>
                  </a:lnTo>
                  <a:lnTo>
                    <a:pt x="47117" y="2412"/>
                  </a:lnTo>
                  <a:lnTo>
                    <a:pt x="47117" y="9016"/>
                  </a:lnTo>
                  <a:lnTo>
                    <a:pt x="49529" y="11811"/>
                  </a:lnTo>
                  <a:lnTo>
                    <a:pt x="56134" y="11811"/>
                  </a:lnTo>
                  <a:lnTo>
                    <a:pt x="58674" y="9016"/>
                  </a:lnTo>
                  <a:lnTo>
                    <a:pt x="58674" y="2412"/>
                  </a:lnTo>
                  <a:lnTo>
                    <a:pt x="56134" y="0"/>
                  </a:lnTo>
                  <a:close/>
                </a:path>
                <a:path w="317500" h="314325">
                  <a:moveTo>
                    <a:pt x="32766" y="0"/>
                  </a:moveTo>
                  <a:lnTo>
                    <a:pt x="26543" y="0"/>
                  </a:lnTo>
                  <a:lnTo>
                    <a:pt x="23622" y="2412"/>
                  </a:lnTo>
                  <a:lnTo>
                    <a:pt x="23622" y="9016"/>
                  </a:lnTo>
                  <a:lnTo>
                    <a:pt x="26543" y="11811"/>
                  </a:lnTo>
                  <a:lnTo>
                    <a:pt x="32766" y="11811"/>
                  </a:lnTo>
                  <a:lnTo>
                    <a:pt x="35178" y="9016"/>
                  </a:lnTo>
                  <a:lnTo>
                    <a:pt x="35178" y="2412"/>
                  </a:lnTo>
                  <a:lnTo>
                    <a:pt x="32766" y="0"/>
                  </a:lnTo>
                  <a:close/>
                </a:path>
                <a:path w="317500" h="314325">
                  <a:moveTo>
                    <a:pt x="9144" y="0"/>
                  </a:moveTo>
                  <a:lnTo>
                    <a:pt x="2921" y="0"/>
                  </a:lnTo>
                  <a:lnTo>
                    <a:pt x="0" y="2412"/>
                  </a:lnTo>
                  <a:lnTo>
                    <a:pt x="0" y="9016"/>
                  </a:lnTo>
                  <a:lnTo>
                    <a:pt x="2921" y="11811"/>
                  </a:lnTo>
                  <a:lnTo>
                    <a:pt x="9144" y="11811"/>
                  </a:lnTo>
                  <a:lnTo>
                    <a:pt x="11556" y="9016"/>
                  </a:lnTo>
                  <a:lnTo>
                    <a:pt x="11556" y="241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1" name="组合 20"/>
          <p:cNvGrpSpPr>
            <a:grpSpLocks noChangeAspect="1"/>
          </p:cNvGrpSpPr>
          <p:nvPr/>
        </p:nvGrpSpPr>
        <p:grpSpPr>
          <a:xfrm>
            <a:off x="8546759" y="3177908"/>
            <a:ext cx="437548" cy="432000"/>
            <a:chOff x="8269007" y="2787537"/>
            <a:chExt cx="350520" cy="346075"/>
          </a:xfrm>
        </p:grpSpPr>
        <p:sp>
          <p:nvSpPr>
            <p:cNvPr id="22" name="object 32"/>
            <p:cNvSpPr/>
            <p:nvPr/>
          </p:nvSpPr>
          <p:spPr>
            <a:xfrm>
              <a:off x="8269007" y="2787537"/>
              <a:ext cx="350520" cy="346075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solidFill>
              <a:srgbClr val="0386C1"/>
            </a:solidFill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3" name="object 33"/>
            <p:cNvSpPr/>
            <p:nvPr/>
          </p:nvSpPr>
          <p:spPr>
            <a:xfrm>
              <a:off x="8285517" y="2800998"/>
              <a:ext cx="317500" cy="314325"/>
            </a:xfrm>
            <a:custGeom>
              <a:avLst/>
              <a:gdLst/>
              <a:ahLst/>
              <a:cxnLst/>
              <a:rect l="l" t="t" r="r" b="b"/>
              <a:pathLst>
                <a:path w="317500" h="314325">
                  <a:moveTo>
                    <a:pt x="314071" y="302387"/>
                  </a:moveTo>
                  <a:lnTo>
                    <a:pt x="307594" y="302387"/>
                  </a:lnTo>
                  <a:lnTo>
                    <a:pt x="305053" y="304926"/>
                  </a:lnTo>
                  <a:lnTo>
                    <a:pt x="305053" y="311530"/>
                  </a:lnTo>
                  <a:lnTo>
                    <a:pt x="307594" y="313943"/>
                  </a:lnTo>
                  <a:lnTo>
                    <a:pt x="314071" y="313943"/>
                  </a:lnTo>
                  <a:lnTo>
                    <a:pt x="316992" y="311530"/>
                  </a:lnTo>
                  <a:lnTo>
                    <a:pt x="316992" y="304926"/>
                  </a:lnTo>
                  <a:lnTo>
                    <a:pt x="314071" y="302387"/>
                  </a:lnTo>
                  <a:close/>
                </a:path>
                <a:path w="317500" h="314325">
                  <a:moveTo>
                    <a:pt x="290956" y="302387"/>
                  </a:moveTo>
                  <a:lnTo>
                    <a:pt x="284606" y="302387"/>
                  </a:lnTo>
                  <a:lnTo>
                    <a:pt x="281940" y="305053"/>
                  </a:lnTo>
                  <a:lnTo>
                    <a:pt x="281940" y="311403"/>
                  </a:lnTo>
                  <a:lnTo>
                    <a:pt x="284606" y="313943"/>
                  </a:lnTo>
                  <a:lnTo>
                    <a:pt x="290956" y="313943"/>
                  </a:lnTo>
                  <a:lnTo>
                    <a:pt x="293497" y="311403"/>
                  </a:lnTo>
                  <a:lnTo>
                    <a:pt x="293497" y="305053"/>
                  </a:lnTo>
                  <a:lnTo>
                    <a:pt x="290956" y="302387"/>
                  </a:lnTo>
                  <a:close/>
                </a:path>
                <a:path w="317500" h="314325">
                  <a:moveTo>
                    <a:pt x="267462" y="302387"/>
                  </a:moveTo>
                  <a:lnTo>
                    <a:pt x="261112" y="302387"/>
                  </a:lnTo>
                  <a:lnTo>
                    <a:pt x="258445" y="305053"/>
                  </a:lnTo>
                  <a:lnTo>
                    <a:pt x="258445" y="311403"/>
                  </a:lnTo>
                  <a:lnTo>
                    <a:pt x="261112" y="313943"/>
                  </a:lnTo>
                  <a:lnTo>
                    <a:pt x="267462" y="313943"/>
                  </a:lnTo>
                  <a:lnTo>
                    <a:pt x="270128" y="311403"/>
                  </a:lnTo>
                  <a:lnTo>
                    <a:pt x="270128" y="305053"/>
                  </a:lnTo>
                  <a:lnTo>
                    <a:pt x="267462" y="302387"/>
                  </a:lnTo>
                  <a:close/>
                </a:path>
                <a:path w="317500" h="314325">
                  <a:moveTo>
                    <a:pt x="243840" y="302387"/>
                  </a:moveTo>
                  <a:lnTo>
                    <a:pt x="237236" y="302387"/>
                  </a:lnTo>
                  <a:lnTo>
                    <a:pt x="234569" y="305053"/>
                  </a:lnTo>
                  <a:lnTo>
                    <a:pt x="234569" y="311403"/>
                  </a:lnTo>
                  <a:lnTo>
                    <a:pt x="237236" y="313943"/>
                  </a:lnTo>
                  <a:lnTo>
                    <a:pt x="243840" y="313943"/>
                  </a:lnTo>
                  <a:lnTo>
                    <a:pt x="246506" y="311403"/>
                  </a:lnTo>
                  <a:lnTo>
                    <a:pt x="246506" y="305053"/>
                  </a:lnTo>
                  <a:lnTo>
                    <a:pt x="243840" y="302387"/>
                  </a:lnTo>
                  <a:close/>
                </a:path>
                <a:path w="317500" h="314325">
                  <a:moveTo>
                    <a:pt x="220345" y="302387"/>
                  </a:moveTo>
                  <a:lnTo>
                    <a:pt x="213614" y="302387"/>
                  </a:lnTo>
                  <a:lnTo>
                    <a:pt x="210947" y="305053"/>
                  </a:lnTo>
                  <a:lnTo>
                    <a:pt x="210947" y="311403"/>
                  </a:lnTo>
                  <a:lnTo>
                    <a:pt x="213614" y="313943"/>
                  </a:lnTo>
                  <a:lnTo>
                    <a:pt x="220345" y="313943"/>
                  </a:lnTo>
                  <a:lnTo>
                    <a:pt x="223012" y="311403"/>
                  </a:lnTo>
                  <a:lnTo>
                    <a:pt x="223012" y="305053"/>
                  </a:lnTo>
                  <a:lnTo>
                    <a:pt x="220345" y="302387"/>
                  </a:lnTo>
                  <a:close/>
                </a:path>
                <a:path w="317500" h="314325">
                  <a:moveTo>
                    <a:pt x="196850" y="302387"/>
                  </a:moveTo>
                  <a:lnTo>
                    <a:pt x="190373" y="302387"/>
                  </a:lnTo>
                  <a:lnTo>
                    <a:pt x="187833" y="305053"/>
                  </a:lnTo>
                  <a:lnTo>
                    <a:pt x="187833" y="311403"/>
                  </a:lnTo>
                  <a:lnTo>
                    <a:pt x="190373" y="313943"/>
                  </a:lnTo>
                  <a:lnTo>
                    <a:pt x="196850" y="313943"/>
                  </a:lnTo>
                  <a:lnTo>
                    <a:pt x="199390" y="311403"/>
                  </a:lnTo>
                  <a:lnTo>
                    <a:pt x="199390" y="305053"/>
                  </a:lnTo>
                  <a:lnTo>
                    <a:pt x="196850" y="302387"/>
                  </a:lnTo>
                  <a:close/>
                </a:path>
                <a:path w="317500" h="314325">
                  <a:moveTo>
                    <a:pt x="173354" y="302387"/>
                  </a:moveTo>
                  <a:lnTo>
                    <a:pt x="167004" y="302387"/>
                  </a:lnTo>
                  <a:lnTo>
                    <a:pt x="164338" y="305053"/>
                  </a:lnTo>
                  <a:lnTo>
                    <a:pt x="164338" y="311403"/>
                  </a:lnTo>
                  <a:lnTo>
                    <a:pt x="167004" y="313943"/>
                  </a:lnTo>
                  <a:lnTo>
                    <a:pt x="173354" y="313943"/>
                  </a:lnTo>
                  <a:lnTo>
                    <a:pt x="175895" y="311403"/>
                  </a:lnTo>
                  <a:lnTo>
                    <a:pt x="175895" y="305053"/>
                  </a:lnTo>
                  <a:lnTo>
                    <a:pt x="173354" y="302387"/>
                  </a:lnTo>
                  <a:close/>
                </a:path>
                <a:path w="317500" h="314325">
                  <a:moveTo>
                    <a:pt x="150114" y="302387"/>
                  </a:moveTo>
                  <a:lnTo>
                    <a:pt x="143383" y="302387"/>
                  </a:lnTo>
                  <a:lnTo>
                    <a:pt x="140716" y="305053"/>
                  </a:lnTo>
                  <a:lnTo>
                    <a:pt x="140716" y="311403"/>
                  </a:lnTo>
                  <a:lnTo>
                    <a:pt x="143383" y="313943"/>
                  </a:lnTo>
                  <a:lnTo>
                    <a:pt x="150114" y="313943"/>
                  </a:lnTo>
                  <a:lnTo>
                    <a:pt x="152780" y="311403"/>
                  </a:lnTo>
                  <a:lnTo>
                    <a:pt x="152780" y="305053"/>
                  </a:lnTo>
                  <a:lnTo>
                    <a:pt x="150114" y="302387"/>
                  </a:lnTo>
                  <a:close/>
                </a:path>
                <a:path w="317500" h="314325">
                  <a:moveTo>
                    <a:pt x="126619" y="302387"/>
                  </a:moveTo>
                  <a:lnTo>
                    <a:pt x="120015" y="302387"/>
                  </a:lnTo>
                  <a:lnTo>
                    <a:pt x="117348" y="305053"/>
                  </a:lnTo>
                  <a:lnTo>
                    <a:pt x="117348" y="311403"/>
                  </a:lnTo>
                  <a:lnTo>
                    <a:pt x="120015" y="313943"/>
                  </a:lnTo>
                  <a:lnTo>
                    <a:pt x="126619" y="313943"/>
                  </a:lnTo>
                  <a:lnTo>
                    <a:pt x="129286" y="311403"/>
                  </a:lnTo>
                  <a:lnTo>
                    <a:pt x="129286" y="305053"/>
                  </a:lnTo>
                  <a:lnTo>
                    <a:pt x="126619" y="302387"/>
                  </a:lnTo>
                  <a:close/>
                </a:path>
                <a:path w="317500" h="314325">
                  <a:moveTo>
                    <a:pt x="103124" y="302387"/>
                  </a:moveTo>
                  <a:lnTo>
                    <a:pt x="96774" y="302387"/>
                  </a:lnTo>
                  <a:lnTo>
                    <a:pt x="94106" y="305053"/>
                  </a:lnTo>
                  <a:lnTo>
                    <a:pt x="94106" y="311403"/>
                  </a:lnTo>
                  <a:lnTo>
                    <a:pt x="96774" y="313943"/>
                  </a:lnTo>
                  <a:lnTo>
                    <a:pt x="103124" y="313943"/>
                  </a:lnTo>
                  <a:lnTo>
                    <a:pt x="105664" y="311403"/>
                  </a:lnTo>
                  <a:lnTo>
                    <a:pt x="105664" y="305053"/>
                  </a:lnTo>
                  <a:lnTo>
                    <a:pt x="103124" y="302387"/>
                  </a:lnTo>
                  <a:close/>
                </a:path>
                <a:path w="317500" h="314325">
                  <a:moveTo>
                    <a:pt x="79628" y="302387"/>
                  </a:moveTo>
                  <a:lnTo>
                    <a:pt x="73278" y="302387"/>
                  </a:lnTo>
                  <a:lnTo>
                    <a:pt x="70739" y="305053"/>
                  </a:lnTo>
                  <a:lnTo>
                    <a:pt x="70739" y="311403"/>
                  </a:lnTo>
                  <a:lnTo>
                    <a:pt x="73278" y="313943"/>
                  </a:lnTo>
                  <a:lnTo>
                    <a:pt x="79628" y="313943"/>
                  </a:lnTo>
                  <a:lnTo>
                    <a:pt x="82296" y="311403"/>
                  </a:lnTo>
                  <a:lnTo>
                    <a:pt x="82296" y="305053"/>
                  </a:lnTo>
                  <a:lnTo>
                    <a:pt x="79628" y="302387"/>
                  </a:lnTo>
                  <a:close/>
                </a:path>
                <a:path w="317500" h="314325">
                  <a:moveTo>
                    <a:pt x="56006" y="302387"/>
                  </a:moveTo>
                  <a:lnTo>
                    <a:pt x="49656" y="302387"/>
                  </a:lnTo>
                  <a:lnTo>
                    <a:pt x="47117" y="305053"/>
                  </a:lnTo>
                  <a:lnTo>
                    <a:pt x="47117" y="311403"/>
                  </a:lnTo>
                  <a:lnTo>
                    <a:pt x="49656" y="313943"/>
                  </a:lnTo>
                  <a:lnTo>
                    <a:pt x="56006" y="313943"/>
                  </a:lnTo>
                  <a:lnTo>
                    <a:pt x="58674" y="311403"/>
                  </a:lnTo>
                  <a:lnTo>
                    <a:pt x="58674" y="305053"/>
                  </a:lnTo>
                  <a:lnTo>
                    <a:pt x="56006" y="302387"/>
                  </a:lnTo>
                  <a:close/>
                </a:path>
                <a:path w="317500" h="314325">
                  <a:moveTo>
                    <a:pt x="32639" y="302387"/>
                  </a:moveTo>
                  <a:lnTo>
                    <a:pt x="26162" y="302387"/>
                  </a:lnTo>
                  <a:lnTo>
                    <a:pt x="23622" y="305053"/>
                  </a:lnTo>
                  <a:lnTo>
                    <a:pt x="23622" y="311403"/>
                  </a:lnTo>
                  <a:lnTo>
                    <a:pt x="26162" y="313943"/>
                  </a:lnTo>
                  <a:lnTo>
                    <a:pt x="32639" y="313943"/>
                  </a:lnTo>
                  <a:lnTo>
                    <a:pt x="35178" y="311403"/>
                  </a:lnTo>
                  <a:lnTo>
                    <a:pt x="35178" y="305053"/>
                  </a:lnTo>
                  <a:lnTo>
                    <a:pt x="32639" y="302387"/>
                  </a:lnTo>
                  <a:close/>
                </a:path>
                <a:path w="317500" h="314325">
                  <a:moveTo>
                    <a:pt x="9017" y="302387"/>
                  </a:moveTo>
                  <a:lnTo>
                    <a:pt x="2540" y="302387"/>
                  </a:lnTo>
                  <a:lnTo>
                    <a:pt x="0" y="305053"/>
                  </a:lnTo>
                  <a:lnTo>
                    <a:pt x="0" y="311403"/>
                  </a:lnTo>
                  <a:lnTo>
                    <a:pt x="2540" y="313943"/>
                  </a:lnTo>
                  <a:lnTo>
                    <a:pt x="9017" y="313943"/>
                  </a:lnTo>
                  <a:lnTo>
                    <a:pt x="11556" y="311403"/>
                  </a:lnTo>
                  <a:lnTo>
                    <a:pt x="11556" y="305053"/>
                  </a:lnTo>
                  <a:lnTo>
                    <a:pt x="9017" y="302387"/>
                  </a:lnTo>
                  <a:close/>
                </a:path>
                <a:path w="317500" h="314325">
                  <a:moveTo>
                    <a:pt x="314071" y="278891"/>
                  </a:moveTo>
                  <a:lnTo>
                    <a:pt x="307594" y="278891"/>
                  </a:lnTo>
                  <a:lnTo>
                    <a:pt x="305053" y="281813"/>
                  </a:lnTo>
                  <a:lnTo>
                    <a:pt x="305053" y="288036"/>
                  </a:lnTo>
                  <a:lnTo>
                    <a:pt x="307594" y="290449"/>
                  </a:lnTo>
                  <a:lnTo>
                    <a:pt x="314071" y="290449"/>
                  </a:lnTo>
                  <a:lnTo>
                    <a:pt x="316992" y="288036"/>
                  </a:lnTo>
                  <a:lnTo>
                    <a:pt x="316992" y="281813"/>
                  </a:lnTo>
                  <a:lnTo>
                    <a:pt x="314071" y="278891"/>
                  </a:lnTo>
                  <a:close/>
                </a:path>
                <a:path w="317500" h="314325">
                  <a:moveTo>
                    <a:pt x="290956" y="278891"/>
                  </a:moveTo>
                  <a:lnTo>
                    <a:pt x="284606" y="278891"/>
                  </a:lnTo>
                  <a:lnTo>
                    <a:pt x="281940" y="281559"/>
                  </a:lnTo>
                  <a:lnTo>
                    <a:pt x="281940" y="287909"/>
                  </a:lnTo>
                  <a:lnTo>
                    <a:pt x="284606" y="290449"/>
                  </a:lnTo>
                  <a:lnTo>
                    <a:pt x="290956" y="290449"/>
                  </a:lnTo>
                  <a:lnTo>
                    <a:pt x="293497" y="287909"/>
                  </a:lnTo>
                  <a:lnTo>
                    <a:pt x="293497" y="281559"/>
                  </a:lnTo>
                  <a:lnTo>
                    <a:pt x="290956" y="278891"/>
                  </a:lnTo>
                  <a:close/>
                </a:path>
                <a:path w="317500" h="314325">
                  <a:moveTo>
                    <a:pt x="267462" y="278891"/>
                  </a:moveTo>
                  <a:lnTo>
                    <a:pt x="261112" y="278891"/>
                  </a:lnTo>
                  <a:lnTo>
                    <a:pt x="258445" y="281559"/>
                  </a:lnTo>
                  <a:lnTo>
                    <a:pt x="258445" y="287909"/>
                  </a:lnTo>
                  <a:lnTo>
                    <a:pt x="261112" y="290449"/>
                  </a:lnTo>
                  <a:lnTo>
                    <a:pt x="267462" y="290449"/>
                  </a:lnTo>
                  <a:lnTo>
                    <a:pt x="270128" y="287909"/>
                  </a:lnTo>
                  <a:lnTo>
                    <a:pt x="270128" y="281559"/>
                  </a:lnTo>
                  <a:lnTo>
                    <a:pt x="267462" y="278891"/>
                  </a:lnTo>
                  <a:close/>
                </a:path>
                <a:path w="317500" h="314325">
                  <a:moveTo>
                    <a:pt x="243840" y="278891"/>
                  </a:moveTo>
                  <a:lnTo>
                    <a:pt x="237236" y="278891"/>
                  </a:lnTo>
                  <a:lnTo>
                    <a:pt x="234569" y="281559"/>
                  </a:lnTo>
                  <a:lnTo>
                    <a:pt x="234569" y="287909"/>
                  </a:lnTo>
                  <a:lnTo>
                    <a:pt x="237236" y="290449"/>
                  </a:lnTo>
                  <a:lnTo>
                    <a:pt x="243840" y="290449"/>
                  </a:lnTo>
                  <a:lnTo>
                    <a:pt x="246506" y="287909"/>
                  </a:lnTo>
                  <a:lnTo>
                    <a:pt x="246506" y="281559"/>
                  </a:lnTo>
                  <a:lnTo>
                    <a:pt x="243840" y="278891"/>
                  </a:lnTo>
                  <a:close/>
                </a:path>
                <a:path w="317500" h="314325">
                  <a:moveTo>
                    <a:pt x="220345" y="278891"/>
                  </a:moveTo>
                  <a:lnTo>
                    <a:pt x="213614" y="278891"/>
                  </a:lnTo>
                  <a:lnTo>
                    <a:pt x="210947" y="281559"/>
                  </a:lnTo>
                  <a:lnTo>
                    <a:pt x="210947" y="287909"/>
                  </a:lnTo>
                  <a:lnTo>
                    <a:pt x="213614" y="290449"/>
                  </a:lnTo>
                  <a:lnTo>
                    <a:pt x="220345" y="290449"/>
                  </a:lnTo>
                  <a:lnTo>
                    <a:pt x="223012" y="287909"/>
                  </a:lnTo>
                  <a:lnTo>
                    <a:pt x="223012" y="281559"/>
                  </a:lnTo>
                  <a:lnTo>
                    <a:pt x="220345" y="278891"/>
                  </a:lnTo>
                  <a:close/>
                </a:path>
                <a:path w="317500" h="314325">
                  <a:moveTo>
                    <a:pt x="196850" y="278891"/>
                  </a:moveTo>
                  <a:lnTo>
                    <a:pt x="190373" y="278891"/>
                  </a:lnTo>
                  <a:lnTo>
                    <a:pt x="187833" y="281559"/>
                  </a:lnTo>
                  <a:lnTo>
                    <a:pt x="187833" y="287909"/>
                  </a:lnTo>
                  <a:lnTo>
                    <a:pt x="190373" y="290449"/>
                  </a:lnTo>
                  <a:lnTo>
                    <a:pt x="196850" y="290449"/>
                  </a:lnTo>
                  <a:lnTo>
                    <a:pt x="199390" y="287909"/>
                  </a:lnTo>
                  <a:lnTo>
                    <a:pt x="199390" y="281559"/>
                  </a:lnTo>
                  <a:lnTo>
                    <a:pt x="196850" y="278891"/>
                  </a:lnTo>
                  <a:close/>
                </a:path>
                <a:path w="317500" h="314325">
                  <a:moveTo>
                    <a:pt x="173354" y="278891"/>
                  </a:moveTo>
                  <a:lnTo>
                    <a:pt x="167004" y="278891"/>
                  </a:lnTo>
                  <a:lnTo>
                    <a:pt x="164338" y="281559"/>
                  </a:lnTo>
                  <a:lnTo>
                    <a:pt x="164338" y="287909"/>
                  </a:lnTo>
                  <a:lnTo>
                    <a:pt x="167004" y="290449"/>
                  </a:lnTo>
                  <a:lnTo>
                    <a:pt x="173354" y="290449"/>
                  </a:lnTo>
                  <a:lnTo>
                    <a:pt x="175895" y="287909"/>
                  </a:lnTo>
                  <a:lnTo>
                    <a:pt x="175895" y="281559"/>
                  </a:lnTo>
                  <a:lnTo>
                    <a:pt x="173354" y="278891"/>
                  </a:lnTo>
                  <a:close/>
                </a:path>
                <a:path w="317500" h="314325">
                  <a:moveTo>
                    <a:pt x="150114" y="278891"/>
                  </a:moveTo>
                  <a:lnTo>
                    <a:pt x="143383" y="278891"/>
                  </a:lnTo>
                  <a:lnTo>
                    <a:pt x="140716" y="281559"/>
                  </a:lnTo>
                  <a:lnTo>
                    <a:pt x="140716" y="287909"/>
                  </a:lnTo>
                  <a:lnTo>
                    <a:pt x="143383" y="290449"/>
                  </a:lnTo>
                  <a:lnTo>
                    <a:pt x="150114" y="290449"/>
                  </a:lnTo>
                  <a:lnTo>
                    <a:pt x="152780" y="287909"/>
                  </a:lnTo>
                  <a:lnTo>
                    <a:pt x="152780" y="281559"/>
                  </a:lnTo>
                  <a:lnTo>
                    <a:pt x="150114" y="278891"/>
                  </a:lnTo>
                  <a:close/>
                </a:path>
                <a:path w="317500" h="314325">
                  <a:moveTo>
                    <a:pt x="126619" y="278891"/>
                  </a:moveTo>
                  <a:lnTo>
                    <a:pt x="120015" y="278891"/>
                  </a:lnTo>
                  <a:lnTo>
                    <a:pt x="117348" y="281559"/>
                  </a:lnTo>
                  <a:lnTo>
                    <a:pt x="117348" y="287909"/>
                  </a:lnTo>
                  <a:lnTo>
                    <a:pt x="120015" y="290449"/>
                  </a:lnTo>
                  <a:lnTo>
                    <a:pt x="126619" y="290449"/>
                  </a:lnTo>
                  <a:lnTo>
                    <a:pt x="129286" y="287909"/>
                  </a:lnTo>
                  <a:lnTo>
                    <a:pt x="129286" y="281559"/>
                  </a:lnTo>
                  <a:lnTo>
                    <a:pt x="126619" y="278891"/>
                  </a:lnTo>
                  <a:close/>
                </a:path>
                <a:path w="317500" h="314325">
                  <a:moveTo>
                    <a:pt x="103124" y="278891"/>
                  </a:moveTo>
                  <a:lnTo>
                    <a:pt x="96774" y="278891"/>
                  </a:lnTo>
                  <a:lnTo>
                    <a:pt x="94106" y="281559"/>
                  </a:lnTo>
                  <a:lnTo>
                    <a:pt x="94106" y="287909"/>
                  </a:lnTo>
                  <a:lnTo>
                    <a:pt x="96774" y="290449"/>
                  </a:lnTo>
                  <a:lnTo>
                    <a:pt x="103124" y="290449"/>
                  </a:lnTo>
                  <a:lnTo>
                    <a:pt x="105664" y="287909"/>
                  </a:lnTo>
                  <a:lnTo>
                    <a:pt x="105664" y="281559"/>
                  </a:lnTo>
                  <a:lnTo>
                    <a:pt x="103124" y="278891"/>
                  </a:lnTo>
                  <a:close/>
                </a:path>
                <a:path w="317500" h="314325">
                  <a:moveTo>
                    <a:pt x="79628" y="278891"/>
                  </a:moveTo>
                  <a:lnTo>
                    <a:pt x="73278" y="278891"/>
                  </a:lnTo>
                  <a:lnTo>
                    <a:pt x="70739" y="281559"/>
                  </a:lnTo>
                  <a:lnTo>
                    <a:pt x="70739" y="287909"/>
                  </a:lnTo>
                  <a:lnTo>
                    <a:pt x="73278" y="290449"/>
                  </a:lnTo>
                  <a:lnTo>
                    <a:pt x="79628" y="290449"/>
                  </a:lnTo>
                  <a:lnTo>
                    <a:pt x="82296" y="287909"/>
                  </a:lnTo>
                  <a:lnTo>
                    <a:pt x="82296" y="281559"/>
                  </a:lnTo>
                  <a:lnTo>
                    <a:pt x="79628" y="278891"/>
                  </a:lnTo>
                  <a:close/>
                </a:path>
                <a:path w="317500" h="314325">
                  <a:moveTo>
                    <a:pt x="56006" y="278891"/>
                  </a:moveTo>
                  <a:lnTo>
                    <a:pt x="49656" y="278891"/>
                  </a:lnTo>
                  <a:lnTo>
                    <a:pt x="47117" y="281559"/>
                  </a:lnTo>
                  <a:lnTo>
                    <a:pt x="47117" y="287909"/>
                  </a:lnTo>
                  <a:lnTo>
                    <a:pt x="49656" y="290449"/>
                  </a:lnTo>
                  <a:lnTo>
                    <a:pt x="56006" y="290449"/>
                  </a:lnTo>
                  <a:lnTo>
                    <a:pt x="58674" y="287909"/>
                  </a:lnTo>
                  <a:lnTo>
                    <a:pt x="58674" y="281559"/>
                  </a:lnTo>
                  <a:lnTo>
                    <a:pt x="56006" y="278891"/>
                  </a:lnTo>
                  <a:close/>
                </a:path>
                <a:path w="317500" h="314325">
                  <a:moveTo>
                    <a:pt x="32639" y="278891"/>
                  </a:moveTo>
                  <a:lnTo>
                    <a:pt x="26162" y="278891"/>
                  </a:lnTo>
                  <a:lnTo>
                    <a:pt x="23622" y="281559"/>
                  </a:lnTo>
                  <a:lnTo>
                    <a:pt x="23622" y="287909"/>
                  </a:lnTo>
                  <a:lnTo>
                    <a:pt x="26162" y="290449"/>
                  </a:lnTo>
                  <a:lnTo>
                    <a:pt x="32639" y="290449"/>
                  </a:lnTo>
                  <a:lnTo>
                    <a:pt x="35178" y="287909"/>
                  </a:lnTo>
                  <a:lnTo>
                    <a:pt x="35178" y="281559"/>
                  </a:lnTo>
                  <a:lnTo>
                    <a:pt x="32639" y="278891"/>
                  </a:lnTo>
                  <a:close/>
                </a:path>
                <a:path w="317500" h="314325">
                  <a:moveTo>
                    <a:pt x="9017" y="278891"/>
                  </a:moveTo>
                  <a:lnTo>
                    <a:pt x="2540" y="278891"/>
                  </a:lnTo>
                  <a:lnTo>
                    <a:pt x="0" y="281559"/>
                  </a:lnTo>
                  <a:lnTo>
                    <a:pt x="0" y="287909"/>
                  </a:lnTo>
                  <a:lnTo>
                    <a:pt x="2540" y="290449"/>
                  </a:lnTo>
                  <a:lnTo>
                    <a:pt x="9017" y="290449"/>
                  </a:lnTo>
                  <a:lnTo>
                    <a:pt x="11556" y="287909"/>
                  </a:lnTo>
                  <a:lnTo>
                    <a:pt x="11556" y="281559"/>
                  </a:lnTo>
                  <a:lnTo>
                    <a:pt x="9017" y="278891"/>
                  </a:lnTo>
                  <a:close/>
                </a:path>
                <a:path w="317500" h="314325">
                  <a:moveTo>
                    <a:pt x="314071" y="255650"/>
                  </a:moveTo>
                  <a:lnTo>
                    <a:pt x="307594" y="255650"/>
                  </a:lnTo>
                  <a:lnTo>
                    <a:pt x="305053" y="258445"/>
                  </a:lnTo>
                  <a:lnTo>
                    <a:pt x="305053" y="264540"/>
                  </a:lnTo>
                  <a:lnTo>
                    <a:pt x="307594" y="267462"/>
                  </a:lnTo>
                  <a:lnTo>
                    <a:pt x="314071" y="267462"/>
                  </a:lnTo>
                  <a:lnTo>
                    <a:pt x="316992" y="264540"/>
                  </a:lnTo>
                  <a:lnTo>
                    <a:pt x="316992" y="258445"/>
                  </a:lnTo>
                  <a:lnTo>
                    <a:pt x="314071" y="255650"/>
                  </a:lnTo>
                  <a:close/>
                </a:path>
                <a:path w="317500" h="314325">
                  <a:moveTo>
                    <a:pt x="290956" y="255650"/>
                  </a:moveTo>
                  <a:lnTo>
                    <a:pt x="284606" y="255650"/>
                  </a:lnTo>
                  <a:lnTo>
                    <a:pt x="281940" y="258190"/>
                  </a:lnTo>
                  <a:lnTo>
                    <a:pt x="281940" y="264795"/>
                  </a:lnTo>
                  <a:lnTo>
                    <a:pt x="284606" y="267462"/>
                  </a:lnTo>
                  <a:lnTo>
                    <a:pt x="290956" y="267462"/>
                  </a:lnTo>
                  <a:lnTo>
                    <a:pt x="293497" y="264795"/>
                  </a:lnTo>
                  <a:lnTo>
                    <a:pt x="293497" y="258190"/>
                  </a:lnTo>
                  <a:lnTo>
                    <a:pt x="290956" y="255650"/>
                  </a:lnTo>
                  <a:close/>
                </a:path>
                <a:path w="317500" h="314325">
                  <a:moveTo>
                    <a:pt x="32639" y="255650"/>
                  </a:moveTo>
                  <a:lnTo>
                    <a:pt x="26162" y="255650"/>
                  </a:lnTo>
                  <a:lnTo>
                    <a:pt x="23622" y="258190"/>
                  </a:lnTo>
                  <a:lnTo>
                    <a:pt x="23622" y="264795"/>
                  </a:lnTo>
                  <a:lnTo>
                    <a:pt x="26162" y="267462"/>
                  </a:lnTo>
                  <a:lnTo>
                    <a:pt x="32639" y="267462"/>
                  </a:lnTo>
                  <a:lnTo>
                    <a:pt x="35178" y="264795"/>
                  </a:lnTo>
                  <a:lnTo>
                    <a:pt x="35178" y="258190"/>
                  </a:lnTo>
                  <a:lnTo>
                    <a:pt x="32639" y="255650"/>
                  </a:lnTo>
                  <a:close/>
                </a:path>
                <a:path w="317500" h="314325">
                  <a:moveTo>
                    <a:pt x="9017" y="255650"/>
                  </a:moveTo>
                  <a:lnTo>
                    <a:pt x="2540" y="255650"/>
                  </a:lnTo>
                  <a:lnTo>
                    <a:pt x="0" y="258190"/>
                  </a:lnTo>
                  <a:lnTo>
                    <a:pt x="0" y="264795"/>
                  </a:lnTo>
                  <a:lnTo>
                    <a:pt x="2540" y="267462"/>
                  </a:lnTo>
                  <a:lnTo>
                    <a:pt x="9017" y="267462"/>
                  </a:lnTo>
                  <a:lnTo>
                    <a:pt x="11556" y="264795"/>
                  </a:lnTo>
                  <a:lnTo>
                    <a:pt x="11556" y="258190"/>
                  </a:lnTo>
                  <a:lnTo>
                    <a:pt x="9017" y="255650"/>
                  </a:lnTo>
                  <a:close/>
                </a:path>
                <a:path w="317500" h="314325">
                  <a:moveTo>
                    <a:pt x="314071" y="232537"/>
                  </a:moveTo>
                  <a:lnTo>
                    <a:pt x="307594" y="232537"/>
                  </a:lnTo>
                  <a:lnTo>
                    <a:pt x="305053" y="235076"/>
                  </a:lnTo>
                  <a:lnTo>
                    <a:pt x="305053" y="241680"/>
                  </a:lnTo>
                  <a:lnTo>
                    <a:pt x="307594" y="244093"/>
                  </a:lnTo>
                  <a:lnTo>
                    <a:pt x="314071" y="244093"/>
                  </a:lnTo>
                  <a:lnTo>
                    <a:pt x="316992" y="241680"/>
                  </a:lnTo>
                  <a:lnTo>
                    <a:pt x="316992" y="235076"/>
                  </a:lnTo>
                  <a:lnTo>
                    <a:pt x="314071" y="232537"/>
                  </a:lnTo>
                  <a:close/>
                </a:path>
                <a:path w="317500" h="314325">
                  <a:moveTo>
                    <a:pt x="290956" y="232537"/>
                  </a:moveTo>
                  <a:lnTo>
                    <a:pt x="284606" y="232537"/>
                  </a:lnTo>
                  <a:lnTo>
                    <a:pt x="281940" y="235203"/>
                  </a:lnTo>
                  <a:lnTo>
                    <a:pt x="281940" y="241553"/>
                  </a:lnTo>
                  <a:lnTo>
                    <a:pt x="284606" y="244093"/>
                  </a:lnTo>
                  <a:lnTo>
                    <a:pt x="290956" y="244093"/>
                  </a:lnTo>
                  <a:lnTo>
                    <a:pt x="293497" y="241553"/>
                  </a:lnTo>
                  <a:lnTo>
                    <a:pt x="293497" y="235203"/>
                  </a:lnTo>
                  <a:lnTo>
                    <a:pt x="290956" y="232537"/>
                  </a:lnTo>
                  <a:close/>
                </a:path>
                <a:path w="317500" h="314325">
                  <a:moveTo>
                    <a:pt x="32639" y="232537"/>
                  </a:moveTo>
                  <a:lnTo>
                    <a:pt x="26162" y="232537"/>
                  </a:lnTo>
                  <a:lnTo>
                    <a:pt x="23622" y="235203"/>
                  </a:lnTo>
                  <a:lnTo>
                    <a:pt x="23622" y="241553"/>
                  </a:lnTo>
                  <a:lnTo>
                    <a:pt x="26162" y="244093"/>
                  </a:lnTo>
                  <a:lnTo>
                    <a:pt x="32639" y="244093"/>
                  </a:lnTo>
                  <a:lnTo>
                    <a:pt x="35178" y="241553"/>
                  </a:lnTo>
                  <a:lnTo>
                    <a:pt x="35178" y="235203"/>
                  </a:lnTo>
                  <a:lnTo>
                    <a:pt x="32639" y="232537"/>
                  </a:lnTo>
                  <a:close/>
                </a:path>
                <a:path w="317500" h="314325">
                  <a:moveTo>
                    <a:pt x="9017" y="232537"/>
                  </a:moveTo>
                  <a:lnTo>
                    <a:pt x="2540" y="232537"/>
                  </a:lnTo>
                  <a:lnTo>
                    <a:pt x="0" y="235203"/>
                  </a:lnTo>
                  <a:lnTo>
                    <a:pt x="0" y="241553"/>
                  </a:lnTo>
                  <a:lnTo>
                    <a:pt x="2540" y="244093"/>
                  </a:lnTo>
                  <a:lnTo>
                    <a:pt x="9017" y="244093"/>
                  </a:lnTo>
                  <a:lnTo>
                    <a:pt x="11556" y="241553"/>
                  </a:lnTo>
                  <a:lnTo>
                    <a:pt x="11556" y="235203"/>
                  </a:lnTo>
                  <a:lnTo>
                    <a:pt x="9017" y="232537"/>
                  </a:lnTo>
                  <a:close/>
                </a:path>
                <a:path w="317500" h="314325">
                  <a:moveTo>
                    <a:pt x="314071" y="209041"/>
                  </a:moveTo>
                  <a:lnTo>
                    <a:pt x="307594" y="209041"/>
                  </a:lnTo>
                  <a:lnTo>
                    <a:pt x="305053" y="211582"/>
                  </a:lnTo>
                  <a:lnTo>
                    <a:pt x="305053" y="218186"/>
                  </a:lnTo>
                  <a:lnTo>
                    <a:pt x="307594" y="220599"/>
                  </a:lnTo>
                  <a:lnTo>
                    <a:pt x="314071" y="220599"/>
                  </a:lnTo>
                  <a:lnTo>
                    <a:pt x="316992" y="218186"/>
                  </a:lnTo>
                  <a:lnTo>
                    <a:pt x="316992" y="211582"/>
                  </a:lnTo>
                  <a:lnTo>
                    <a:pt x="314071" y="209041"/>
                  </a:lnTo>
                  <a:close/>
                </a:path>
                <a:path w="317500" h="314325">
                  <a:moveTo>
                    <a:pt x="290956" y="209041"/>
                  </a:moveTo>
                  <a:lnTo>
                    <a:pt x="284606" y="209041"/>
                  </a:lnTo>
                  <a:lnTo>
                    <a:pt x="281940" y="211709"/>
                  </a:lnTo>
                  <a:lnTo>
                    <a:pt x="281940" y="218059"/>
                  </a:lnTo>
                  <a:lnTo>
                    <a:pt x="284606" y="220599"/>
                  </a:lnTo>
                  <a:lnTo>
                    <a:pt x="290956" y="220599"/>
                  </a:lnTo>
                  <a:lnTo>
                    <a:pt x="293497" y="218059"/>
                  </a:lnTo>
                  <a:lnTo>
                    <a:pt x="293497" y="211709"/>
                  </a:lnTo>
                  <a:lnTo>
                    <a:pt x="290956" y="209041"/>
                  </a:lnTo>
                  <a:close/>
                </a:path>
                <a:path w="317500" h="314325">
                  <a:moveTo>
                    <a:pt x="32639" y="209041"/>
                  </a:moveTo>
                  <a:lnTo>
                    <a:pt x="26162" y="209041"/>
                  </a:lnTo>
                  <a:lnTo>
                    <a:pt x="23622" y="211709"/>
                  </a:lnTo>
                  <a:lnTo>
                    <a:pt x="23622" y="218059"/>
                  </a:lnTo>
                  <a:lnTo>
                    <a:pt x="26162" y="220599"/>
                  </a:lnTo>
                  <a:lnTo>
                    <a:pt x="32639" y="220599"/>
                  </a:lnTo>
                  <a:lnTo>
                    <a:pt x="35178" y="218059"/>
                  </a:lnTo>
                  <a:lnTo>
                    <a:pt x="35178" y="211709"/>
                  </a:lnTo>
                  <a:lnTo>
                    <a:pt x="32639" y="209041"/>
                  </a:lnTo>
                  <a:close/>
                </a:path>
                <a:path w="317500" h="314325">
                  <a:moveTo>
                    <a:pt x="9017" y="209041"/>
                  </a:moveTo>
                  <a:lnTo>
                    <a:pt x="2540" y="209041"/>
                  </a:lnTo>
                  <a:lnTo>
                    <a:pt x="0" y="211709"/>
                  </a:lnTo>
                  <a:lnTo>
                    <a:pt x="0" y="218059"/>
                  </a:lnTo>
                  <a:lnTo>
                    <a:pt x="2540" y="220599"/>
                  </a:lnTo>
                  <a:lnTo>
                    <a:pt x="9017" y="220599"/>
                  </a:lnTo>
                  <a:lnTo>
                    <a:pt x="11556" y="218059"/>
                  </a:lnTo>
                  <a:lnTo>
                    <a:pt x="11556" y="211709"/>
                  </a:lnTo>
                  <a:lnTo>
                    <a:pt x="9017" y="209041"/>
                  </a:lnTo>
                  <a:close/>
                </a:path>
                <a:path w="317500" h="314325">
                  <a:moveTo>
                    <a:pt x="314071" y="185800"/>
                  </a:moveTo>
                  <a:lnTo>
                    <a:pt x="307594" y="185800"/>
                  </a:lnTo>
                  <a:lnTo>
                    <a:pt x="305053" y="188595"/>
                  </a:lnTo>
                  <a:lnTo>
                    <a:pt x="305053" y="195072"/>
                  </a:lnTo>
                  <a:lnTo>
                    <a:pt x="307594" y="197612"/>
                  </a:lnTo>
                  <a:lnTo>
                    <a:pt x="314071" y="197612"/>
                  </a:lnTo>
                  <a:lnTo>
                    <a:pt x="316992" y="195072"/>
                  </a:lnTo>
                  <a:lnTo>
                    <a:pt x="316992" y="188595"/>
                  </a:lnTo>
                  <a:lnTo>
                    <a:pt x="314071" y="185800"/>
                  </a:lnTo>
                  <a:close/>
                </a:path>
                <a:path w="317500" h="314325">
                  <a:moveTo>
                    <a:pt x="290702" y="185800"/>
                  </a:moveTo>
                  <a:lnTo>
                    <a:pt x="284479" y="185800"/>
                  </a:lnTo>
                  <a:lnTo>
                    <a:pt x="281940" y="188595"/>
                  </a:lnTo>
                  <a:lnTo>
                    <a:pt x="281940" y="195072"/>
                  </a:lnTo>
                  <a:lnTo>
                    <a:pt x="284479" y="197612"/>
                  </a:lnTo>
                  <a:lnTo>
                    <a:pt x="290702" y="197612"/>
                  </a:lnTo>
                  <a:lnTo>
                    <a:pt x="293497" y="195072"/>
                  </a:lnTo>
                  <a:lnTo>
                    <a:pt x="293497" y="188595"/>
                  </a:lnTo>
                  <a:lnTo>
                    <a:pt x="290702" y="185800"/>
                  </a:lnTo>
                  <a:close/>
                </a:path>
                <a:path w="317500" h="314325">
                  <a:moveTo>
                    <a:pt x="32766" y="185800"/>
                  </a:moveTo>
                  <a:lnTo>
                    <a:pt x="26543" y="185800"/>
                  </a:lnTo>
                  <a:lnTo>
                    <a:pt x="23622" y="188595"/>
                  </a:lnTo>
                  <a:lnTo>
                    <a:pt x="23622" y="195072"/>
                  </a:lnTo>
                  <a:lnTo>
                    <a:pt x="26543" y="197612"/>
                  </a:lnTo>
                  <a:lnTo>
                    <a:pt x="32766" y="197612"/>
                  </a:lnTo>
                  <a:lnTo>
                    <a:pt x="35178" y="195072"/>
                  </a:lnTo>
                  <a:lnTo>
                    <a:pt x="35178" y="188595"/>
                  </a:lnTo>
                  <a:lnTo>
                    <a:pt x="32766" y="185800"/>
                  </a:lnTo>
                  <a:close/>
                </a:path>
                <a:path w="317500" h="314325">
                  <a:moveTo>
                    <a:pt x="9144" y="185800"/>
                  </a:moveTo>
                  <a:lnTo>
                    <a:pt x="2921" y="185800"/>
                  </a:lnTo>
                  <a:lnTo>
                    <a:pt x="0" y="188595"/>
                  </a:lnTo>
                  <a:lnTo>
                    <a:pt x="0" y="195072"/>
                  </a:lnTo>
                  <a:lnTo>
                    <a:pt x="2921" y="197612"/>
                  </a:lnTo>
                  <a:lnTo>
                    <a:pt x="9144" y="197612"/>
                  </a:lnTo>
                  <a:lnTo>
                    <a:pt x="11556" y="195072"/>
                  </a:lnTo>
                  <a:lnTo>
                    <a:pt x="11556" y="188595"/>
                  </a:lnTo>
                  <a:lnTo>
                    <a:pt x="9144" y="185800"/>
                  </a:lnTo>
                  <a:close/>
                </a:path>
                <a:path w="317500" h="314325">
                  <a:moveTo>
                    <a:pt x="314071" y="162687"/>
                  </a:moveTo>
                  <a:lnTo>
                    <a:pt x="307594" y="162687"/>
                  </a:lnTo>
                  <a:lnTo>
                    <a:pt x="305053" y="165608"/>
                  </a:lnTo>
                  <a:lnTo>
                    <a:pt x="305053" y="171830"/>
                  </a:lnTo>
                  <a:lnTo>
                    <a:pt x="307594" y="174243"/>
                  </a:lnTo>
                  <a:lnTo>
                    <a:pt x="314071" y="174243"/>
                  </a:lnTo>
                  <a:lnTo>
                    <a:pt x="316992" y="171830"/>
                  </a:lnTo>
                  <a:lnTo>
                    <a:pt x="316992" y="165608"/>
                  </a:lnTo>
                  <a:lnTo>
                    <a:pt x="314071" y="162687"/>
                  </a:lnTo>
                  <a:close/>
                </a:path>
                <a:path w="317500" h="314325">
                  <a:moveTo>
                    <a:pt x="290956" y="162687"/>
                  </a:moveTo>
                  <a:lnTo>
                    <a:pt x="284606" y="162687"/>
                  </a:lnTo>
                  <a:lnTo>
                    <a:pt x="281940" y="165353"/>
                  </a:lnTo>
                  <a:lnTo>
                    <a:pt x="281940" y="171703"/>
                  </a:lnTo>
                  <a:lnTo>
                    <a:pt x="284606" y="174243"/>
                  </a:lnTo>
                  <a:lnTo>
                    <a:pt x="290956" y="174243"/>
                  </a:lnTo>
                  <a:lnTo>
                    <a:pt x="293497" y="171703"/>
                  </a:lnTo>
                  <a:lnTo>
                    <a:pt x="293497" y="165353"/>
                  </a:lnTo>
                  <a:lnTo>
                    <a:pt x="290956" y="162687"/>
                  </a:lnTo>
                  <a:close/>
                </a:path>
                <a:path w="317500" h="314325">
                  <a:moveTo>
                    <a:pt x="32639" y="162687"/>
                  </a:moveTo>
                  <a:lnTo>
                    <a:pt x="26162" y="162687"/>
                  </a:lnTo>
                  <a:lnTo>
                    <a:pt x="23622" y="165353"/>
                  </a:lnTo>
                  <a:lnTo>
                    <a:pt x="23622" y="171703"/>
                  </a:lnTo>
                  <a:lnTo>
                    <a:pt x="26162" y="174243"/>
                  </a:lnTo>
                  <a:lnTo>
                    <a:pt x="32639" y="174243"/>
                  </a:lnTo>
                  <a:lnTo>
                    <a:pt x="35178" y="171703"/>
                  </a:lnTo>
                  <a:lnTo>
                    <a:pt x="35178" y="165353"/>
                  </a:lnTo>
                  <a:lnTo>
                    <a:pt x="32639" y="162687"/>
                  </a:lnTo>
                  <a:close/>
                </a:path>
                <a:path w="317500" h="314325">
                  <a:moveTo>
                    <a:pt x="9017" y="162687"/>
                  </a:moveTo>
                  <a:lnTo>
                    <a:pt x="2540" y="162687"/>
                  </a:lnTo>
                  <a:lnTo>
                    <a:pt x="0" y="165353"/>
                  </a:lnTo>
                  <a:lnTo>
                    <a:pt x="0" y="171703"/>
                  </a:lnTo>
                  <a:lnTo>
                    <a:pt x="2540" y="174243"/>
                  </a:lnTo>
                  <a:lnTo>
                    <a:pt x="9017" y="174243"/>
                  </a:lnTo>
                  <a:lnTo>
                    <a:pt x="11556" y="171703"/>
                  </a:lnTo>
                  <a:lnTo>
                    <a:pt x="11556" y="165353"/>
                  </a:lnTo>
                  <a:lnTo>
                    <a:pt x="9017" y="162687"/>
                  </a:lnTo>
                  <a:close/>
                </a:path>
                <a:path w="317500" h="314325">
                  <a:moveTo>
                    <a:pt x="314071" y="139700"/>
                  </a:moveTo>
                  <a:lnTo>
                    <a:pt x="307594" y="139700"/>
                  </a:lnTo>
                  <a:lnTo>
                    <a:pt x="305053" y="142112"/>
                  </a:lnTo>
                  <a:lnTo>
                    <a:pt x="305053" y="148336"/>
                  </a:lnTo>
                  <a:lnTo>
                    <a:pt x="307594" y="151257"/>
                  </a:lnTo>
                  <a:lnTo>
                    <a:pt x="314071" y="151257"/>
                  </a:lnTo>
                  <a:lnTo>
                    <a:pt x="316992" y="148336"/>
                  </a:lnTo>
                  <a:lnTo>
                    <a:pt x="316992" y="142112"/>
                  </a:lnTo>
                  <a:lnTo>
                    <a:pt x="314071" y="139700"/>
                  </a:lnTo>
                  <a:close/>
                </a:path>
                <a:path w="317500" h="314325">
                  <a:moveTo>
                    <a:pt x="290956" y="139700"/>
                  </a:moveTo>
                  <a:lnTo>
                    <a:pt x="284606" y="139700"/>
                  </a:lnTo>
                  <a:lnTo>
                    <a:pt x="281940" y="142239"/>
                  </a:lnTo>
                  <a:lnTo>
                    <a:pt x="281940" y="148589"/>
                  </a:lnTo>
                  <a:lnTo>
                    <a:pt x="284606" y="151257"/>
                  </a:lnTo>
                  <a:lnTo>
                    <a:pt x="290956" y="151257"/>
                  </a:lnTo>
                  <a:lnTo>
                    <a:pt x="293497" y="148589"/>
                  </a:lnTo>
                  <a:lnTo>
                    <a:pt x="293497" y="142239"/>
                  </a:lnTo>
                  <a:lnTo>
                    <a:pt x="290956" y="139700"/>
                  </a:lnTo>
                  <a:close/>
                </a:path>
                <a:path w="317500" h="314325">
                  <a:moveTo>
                    <a:pt x="32639" y="139700"/>
                  </a:moveTo>
                  <a:lnTo>
                    <a:pt x="26162" y="139700"/>
                  </a:lnTo>
                  <a:lnTo>
                    <a:pt x="23622" y="142239"/>
                  </a:lnTo>
                  <a:lnTo>
                    <a:pt x="23622" y="148589"/>
                  </a:lnTo>
                  <a:lnTo>
                    <a:pt x="26162" y="151257"/>
                  </a:lnTo>
                  <a:lnTo>
                    <a:pt x="32639" y="151257"/>
                  </a:lnTo>
                  <a:lnTo>
                    <a:pt x="35178" y="148589"/>
                  </a:lnTo>
                  <a:lnTo>
                    <a:pt x="35178" y="142239"/>
                  </a:lnTo>
                  <a:lnTo>
                    <a:pt x="32639" y="139700"/>
                  </a:lnTo>
                  <a:close/>
                </a:path>
                <a:path w="317500" h="314325">
                  <a:moveTo>
                    <a:pt x="9017" y="139700"/>
                  </a:moveTo>
                  <a:lnTo>
                    <a:pt x="2540" y="139700"/>
                  </a:lnTo>
                  <a:lnTo>
                    <a:pt x="0" y="142239"/>
                  </a:lnTo>
                  <a:lnTo>
                    <a:pt x="0" y="148589"/>
                  </a:lnTo>
                  <a:lnTo>
                    <a:pt x="2540" y="151257"/>
                  </a:lnTo>
                  <a:lnTo>
                    <a:pt x="9017" y="151257"/>
                  </a:lnTo>
                  <a:lnTo>
                    <a:pt x="11556" y="148589"/>
                  </a:lnTo>
                  <a:lnTo>
                    <a:pt x="11556" y="142239"/>
                  </a:lnTo>
                  <a:lnTo>
                    <a:pt x="9017" y="139700"/>
                  </a:lnTo>
                  <a:close/>
                </a:path>
                <a:path w="317500" h="314325">
                  <a:moveTo>
                    <a:pt x="314071" y="116204"/>
                  </a:moveTo>
                  <a:lnTo>
                    <a:pt x="307594" y="116204"/>
                  </a:lnTo>
                  <a:lnTo>
                    <a:pt x="305053" y="118617"/>
                  </a:lnTo>
                  <a:lnTo>
                    <a:pt x="305053" y="125222"/>
                  </a:lnTo>
                  <a:lnTo>
                    <a:pt x="307594" y="127762"/>
                  </a:lnTo>
                  <a:lnTo>
                    <a:pt x="314071" y="127762"/>
                  </a:lnTo>
                  <a:lnTo>
                    <a:pt x="316992" y="125222"/>
                  </a:lnTo>
                  <a:lnTo>
                    <a:pt x="316992" y="118617"/>
                  </a:lnTo>
                  <a:lnTo>
                    <a:pt x="314071" y="116204"/>
                  </a:lnTo>
                  <a:close/>
                </a:path>
                <a:path w="317500" h="314325">
                  <a:moveTo>
                    <a:pt x="290956" y="116204"/>
                  </a:moveTo>
                  <a:lnTo>
                    <a:pt x="284606" y="116204"/>
                  </a:lnTo>
                  <a:lnTo>
                    <a:pt x="281940" y="118745"/>
                  </a:lnTo>
                  <a:lnTo>
                    <a:pt x="281940" y="125095"/>
                  </a:lnTo>
                  <a:lnTo>
                    <a:pt x="284606" y="127762"/>
                  </a:lnTo>
                  <a:lnTo>
                    <a:pt x="290956" y="127762"/>
                  </a:lnTo>
                  <a:lnTo>
                    <a:pt x="293497" y="125095"/>
                  </a:lnTo>
                  <a:lnTo>
                    <a:pt x="293497" y="118745"/>
                  </a:lnTo>
                  <a:lnTo>
                    <a:pt x="290956" y="116204"/>
                  </a:lnTo>
                  <a:close/>
                </a:path>
                <a:path w="317500" h="314325">
                  <a:moveTo>
                    <a:pt x="32639" y="116204"/>
                  </a:moveTo>
                  <a:lnTo>
                    <a:pt x="26162" y="116204"/>
                  </a:lnTo>
                  <a:lnTo>
                    <a:pt x="23622" y="118745"/>
                  </a:lnTo>
                  <a:lnTo>
                    <a:pt x="23622" y="125095"/>
                  </a:lnTo>
                  <a:lnTo>
                    <a:pt x="26162" y="127762"/>
                  </a:lnTo>
                  <a:lnTo>
                    <a:pt x="32639" y="127762"/>
                  </a:lnTo>
                  <a:lnTo>
                    <a:pt x="35178" y="125095"/>
                  </a:lnTo>
                  <a:lnTo>
                    <a:pt x="35178" y="118745"/>
                  </a:lnTo>
                  <a:lnTo>
                    <a:pt x="32639" y="116204"/>
                  </a:lnTo>
                  <a:close/>
                </a:path>
                <a:path w="317500" h="314325">
                  <a:moveTo>
                    <a:pt x="9017" y="116204"/>
                  </a:moveTo>
                  <a:lnTo>
                    <a:pt x="2540" y="116204"/>
                  </a:lnTo>
                  <a:lnTo>
                    <a:pt x="0" y="118745"/>
                  </a:lnTo>
                  <a:lnTo>
                    <a:pt x="0" y="125095"/>
                  </a:lnTo>
                  <a:lnTo>
                    <a:pt x="2540" y="127762"/>
                  </a:lnTo>
                  <a:lnTo>
                    <a:pt x="9017" y="127762"/>
                  </a:lnTo>
                  <a:lnTo>
                    <a:pt x="11556" y="125095"/>
                  </a:lnTo>
                  <a:lnTo>
                    <a:pt x="11556" y="118745"/>
                  </a:lnTo>
                  <a:lnTo>
                    <a:pt x="9017" y="116204"/>
                  </a:lnTo>
                  <a:close/>
                </a:path>
                <a:path w="317500" h="314325">
                  <a:moveTo>
                    <a:pt x="314071" y="92837"/>
                  </a:moveTo>
                  <a:lnTo>
                    <a:pt x="307594" y="92837"/>
                  </a:lnTo>
                  <a:lnTo>
                    <a:pt x="305053" y="95376"/>
                  </a:lnTo>
                  <a:lnTo>
                    <a:pt x="305053" y="102235"/>
                  </a:lnTo>
                  <a:lnTo>
                    <a:pt x="307594" y="104648"/>
                  </a:lnTo>
                  <a:lnTo>
                    <a:pt x="314071" y="104648"/>
                  </a:lnTo>
                  <a:lnTo>
                    <a:pt x="316992" y="102235"/>
                  </a:lnTo>
                  <a:lnTo>
                    <a:pt x="316992" y="95376"/>
                  </a:lnTo>
                  <a:lnTo>
                    <a:pt x="314071" y="92837"/>
                  </a:lnTo>
                  <a:close/>
                </a:path>
                <a:path w="317500" h="314325">
                  <a:moveTo>
                    <a:pt x="290956" y="92837"/>
                  </a:moveTo>
                  <a:lnTo>
                    <a:pt x="284606" y="92837"/>
                  </a:lnTo>
                  <a:lnTo>
                    <a:pt x="281940" y="95503"/>
                  </a:lnTo>
                  <a:lnTo>
                    <a:pt x="281940" y="102108"/>
                  </a:lnTo>
                  <a:lnTo>
                    <a:pt x="284606" y="104648"/>
                  </a:lnTo>
                  <a:lnTo>
                    <a:pt x="290956" y="104648"/>
                  </a:lnTo>
                  <a:lnTo>
                    <a:pt x="293497" y="102108"/>
                  </a:lnTo>
                  <a:lnTo>
                    <a:pt x="293497" y="95503"/>
                  </a:lnTo>
                  <a:lnTo>
                    <a:pt x="290956" y="92837"/>
                  </a:lnTo>
                  <a:close/>
                </a:path>
                <a:path w="317500" h="314325">
                  <a:moveTo>
                    <a:pt x="32639" y="92837"/>
                  </a:moveTo>
                  <a:lnTo>
                    <a:pt x="26162" y="92837"/>
                  </a:lnTo>
                  <a:lnTo>
                    <a:pt x="23622" y="95503"/>
                  </a:lnTo>
                  <a:lnTo>
                    <a:pt x="23622" y="102108"/>
                  </a:lnTo>
                  <a:lnTo>
                    <a:pt x="26162" y="104648"/>
                  </a:lnTo>
                  <a:lnTo>
                    <a:pt x="32639" y="104648"/>
                  </a:lnTo>
                  <a:lnTo>
                    <a:pt x="35178" y="102108"/>
                  </a:lnTo>
                  <a:lnTo>
                    <a:pt x="35178" y="95503"/>
                  </a:lnTo>
                  <a:lnTo>
                    <a:pt x="32639" y="92837"/>
                  </a:lnTo>
                  <a:close/>
                </a:path>
                <a:path w="317500" h="314325">
                  <a:moveTo>
                    <a:pt x="9017" y="92837"/>
                  </a:moveTo>
                  <a:lnTo>
                    <a:pt x="2540" y="92837"/>
                  </a:lnTo>
                  <a:lnTo>
                    <a:pt x="0" y="95503"/>
                  </a:lnTo>
                  <a:lnTo>
                    <a:pt x="0" y="102108"/>
                  </a:lnTo>
                  <a:lnTo>
                    <a:pt x="2540" y="104648"/>
                  </a:lnTo>
                  <a:lnTo>
                    <a:pt x="9017" y="104648"/>
                  </a:lnTo>
                  <a:lnTo>
                    <a:pt x="11556" y="102108"/>
                  </a:lnTo>
                  <a:lnTo>
                    <a:pt x="11556" y="95503"/>
                  </a:lnTo>
                  <a:lnTo>
                    <a:pt x="9017" y="92837"/>
                  </a:lnTo>
                  <a:close/>
                </a:path>
                <a:path w="317500" h="314325">
                  <a:moveTo>
                    <a:pt x="314071" y="69850"/>
                  </a:moveTo>
                  <a:lnTo>
                    <a:pt x="307594" y="69850"/>
                  </a:lnTo>
                  <a:lnTo>
                    <a:pt x="305053" y="72262"/>
                  </a:lnTo>
                  <a:lnTo>
                    <a:pt x="305053" y="78866"/>
                  </a:lnTo>
                  <a:lnTo>
                    <a:pt x="307594" y="81407"/>
                  </a:lnTo>
                  <a:lnTo>
                    <a:pt x="314071" y="81407"/>
                  </a:lnTo>
                  <a:lnTo>
                    <a:pt x="316992" y="78866"/>
                  </a:lnTo>
                  <a:lnTo>
                    <a:pt x="316992" y="72262"/>
                  </a:lnTo>
                  <a:lnTo>
                    <a:pt x="314071" y="69850"/>
                  </a:lnTo>
                  <a:close/>
                </a:path>
                <a:path w="317500" h="314325">
                  <a:moveTo>
                    <a:pt x="290956" y="69850"/>
                  </a:moveTo>
                  <a:lnTo>
                    <a:pt x="284606" y="69850"/>
                  </a:lnTo>
                  <a:lnTo>
                    <a:pt x="281940" y="72389"/>
                  </a:lnTo>
                  <a:lnTo>
                    <a:pt x="281940" y="78739"/>
                  </a:lnTo>
                  <a:lnTo>
                    <a:pt x="284606" y="81407"/>
                  </a:lnTo>
                  <a:lnTo>
                    <a:pt x="290956" y="81407"/>
                  </a:lnTo>
                  <a:lnTo>
                    <a:pt x="293497" y="78739"/>
                  </a:lnTo>
                  <a:lnTo>
                    <a:pt x="293497" y="72389"/>
                  </a:lnTo>
                  <a:lnTo>
                    <a:pt x="290956" y="69850"/>
                  </a:lnTo>
                  <a:close/>
                </a:path>
                <a:path w="317500" h="314325">
                  <a:moveTo>
                    <a:pt x="32639" y="69850"/>
                  </a:moveTo>
                  <a:lnTo>
                    <a:pt x="26162" y="69850"/>
                  </a:lnTo>
                  <a:lnTo>
                    <a:pt x="23622" y="72389"/>
                  </a:lnTo>
                  <a:lnTo>
                    <a:pt x="23622" y="78739"/>
                  </a:lnTo>
                  <a:lnTo>
                    <a:pt x="26162" y="81407"/>
                  </a:lnTo>
                  <a:lnTo>
                    <a:pt x="32639" y="81407"/>
                  </a:lnTo>
                  <a:lnTo>
                    <a:pt x="35178" y="78739"/>
                  </a:lnTo>
                  <a:lnTo>
                    <a:pt x="35178" y="72389"/>
                  </a:lnTo>
                  <a:lnTo>
                    <a:pt x="32639" y="69850"/>
                  </a:lnTo>
                  <a:close/>
                </a:path>
                <a:path w="317500" h="314325">
                  <a:moveTo>
                    <a:pt x="9017" y="69850"/>
                  </a:moveTo>
                  <a:lnTo>
                    <a:pt x="2540" y="69850"/>
                  </a:lnTo>
                  <a:lnTo>
                    <a:pt x="0" y="72389"/>
                  </a:lnTo>
                  <a:lnTo>
                    <a:pt x="0" y="78739"/>
                  </a:lnTo>
                  <a:lnTo>
                    <a:pt x="2540" y="81407"/>
                  </a:lnTo>
                  <a:lnTo>
                    <a:pt x="9017" y="81407"/>
                  </a:lnTo>
                  <a:lnTo>
                    <a:pt x="11556" y="78739"/>
                  </a:lnTo>
                  <a:lnTo>
                    <a:pt x="11556" y="72389"/>
                  </a:lnTo>
                  <a:lnTo>
                    <a:pt x="9017" y="69850"/>
                  </a:lnTo>
                  <a:close/>
                </a:path>
                <a:path w="317500" h="314325">
                  <a:moveTo>
                    <a:pt x="314071" y="46354"/>
                  </a:moveTo>
                  <a:lnTo>
                    <a:pt x="307594" y="46354"/>
                  </a:lnTo>
                  <a:lnTo>
                    <a:pt x="305053" y="49275"/>
                  </a:lnTo>
                  <a:lnTo>
                    <a:pt x="305053" y="55372"/>
                  </a:lnTo>
                  <a:lnTo>
                    <a:pt x="307594" y="57912"/>
                  </a:lnTo>
                  <a:lnTo>
                    <a:pt x="314071" y="57912"/>
                  </a:lnTo>
                  <a:lnTo>
                    <a:pt x="316992" y="55372"/>
                  </a:lnTo>
                  <a:lnTo>
                    <a:pt x="316992" y="49275"/>
                  </a:lnTo>
                  <a:lnTo>
                    <a:pt x="314071" y="46354"/>
                  </a:lnTo>
                  <a:close/>
                </a:path>
                <a:path w="317500" h="314325">
                  <a:moveTo>
                    <a:pt x="290956" y="46354"/>
                  </a:moveTo>
                  <a:lnTo>
                    <a:pt x="284606" y="46354"/>
                  </a:lnTo>
                  <a:lnTo>
                    <a:pt x="281940" y="48895"/>
                  </a:lnTo>
                  <a:lnTo>
                    <a:pt x="281940" y="55245"/>
                  </a:lnTo>
                  <a:lnTo>
                    <a:pt x="284606" y="57912"/>
                  </a:lnTo>
                  <a:lnTo>
                    <a:pt x="290956" y="57912"/>
                  </a:lnTo>
                  <a:lnTo>
                    <a:pt x="293497" y="55245"/>
                  </a:lnTo>
                  <a:lnTo>
                    <a:pt x="293497" y="48895"/>
                  </a:lnTo>
                  <a:lnTo>
                    <a:pt x="290956" y="46354"/>
                  </a:lnTo>
                  <a:close/>
                </a:path>
                <a:path w="317500" h="314325">
                  <a:moveTo>
                    <a:pt x="32639" y="46354"/>
                  </a:moveTo>
                  <a:lnTo>
                    <a:pt x="26162" y="46354"/>
                  </a:lnTo>
                  <a:lnTo>
                    <a:pt x="23622" y="48895"/>
                  </a:lnTo>
                  <a:lnTo>
                    <a:pt x="23622" y="55245"/>
                  </a:lnTo>
                  <a:lnTo>
                    <a:pt x="26162" y="57912"/>
                  </a:lnTo>
                  <a:lnTo>
                    <a:pt x="32639" y="57912"/>
                  </a:lnTo>
                  <a:lnTo>
                    <a:pt x="35178" y="55245"/>
                  </a:lnTo>
                  <a:lnTo>
                    <a:pt x="35178" y="48895"/>
                  </a:lnTo>
                  <a:lnTo>
                    <a:pt x="32639" y="46354"/>
                  </a:lnTo>
                  <a:close/>
                </a:path>
                <a:path w="317500" h="314325">
                  <a:moveTo>
                    <a:pt x="9017" y="46354"/>
                  </a:moveTo>
                  <a:lnTo>
                    <a:pt x="2540" y="46354"/>
                  </a:lnTo>
                  <a:lnTo>
                    <a:pt x="0" y="48895"/>
                  </a:lnTo>
                  <a:lnTo>
                    <a:pt x="0" y="55245"/>
                  </a:lnTo>
                  <a:lnTo>
                    <a:pt x="2540" y="57912"/>
                  </a:lnTo>
                  <a:lnTo>
                    <a:pt x="9017" y="57912"/>
                  </a:lnTo>
                  <a:lnTo>
                    <a:pt x="11556" y="55245"/>
                  </a:lnTo>
                  <a:lnTo>
                    <a:pt x="11556" y="48895"/>
                  </a:lnTo>
                  <a:lnTo>
                    <a:pt x="9017" y="46354"/>
                  </a:lnTo>
                  <a:close/>
                </a:path>
                <a:path w="317500" h="314325">
                  <a:moveTo>
                    <a:pt x="314071" y="23367"/>
                  </a:moveTo>
                  <a:lnTo>
                    <a:pt x="307594" y="23367"/>
                  </a:lnTo>
                  <a:lnTo>
                    <a:pt x="305053" y="25780"/>
                  </a:lnTo>
                  <a:lnTo>
                    <a:pt x="305053" y="32003"/>
                  </a:lnTo>
                  <a:lnTo>
                    <a:pt x="307594" y="34798"/>
                  </a:lnTo>
                  <a:lnTo>
                    <a:pt x="314071" y="34798"/>
                  </a:lnTo>
                  <a:lnTo>
                    <a:pt x="316992" y="32003"/>
                  </a:lnTo>
                  <a:lnTo>
                    <a:pt x="316992" y="25780"/>
                  </a:lnTo>
                  <a:lnTo>
                    <a:pt x="314071" y="23367"/>
                  </a:lnTo>
                  <a:close/>
                </a:path>
                <a:path w="317500" h="314325">
                  <a:moveTo>
                    <a:pt x="290956" y="23367"/>
                  </a:moveTo>
                  <a:lnTo>
                    <a:pt x="284606" y="23367"/>
                  </a:lnTo>
                  <a:lnTo>
                    <a:pt x="281940" y="25908"/>
                  </a:lnTo>
                  <a:lnTo>
                    <a:pt x="281940" y="32258"/>
                  </a:lnTo>
                  <a:lnTo>
                    <a:pt x="284606" y="34798"/>
                  </a:lnTo>
                  <a:lnTo>
                    <a:pt x="290956" y="34798"/>
                  </a:lnTo>
                  <a:lnTo>
                    <a:pt x="293497" y="32258"/>
                  </a:lnTo>
                  <a:lnTo>
                    <a:pt x="293497" y="25908"/>
                  </a:lnTo>
                  <a:lnTo>
                    <a:pt x="290956" y="23367"/>
                  </a:lnTo>
                  <a:close/>
                </a:path>
                <a:path w="317500" h="314325">
                  <a:moveTo>
                    <a:pt x="267462" y="23367"/>
                  </a:moveTo>
                  <a:lnTo>
                    <a:pt x="261112" y="23367"/>
                  </a:lnTo>
                  <a:lnTo>
                    <a:pt x="258445" y="25908"/>
                  </a:lnTo>
                  <a:lnTo>
                    <a:pt x="258445" y="32258"/>
                  </a:lnTo>
                  <a:lnTo>
                    <a:pt x="261112" y="34798"/>
                  </a:lnTo>
                  <a:lnTo>
                    <a:pt x="267462" y="34798"/>
                  </a:lnTo>
                  <a:lnTo>
                    <a:pt x="270128" y="32258"/>
                  </a:lnTo>
                  <a:lnTo>
                    <a:pt x="270128" y="25908"/>
                  </a:lnTo>
                  <a:lnTo>
                    <a:pt x="267462" y="23367"/>
                  </a:lnTo>
                  <a:close/>
                </a:path>
                <a:path w="317500" h="314325">
                  <a:moveTo>
                    <a:pt x="243840" y="23367"/>
                  </a:moveTo>
                  <a:lnTo>
                    <a:pt x="237236" y="23367"/>
                  </a:lnTo>
                  <a:lnTo>
                    <a:pt x="234569" y="25908"/>
                  </a:lnTo>
                  <a:lnTo>
                    <a:pt x="234569" y="32258"/>
                  </a:lnTo>
                  <a:lnTo>
                    <a:pt x="237236" y="34798"/>
                  </a:lnTo>
                  <a:lnTo>
                    <a:pt x="243840" y="34798"/>
                  </a:lnTo>
                  <a:lnTo>
                    <a:pt x="246506" y="32258"/>
                  </a:lnTo>
                  <a:lnTo>
                    <a:pt x="246506" y="25908"/>
                  </a:lnTo>
                  <a:lnTo>
                    <a:pt x="243840" y="23367"/>
                  </a:lnTo>
                  <a:close/>
                </a:path>
                <a:path w="317500" h="314325">
                  <a:moveTo>
                    <a:pt x="220345" y="23367"/>
                  </a:moveTo>
                  <a:lnTo>
                    <a:pt x="213614" y="23367"/>
                  </a:lnTo>
                  <a:lnTo>
                    <a:pt x="210947" y="25908"/>
                  </a:lnTo>
                  <a:lnTo>
                    <a:pt x="210947" y="32258"/>
                  </a:lnTo>
                  <a:lnTo>
                    <a:pt x="213614" y="34798"/>
                  </a:lnTo>
                  <a:lnTo>
                    <a:pt x="220345" y="34798"/>
                  </a:lnTo>
                  <a:lnTo>
                    <a:pt x="223012" y="32258"/>
                  </a:lnTo>
                  <a:lnTo>
                    <a:pt x="223012" y="25908"/>
                  </a:lnTo>
                  <a:lnTo>
                    <a:pt x="220345" y="23367"/>
                  </a:lnTo>
                  <a:close/>
                </a:path>
                <a:path w="317500" h="314325">
                  <a:moveTo>
                    <a:pt x="196850" y="23367"/>
                  </a:moveTo>
                  <a:lnTo>
                    <a:pt x="190373" y="23367"/>
                  </a:lnTo>
                  <a:lnTo>
                    <a:pt x="187833" y="25908"/>
                  </a:lnTo>
                  <a:lnTo>
                    <a:pt x="187833" y="32258"/>
                  </a:lnTo>
                  <a:lnTo>
                    <a:pt x="190373" y="34798"/>
                  </a:lnTo>
                  <a:lnTo>
                    <a:pt x="196850" y="34798"/>
                  </a:lnTo>
                  <a:lnTo>
                    <a:pt x="199390" y="32258"/>
                  </a:lnTo>
                  <a:lnTo>
                    <a:pt x="199390" y="25908"/>
                  </a:lnTo>
                  <a:lnTo>
                    <a:pt x="196850" y="23367"/>
                  </a:lnTo>
                  <a:close/>
                </a:path>
                <a:path w="317500" h="314325">
                  <a:moveTo>
                    <a:pt x="173354" y="23367"/>
                  </a:moveTo>
                  <a:lnTo>
                    <a:pt x="167004" y="23367"/>
                  </a:lnTo>
                  <a:lnTo>
                    <a:pt x="164338" y="25908"/>
                  </a:lnTo>
                  <a:lnTo>
                    <a:pt x="164338" y="32258"/>
                  </a:lnTo>
                  <a:lnTo>
                    <a:pt x="167004" y="34798"/>
                  </a:lnTo>
                  <a:lnTo>
                    <a:pt x="173354" y="34798"/>
                  </a:lnTo>
                  <a:lnTo>
                    <a:pt x="175895" y="32258"/>
                  </a:lnTo>
                  <a:lnTo>
                    <a:pt x="175895" y="25908"/>
                  </a:lnTo>
                  <a:lnTo>
                    <a:pt x="173354" y="23367"/>
                  </a:lnTo>
                  <a:close/>
                </a:path>
                <a:path w="317500" h="314325">
                  <a:moveTo>
                    <a:pt x="150114" y="23367"/>
                  </a:moveTo>
                  <a:lnTo>
                    <a:pt x="143383" y="23367"/>
                  </a:lnTo>
                  <a:lnTo>
                    <a:pt x="140716" y="25908"/>
                  </a:lnTo>
                  <a:lnTo>
                    <a:pt x="140716" y="32258"/>
                  </a:lnTo>
                  <a:lnTo>
                    <a:pt x="143383" y="34798"/>
                  </a:lnTo>
                  <a:lnTo>
                    <a:pt x="150114" y="34798"/>
                  </a:lnTo>
                  <a:lnTo>
                    <a:pt x="152780" y="32258"/>
                  </a:lnTo>
                  <a:lnTo>
                    <a:pt x="152780" y="25908"/>
                  </a:lnTo>
                  <a:lnTo>
                    <a:pt x="150114" y="23367"/>
                  </a:lnTo>
                  <a:close/>
                </a:path>
                <a:path w="317500" h="314325">
                  <a:moveTo>
                    <a:pt x="126619" y="23367"/>
                  </a:moveTo>
                  <a:lnTo>
                    <a:pt x="120015" y="23367"/>
                  </a:lnTo>
                  <a:lnTo>
                    <a:pt x="117348" y="25908"/>
                  </a:lnTo>
                  <a:lnTo>
                    <a:pt x="117348" y="32258"/>
                  </a:lnTo>
                  <a:lnTo>
                    <a:pt x="120015" y="34798"/>
                  </a:lnTo>
                  <a:lnTo>
                    <a:pt x="126619" y="34798"/>
                  </a:lnTo>
                  <a:lnTo>
                    <a:pt x="129286" y="32258"/>
                  </a:lnTo>
                  <a:lnTo>
                    <a:pt x="129286" y="25908"/>
                  </a:lnTo>
                  <a:lnTo>
                    <a:pt x="126619" y="23367"/>
                  </a:lnTo>
                  <a:close/>
                </a:path>
                <a:path w="317500" h="314325">
                  <a:moveTo>
                    <a:pt x="103124" y="23367"/>
                  </a:moveTo>
                  <a:lnTo>
                    <a:pt x="96774" y="23367"/>
                  </a:lnTo>
                  <a:lnTo>
                    <a:pt x="94106" y="25908"/>
                  </a:lnTo>
                  <a:lnTo>
                    <a:pt x="94106" y="32258"/>
                  </a:lnTo>
                  <a:lnTo>
                    <a:pt x="96774" y="34798"/>
                  </a:lnTo>
                  <a:lnTo>
                    <a:pt x="103124" y="34798"/>
                  </a:lnTo>
                  <a:lnTo>
                    <a:pt x="105664" y="32258"/>
                  </a:lnTo>
                  <a:lnTo>
                    <a:pt x="105664" y="25908"/>
                  </a:lnTo>
                  <a:lnTo>
                    <a:pt x="103124" y="23367"/>
                  </a:lnTo>
                  <a:close/>
                </a:path>
                <a:path w="317500" h="314325">
                  <a:moveTo>
                    <a:pt x="79628" y="23367"/>
                  </a:moveTo>
                  <a:lnTo>
                    <a:pt x="73278" y="23367"/>
                  </a:lnTo>
                  <a:lnTo>
                    <a:pt x="70739" y="25908"/>
                  </a:lnTo>
                  <a:lnTo>
                    <a:pt x="70739" y="32258"/>
                  </a:lnTo>
                  <a:lnTo>
                    <a:pt x="73278" y="34798"/>
                  </a:lnTo>
                  <a:lnTo>
                    <a:pt x="79628" y="34798"/>
                  </a:lnTo>
                  <a:lnTo>
                    <a:pt x="82296" y="32258"/>
                  </a:lnTo>
                  <a:lnTo>
                    <a:pt x="82296" y="25908"/>
                  </a:lnTo>
                  <a:lnTo>
                    <a:pt x="79628" y="23367"/>
                  </a:lnTo>
                  <a:close/>
                </a:path>
                <a:path w="317500" h="314325">
                  <a:moveTo>
                    <a:pt x="56006" y="23367"/>
                  </a:moveTo>
                  <a:lnTo>
                    <a:pt x="49656" y="23367"/>
                  </a:lnTo>
                  <a:lnTo>
                    <a:pt x="47117" y="25908"/>
                  </a:lnTo>
                  <a:lnTo>
                    <a:pt x="47117" y="32258"/>
                  </a:lnTo>
                  <a:lnTo>
                    <a:pt x="49656" y="34798"/>
                  </a:lnTo>
                  <a:lnTo>
                    <a:pt x="56006" y="34798"/>
                  </a:lnTo>
                  <a:lnTo>
                    <a:pt x="58674" y="32258"/>
                  </a:lnTo>
                  <a:lnTo>
                    <a:pt x="58674" y="25908"/>
                  </a:lnTo>
                  <a:lnTo>
                    <a:pt x="56006" y="23367"/>
                  </a:lnTo>
                  <a:close/>
                </a:path>
                <a:path w="317500" h="314325">
                  <a:moveTo>
                    <a:pt x="32639" y="23367"/>
                  </a:moveTo>
                  <a:lnTo>
                    <a:pt x="26162" y="23367"/>
                  </a:lnTo>
                  <a:lnTo>
                    <a:pt x="23622" y="25908"/>
                  </a:lnTo>
                  <a:lnTo>
                    <a:pt x="23622" y="32258"/>
                  </a:lnTo>
                  <a:lnTo>
                    <a:pt x="26162" y="34798"/>
                  </a:lnTo>
                  <a:lnTo>
                    <a:pt x="32639" y="34798"/>
                  </a:lnTo>
                  <a:lnTo>
                    <a:pt x="35178" y="32258"/>
                  </a:lnTo>
                  <a:lnTo>
                    <a:pt x="35178" y="25908"/>
                  </a:lnTo>
                  <a:lnTo>
                    <a:pt x="32639" y="23367"/>
                  </a:lnTo>
                  <a:close/>
                </a:path>
                <a:path w="317500" h="314325">
                  <a:moveTo>
                    <a:pt x="9017" y="23367"/>
                  </a:moveTo>
                  <a:lnTo>
                    <a:pt x="2540" y="23367"/>
                  </a:lnTo>
                  <a:lnTo>
                    <a:pt x="0" y="25908"/>
                  </a:lnTo>
                  <a:lnTo>
                    <a:pt x="0" y="32258"/>
                  </a:lnTo>
                  <a:lnTo>
                    <a:pt x="2540" y="34798"/>
                  </a:lnTo>
                  <a:lnTo>
                    <a:pt x="9017" y="34798"/>
                  </a:lnTo>
                  <a:lnTo>
                    <a:pt x="11556" y="32258"/>
                  </a:lnTo>
                  <a:lnTo>
                    <a:pt x="11556" y="25908"/>
                  </a:lnTo>
                  <a:lnTo>
                    <a:pt x="9017" y="23367"/>
                  </a:lnTo>
                  <a:close/>
                </a:path>
                <a:path w="317500" h="314325">
                  <a:moveTo>
                    <a:pt x="314071" y="0"/>
                  </a:moveTo>
                  <a:lnTo>
                    <a:pt x="307594" y="0"/>
                  </a:lnTo>
                  <a:lnTo>
                    <a:pt x="305053" y="2412"/>
                  </a:lnTo>
                  <a:lnTo>
                    <a:pt x="305053" y="9016"/>
                  </a:lnTo>
                  <a:lnTo>
                    <a:pt x="307594" y="11811"/>
                  </a:lnTo>
                  <a:lnTo>
                    <a:pt x="314071" y="11811"/>
                  </a:lnTo>
                  <a:lnTo>
                    <a:pt x="316992" y="9016"/>
                  </a:lnTo>
                  <a:lnTo>
                    <a:pt x="316992" y="2412"/>
                  </a:lnTo>
                  <a:lnTo>
                    <a:pt x="314071" y="0"/>
                  </a:lnTo>
                  <a:close/>
                </a:path>
                <a:path w="317500" h="314325">
                  <a:moveTo>
                    <a:pt x="290702" y="0"/>
                  </a:moveTo>
                  <a:lnTo>
                    <a:pt x="284479" y="0"/>
                  </a:lnTo>
                  <a:lnTo>
                    <a:pt x="281940" y="2412"/>
                  </a:lnTo>
                  <a:lnTo>
                    <a:pt x="281940" y="9016"/>
                  </a:lnTo>
                  <a:lnTo>
                    <a:pt x="284479" y="11811"/>
                  </a:lnTo>
                  <a:lnTo>
                    <a:pt x="290702" y="11811"/>
                  </a:lnTo>
                  <a:lnTo>
                    <a:pt x="293497" y="9016"/>
                  </a:lnTo>
                  <a:lnTo>
                    <a:pt x="293497" y="2412"/>
                  </a:lnTo>
                  <a:lnTo>
                    <a:pt x="290702" y="0"/>
                  </a:lnTo>
                  <a:close/>
                </a:path>
                <a:path w="317500" h="314325">
                  <a:moveTo>
                    <a:pt x="267208" y="0"/>
                  </a:moveTo>
                  <a:lnTo>
                    <a:pt x="260985" y="0"/>
                  </a:lnTo>
                  <a:lnTo>
                    <a:pt x="258445" y="2412"/>
                  </a:lnTo>
                  <a:lnTo>
                    <a:pt x="258445" y="9016"/>
                  </a:lnTo>
                  <a:lnTo>
                    <a:pt x="260985" y="11811"/>
                  </a:lnTo>
                  <a:lnTo>
                    <a:pt x="267208" y="11811"/>
                  </a:lnTo>
                  <a:lnTo>
                    <a:pt x="270128" y="9016"/>
                  </a:lnTo>
                  <a:lnTo>
                    <a:pt x="270128" y="2412"/>
                  </a:lnTo>
                  <a:lnTo>
                    <a:pt x="267208" y="0"/>
                  </a:lnTo>
                  <a:close/>
                </a:path>
                <a:path w="317500" h="314325">
                  <a:moveTo>
                    <a:pt x="243586" y="0"/>
                  </a:moveTo>
                  <a:lnTo>
                    <a:pt x="237490" y="0"/>
                  </a:lnTo>
                  <a:lnTo>
                    <a:pt x="234569" y="2412"/>
                  </a:lnTo>
                  <a:lnTo>
                    <a:pt x="234569" y="9016"/>
                  </a:lnTo>
                  <a:lnTo>
                    <a:pt x="237490" y="11811"/>
                  </a:lnTo>
                  <a:lnTo>
                    <a:pt x="243586" y="11811"/>
                  </a:lnTo>
                  <a:lnTo>
                    <a:pt x="246506" y="9016"/>
                  </a:lnTo>
                  <a:lnTo>
                    <a:pt x="246506" y="2412"/>
                  </a:lnTo>
                  <a:lnTo>
                    <a:pt x="243586" y="0"/>
                  </a:lnTo>
                  <a:close/>
                </a:path>
                <a:path w="317500" h="314325">
                  <a:moveTo>
                    <a:pt x="220472" y="0"/>
                  </a:moveTo>
                  <a:lnTo>
                    <a:pt x="213868" y="0"/>
                  </a:lnTo>
                  <a:lnTo>
                    <a:pt x="210947" y="2412"/>
                  </a:lnTo>
                  <a:lnTo>
                    <a:pt x="210947" y="9016"/>
                  </a:lnTo>
                  <a:lnTo>
                    <a:pt x="213868" y="11811"/>
                  </a:lnTo>
                  <a:lnTo>
                    <a:pt x="220472" y="11811"/>
                  </a:lnTo>
                  <a:lnTo>
                    <a:pt x="223012" y="9016"/>
                  </a:lnTo>
                  <a:lnTo>
                    <a:pt x="223012" y="2412"/>
                  </a:lnTo>
                  <a:lnTo>
                    <a:pt x="220472" y="0"/>
                  </a:lnTo>
                  <a:close/>
                </a:path>
                <a:path w="317500" h="314325">
                  <a:moveTo>
                    <a:pt x="196850" y="0"/>
                  </a:moveTo>
                  <a:lnTo>
                    <a:pt x="190246" y="0"/>
                  </a:lnTo>
                  <a:lnTo>
                    <a:pt x="187833" y="2412"/>
                  </a:lnTo>
                  <a:lnTo>
                    <a:pt x="187833" y="9016"/>
                  </a:lnTo>
                  <a:lnTo>
                    <a:pt x="190246" y="11811"/>
                  </a:lnTo>
                  <a:lnTo>
                    <a:pt x="196850" y="11811"/>
                  </a:lnTo>
                  <a:lnTo>
                    <a:pt x="199390" y="9016"/>
                  </a:lnTo>
                  <a:lnTo>
                    <a:pt x="199390" y="2412"/>
                  </a:lnTo>
                  <a:lnTo>
                    <a:pt x="196850" y="0"/>
                  </a:lnTo>
                  <a:close/>
                </a:path>
                <a:path w="317500" h="314325">
                  <a:moveTo>
                    <a:pt x="173481" y="0"/>
                  </a:moveTo>
                  <a:lnTo>
                    <a:pt x="166877" y="0"/>
                  </a:lnTo>
                  <a:lnTo>
                    <a:pt x="164338" y="2412"/>
                  </a:lnTo>
                  <a:lnTo>
                    <a:pt x="164338" y="9016"/>
                  </a:lnTo>
                  <a:lnTo>
                    <a:pt x="166877" y="11811"/>
                  </a:lnTo>
                  <a:lnTo>
                    <a:pt x="173481" y="11811"/>
                  </a:lnTo>
                  <a:lnTo>
                    <a:pt x="175895" y="9016"/>
                  </a:lnTo>
                  <a:lnTo>
                    <a:pt x="175895" y="2412"/>
                  </a:lnTo>
                  <a:lnTo>
                    <a:pt x="173481" y="0"/>
                  </a:lnTo>
                  <a:close/>
                </a:path>
                <a:path w="317500" h="314325">
                  <a:moveTo>
                    <a:pt x="150241" y="0"/>
                  </a:moveTo>
                  <a:lnTo>
                    <a:pt x="143255" y="0"/>
                  </a:lnTo>
                  <a:lnTo>
                    <a:pt x="140716" y="2412"/>
                  </a:lnTo>
                  <a:lnTo>
                    <a:pt x="140716" y="9016"/>
                  </a:lnTo>
                  <a:lnTo>
                    <a:pt x="143255" y="11811"/>
                  </a:lnTo>
                  <a:lnTo>
                    <a:pt x="150241" y="11811"/>
                  </a:lnTo>
                  <a:lnTo>
                    <a:pt x="152780" y="9016"/>
                  </a:lnTo>
                  <a:lnTo>
                    <a:pt x="152780" y="2412"/>
                  </a:lnTo>
                  <a:lnTo>
                    <a:pt x="150241" y="0"/>
                  </a:lnTo>
                  <a:close/>
                </a:path>
                <a:path w="317500" h="314325">
                  <a:moveTo>
                    <a:pt x="126873" y="0"/>
                  </a:moveTo>
                  <a:lnTo>
                    <a:pt x="119761" y="0"/>
                  </a:lnTo>
                  <a:lnTo>
                    <a:pt x="117348" y="2412"/>
                  </a:lnTo>
                  <a:lnTo>
                    <a:pt x="117348" y="9016"/>
                  </a:lnTo>
                  <a:lnTo>
                    <a:pt x="119761" y="11811"/>
                  </a:lnTo>
                  <a:lnTo>
                    <a:pt x="126873" y="11811"/>
                  </a:lnTo>
                  <a:lnTo>
                    <a:pt x="129286" y="9016"/>
                  </a:lnTo>
                  <a:lnTo>
                    <a:pt x="129286" y="2412"/>
                  </a:lnTo>
                  <a:lnTo>
                    <a:pt x="126873" y="0"/>
                  </a:lnTo>
                  <a:close/>
                </a:path>
                <a:path w="317500" h="314325">
                  <a:moveTo>
                    <a:pt x="102870" y="0"/>
                  </a:moveTo>
                  <a:lnTo>
                    <a:pt x="96647" y="0"/>
                  </a:lnTo>
                  <a:lnTo>
                    <a:pt x="94106" y="2412"/>
                  </a:lnTo>
                  <a:lnTo>
                    <a:pt x="94106" y="9016"/>
                  </a:lnTo>
                  <a:lnTo>
                    <a:pt x="96647" y="11811"/>
                  </a:lnTo>
                  <a:lnTo>
                    <a:pt x="102870" y="11811"/>
                  </a:lnTo>
                  <a:lnTo>
                    <a:pt x="105664" y="9016"/>
                  </a:lnTo>
                  <a:lnTo>
                    <a:pt x="105664" y="2412"/>
                  </a:lnTo>
                  <a:lnTo>
                    <a:pt x="102870" y="0"/>
                  </a:lnTo>
                  <a:close/>
                </a:path>
                <a:path w="317500" h="314325">
                  <a:moveTo>
                    <a:pt x="79375" y="0"/>
                  </a:moveTo>
                  <a:lnTo>
                    <a:pt x="73151" y="0"/>
                  </a:lnTo>
                  <a:lnTo>
                    <a:pt x="70739" y="2412"/>
                  </a:lnTo>
                  <a:lnTo>
                    <a:pt x="70739" y="9016"/>
                  </a:lnTo>
                  <a:lnTo>
                    <a:pt x="73151" y="11811"/>
                  </a:lnTo>
                  <a:lnTo>
                    <a:pt x="79375" y="11811"/>
                  </a:lnTo>
                  <a:lnTo>
                    <a:pt x="82296" y="9016"/>
                  </a:lnTo>
                  <a:lnTo>
                    <a:pt x="82296" y="2412"/>
                  </a:lnTo>
                  <a:lnTo>
                    <a:pt x="79375" y="0"/>
                  </a:lnTo>
                  <a:close/>
                </a:path>
                <a:path w="317500" h="314325">
                  <a:moveTo>
                    <a:pt x="56134" y="0"/>
                  </a:moveTo>
                  <a:lnTo>
                    <a:pt x="49529" y="0"/>
                  </a:lnTo>
                  <a:lnTo>
                    <a:pt x="47117" y="2412"/>
                  </a:lnTo>
                  <a:lnTo>
                    <a:pt x="47117" y="9016"/>
                  </a:lnTo>
                  <a:lnTo>
                    <a:pt x="49529" y="11811"/>
                  </a:lnTo>
                  <a:lnTo>
                    <a:pt x="56134" y="11811"/>
                  </a:lnTo>
                  <a:lnTo>
                    <a:pt x="58674" y="9016"/>
                  </a:lnTo>
                  <a:lnTo>
                    <a:pt x="58674" y="2412"/>
                  </a:lnTo>
                  <a:lnTo>
                    <a:pt x="56134" y="0"/>
                  </a:lnTo>
                  <a:close/>
                </a:path>
                <a:path w="317500" h="314325">
                  <a:moveTo>
                    <a:pt x="32766" y="0"/>
                  </a:moveTo>
                  <a:lnTo>
                    <a:pt x="26543" y="0"/>
                  </a:lnTo>
                  <a:lnTo>
                    <a:pt x="23622" y="2412"/>
                  </a:lnTo>
                  <a:lnTo>
                    <a:pt x="23622" y="9016"/>
                  </a:lnTo>
                  <a:lnTo>
                    <a:pt x="26543" y="11811"/>
                  </a:lnTo>
                  <a:lnTo>
                    <a:pt x="32766" y="11811"/>
                  </a:lnTo>
                  <a:lnTo>
                    <a:pt x="35178" y="9016"/>
                  </a:lnTo>
                  <a:lnTo>
                    <a:pt x="35178" y="2412"/>
                  </a:lnTo>
                  <a:lnTo>
                    <a:pt x="32766" y="0"/>
                  </a:lnTo>
                  <a:close/>
                </a:path>
                <a:path w="317500" h="314325">
                  <a:moveTo>
                    <a:pt x="9144" y="0"/>
                  </a:moveTo>
                  <a:lnTo>
                    <a:pt x="2921" y="0"/>
                  </a:lnTo>
                  <a:lnTo>
                    <a:pt x="0" y="2412"/>
                  </a:lnTo>
                  <a:lnTo>
                    <a:pt x="0" y="9016"/>
                  </a:lnTo>
                  <a:lnTo>
                    <a:pt x="2921" y="11811"/>
                  </a:lnTo>
                  <a:lnTo>
                    <a:pt x="9144" y="11811"/>
                  </a:lnTo>
                  <a:lnTo>
                    <a:pt x="11556" y="9016"/>
                  </a:lnTo>
                  <a:lnTo>
                    <a:pt x="11556" y="241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4" name="组合 23"/>
          <p:cNvGrpSpPr>
            <a:grpSpLocks noChangeAspect="1"/>
          </p:cNvGrpSpPr>
          <p:nvPr/>
        </p:nvGrpSpPr>
        <p:grpSpPr>
          <a:xfrm>
            <a:off x="8666888" y="3880685"/>
            <a:ext cx="437548" cy="432000"/>
            <a:chOff x="8269007" y="2787537"/>
            <a:chExt cx="350520" cy="346075"/>
          </a:xfrm>
        </p:grpSpPr>
        <p:sp>
          <p:nvSpPr>
            <p:cNvPr id="25" name="object 32"/>
            <p:cNvSpPr/>
            <p:nvPr/>
          </p:nvSpPr>
          <p:spPr>
            <a:xfrm>
              <a:off x="8269007" y="2787537"/>
              <a:ext cx="350520" cy="346075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solidFill>
              <a:srgbClr val="21B9CE"/>
            </a:solidFill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6" name="object 33"/>
            <p:cNvSpPr/>
            <p:nvPr/>
          </p:nvSpPr>
          <p:spPr>
            <a:xfrm>
              <a:off x="8285517" y="2800998"/>
              <a:ext cx="317500" cy="314325"/>
            </a:xfrm>
            <a:custGeom>
              <a:avLst/>
              <a:gdLst/>
              <a:ahLst/>
              <a:cxnLst/>
              <a:rect l="l" t="t" r="r" b="b"/>
              <a:pathLst>
                <a:path w="317500" h="314325">
                  <a:moveTo>
                    <a:pt x="314071" y="302387"/>
                  </a:moveTo>
                  <a:lnTo>
                    <a:pt x="307594" y="302387"/>
                  </a:lnTo>
                  <a:lnTo>
                    <a:pt x="305053" y="304926"/>
                  </a:lnTo>
                  <a:lnTo>
                    <a:pt x="305053" y="311530"/>
                  </a:lnTo>
                  <a:lnTo>
                    <a:pt x="307594" y="313943"/>
                  </a:lnTo>
                  <a:lnTo>
                    <a:pt x="314071" y="313943"/>
                  </a:lnTo>
                  <a:lnTo>
                    <a:pt x="316992" y="311530"/>
                  </a:lnTo>
                  <a:lnTo>
                    <a:pt x="316992" y="304926"/>
                  </a:lnTo>
                  <a:lnTo>
                    <a:pt x="314071" y="302387"/>
                  </a:lnTo>
                  <a:close/>
                </a:path>
                <a:path w="317500" h="314325">
                  <a:moveTo>
                    <a:pt x="290956" y="302387"/>
                  </a:moveTo>
                  <a:lnTo>
                    <a:pt x="284606" y="302387"/>
                  </a:lnTo>
                  <a:lnTo>
                    <a:pt x="281940" y="305053"/>
                  </a:lnTo>
                  <a:lnTo>
                    <a:pt x="281940" y="311403"/>
                  </a:lnTo>
                  <a:lnTo>
                    <a:pt x="284606" y="313943"/>
                  </a:lnTo>
                  <a:lnTo>
                    <a:pt x="290956" y="313943"/>
                  </a:lnTo>
                  <a:lnTo>
                    <a:pt x="293497" y="311403"/>
                  </a:lnTo>
                  <a:lnTo>
                    <a:pt x="293497" y="305053"/>
                  </a:lnTo>
                  <a:lnTo>
                    <a:pt x="290956" y="302387"/>
                  </a:lnTo>
                  <a:close/>
                </a:path>
                <a:path w="317500" h="314325">
                  <a:moveTo>
                    <a:pt x="267462" y="302387"/>
                  </a:moveTo>
                  <a:lnTo>
                    <a:pt x="261112" y="302387"/>
                  </a:lnTo>
                  <a:lnTo>
                    <a:pt x="258445" y="305053"/>
                  </a:lnTo>
                  <a:lnTo>
                    <a:pt x="258445" y="311403"/>
                  </a:lnTo>
                  <a:lnTo>
                    <a:pt x="261112" y="313943"/>
                  </a:lnTo>
                  <a:lnTo>
                    <a:pt x="267462" y="313943"/>
                  </a:lnTo>
                  <a:lnTo>
                    <a:pt x="270128" y="311403"/>
                  </a:lnTo>
                  <a:lnTo>
                    <a:pt x="270128" y="305053"/>
                  </a:lnTo>
                  <a:lnTo>
                    <a:pt x="267462" y="302387"/>
                  </a:lnTo>
                  <a:close/>
                </a:path>
                <a:path w="317500" h="314325">
                  <a:moveTo>
                    <a:pt x="243840" y="302387"/>
                  </a:moveTo>
                  <a:lnTo>
                    <a:pt x="237236" y="302387"/>
                  </a:lnTo>
                  <a:lnTo>
                    <a:pt x="234569" y="305053"/>
                  </a:lnTo>
                  <a:lnTo>
                    <a:pt x="234569" y="311403"/>
                  </a:lnTo>
                  <a:lnTo>
                    <a:pt x="237236" y="313943"/>
                  </a:lnTo>
                  <a:lnTo>
                    <a:pt x="243840" y="313943"/>
                  </a:lnTo>
                  <a:lnTo>
                    <a:pt x="246506" y="311403"/>
                  </a:lnTo>
                  <a:lnTo>
                    <a:pt x="246506" y="305053"/>
                  </a:lnTo>
                  <a:lnTo>
                    <a:pt x="243840" y="302387"/>
                  </a:lnTo>
                  <a:close/>
                </a:path>
                <a:path w="317500" h="314325">
                  <a:moveTo>
                    <a:pt x="220345" y="302387"/>
                  </a:moveTo>
                  <a:lnTo>
                    <a:pt x="213614" y="302387"/>
                  </a:lnTo>
                  <a:lnTo>
                    <a:pt x="210947" y="305053"/>
                  </a:lnTo>
                  <a:lnTo>
                    <a:pt x="210947" y="311403"/>
                  </a:lnTo>
                  <a:lnTo>
                    <a:pt x="213614" y="313943"/>
                  </a:lnTo>
                  <a:lnTo>
                    <a:pt x="220345" y="313943"/>
                  </a:lnTo>
                  <a:lnTo>
                    <a:pt x="223012" y="311403"/>
                  </a:lnTo>
                  <a:lnTo>
                    <a:pt x="223012" y="305053"/>
                  </a:lnTo>
                  <a:lnTo>
                    <a:pt x="220345" y="302387"/>
                  </a:lnTo>
                  <a:close/>
                </a:path>
                <a:path w="317500" h="314325">
                  <a:moveTo>
                    <a:pt x="196850" y="302387"/>
                  </a:moveTo>
                  <a:lnTo>
                    <a:pt x="190373" y="302387"/>
                  </a:lnTo>
                  <a:lnTo>
                    <a:pt x="187833" y="305053"/>
                  </a:lnTo>
                  <a:lnTo>
                    <a:pt x="187833" y="311403"/>
                  </a:lnTo>
                  <a:lnTo>
                    <a:pt x="190373" y="313943"/>
                  </a:lnTo>
                  <a:lnTo>
                    <a:pt x="196850" y="313943"/>
                  </a:lnTo>
                  <a:lnTo>
                    <a:pt x="199390" y="311403"/>
                  </a:lnTo>
                  <a:lnTo>
                    <a:pt x="199390" y="305053"/>
                  </a:lnTo>
                  <a:lnTo>
                    <a:pt x="196850" y="302387"/>
                  </a:lnTo>
                  <a:close/>
                </a:path>
                <a:path w="317500" h="314325">
                  <a:moveTo>
                    <a:pt x="173354" y="302387"/>
                  </a:moveTo>
                  <a:lnTo>
                    <a:pt x="167004" y="302387"/>
                  </a:lnTo>
                  <a:lnTo>
                    <a:pt x="164338" y="305053"/>
                  </a:lnTo>
                  <a:lnTo>
                    <a:pt x="164338" y="311403"/>
                  </a:lnTo>
                  <a:lnTo>
                    <a:pt x="167004" y="313943"/>
                  </a:lnTo>
                  <a:lnTo>
                    <a:pt x="173354" y="313943"/>
                  </a:lnTo>
                  <a:lnTo>
                    <a:pt x="175895" y="311403"/>
                  </a:lnTo>
                  <a:lnTo>
                    <a:pt x="175895" y="305053"/>
                  </a:lnTo>
                  <a:lnTo>
                    <a:pt x="173354" y="302387"/>
                  </a:lnTo>
                  <a:close/>
                </a:path>
                <a:path w="317500" h="314325">
                  <a:moveTo>
                    <a:pt x="150114" y="302387"/>
                  </a:moveTo>
                  <a:lnTo>
                    <a:pt x="143383" y="302387"/>
                  </a:lnTo>
                  <a:lnTo>
                    <a:pt x="140716" y="305053"/>
                  </a:lnTo>
                  <a:lnTo>
                    <a:pt x="140716" y="311403"/>
                  </a:lnTo>
                  <a:lnTo>
                    <a:pt x="143383" y="313943"/>
                  </a:lnTo>
                  <a:lnTo>
                    <a:pt x="150114" y="313943"/>
                  </a:lnTo>
                  <a:lnTo>
                    <a:pt x="152780" y="311403"/>
                  </a:lnTo>
                  <a:lnTo>
                    <a:pt x="152780" y="305053"/>
                  </a:lnTo>
                  <a:lnTo>
                    <a:pt x="150114" y="302387"/>
                  </a:lnTo>
                  <a:close/>
                </a:path>
                <a:path w="317500" h="314325">
                  <a:moveTo>
                    <a:pt x="126619" y="302387"/>
                  </a:moveTo>
                  <a:lnTo>
                    <a:pt x="120015" y="302387"/>
                  </a:lnTo>
                  <a:lnTo>
                    <a:pt x="117348" y="305053"/>
                  </a:lnTo>
                  <a:lnTo>
                    <a:pt x="117348" y="311403"/>
                  </a:lnTo>
                  <a:lnTo>
                    <a:pt x="120015" y="313943"/>
                  </a:lnTo>
                  <a:lnTo>
                    <a:pt x="126619" y="313943"/>
                  </a:lnTo>
                  <a:lnTo>
                    <a:pt x="129286" y="311403"/>
                  </a:lnTo>
                  <a:lnTo>
                    <a:pt x="129286" y="305053"/>
                  </a:lnTo>
                  <a:lnTo>
                    <a:pt x="126619" y="302387"/>
                  </a:lnTo>
                  <a:close/>
                </a:path>
                <a:path w="317500" h="314325">
                  <a:moveTo>
                    <a:pt x="103124" y="302387"/>
                  </a:moveTo>
                  <a:lnTo>
                    <a:pt x="96774" y="302387"/>
                  </a:lnTo>
                  <a:lnTo>
                    <a:pt x="94106" y="305053"/>
                  </a:lnTo>
                  <a:lnTo>
                    <a:pt x="94106" y="311403"/>
                  </a:lnTo>
                  <a:lnTo>
                    <a:pt x="96774" y="313943"/>
                  </a:lnTo>
                  <a:lnTo>
                    <a:pt x="103124" y="313943"/>
                  </a:lnTo>
                  <a:lnTo>
                    <a:pt x="105664" y="311403"/>
                  </a:lnTo>
                  <a:lnTo>
                    <a:pt x="105664" y="305053"/>
                  </a:lnTo>
                  <a:lnTo>
                    <a:pt x="103124" y="302387"/>
                  </a:lnTo>
                  <a:close/>
                </a:path>
                <a:path w="317500" h="314325">
                  <a:moveTo>
                    <a:pt x="79628" y="302387"/>
                  </a:moveTo>
                  <a:lnTo>
                    <a:pt x="73278" y="302387"/>
                  </a:lnTo>
                  <a:lnTo>
                    <a:pt x="70739" y="305053"/>
                  </a:lnTo>
                  <a:lnTo>
                    <a:pt x="70739" y="311403"/>
                  </a:lnTo>
                  <a:lnTo>
                    <a:pt x="73278" y="313943"/>
                  </a:lnTo>
                  <a:lnTo>
                    <a:pt x="79628" y="313943"/>
                  </a:lnTo>
                  <a:lnTo>
                    <a:pt x="82296" y="311403"/>
                  </a:lnTo>
                  <a:lnTo>
                    <a:pt x="82296" y="305053"/>
                  </a:lnTo>
                  <a:lnTo>
                    <a:pt x="79628" y="302387"/>
                  </a:lnTo>
                  <a:close/>
                </a:path>
                <a:path w="317500" h="314325">
                  <a:moveTo>
                    <a:pt x="56006" y="302387"/>
                  </a:moveTo>
                  <a:lnTo>
                    <a:pt x="49656" y="302387"/>
                  </a:lnTo>
                  <a:lnTo>
                    <a:pt x="47117" y="305053"/>
                  </a:lnTo>
                  <a:lnTo>
                    <a:pt x="47117" y="311403"/>
                  </a:lnTo>
                  <a:lnTo>
                    <a:pt x="49656" y="313943"/>
                  </a:lnTo>
                  <a:lnTo>
                    <a:pt x="56006" y="313943"/>
                  </a:lnTo>
                  <a:lnTo>
                    <a:pt x="58674" y="311403"/>
                  </a:lnTo>
                  <a:lnTo>
                    <a:pt x="58674" y="305053"/>
                  </a:lnTo>
                  <a:lnTo>
                    <a:pt x="56006" y="302387"/>
                  </a:lnTo>
                  <a:close/>
                </a:path>
                <a:path w="317500" h="314325">
                  <a:moveTo>
                    <a:pt x="32639" y="302387"/>
                  </a:moveTo>
                  <a:lnTo>
                    <a:pt x="26162" y="302387"/>
                  </a:lnTo>
                  <a:lnTo>
                    <a:pt x="23622" y="305053"/>
                  </a:lnTo>
                  <a:lnTo>
                    <a:pt x="23622" y="311403"/>
                  </a:lnTo>
                  <a:lnTo>
                    <a:pt x="26162" y="313943"/>
                  </a:lnTo>
                  <a:lnTo>
                    <a:pt x="32639" y="313943"/>
                  </a:lnTo>
                  <a:lnTo>
                    <a:pt x="35178" y="311403"/>
                  </a:lnTo>
                  <a:lnTo>
                    <a:pt x="35178" y="305053"/>
                  </a:lnTo>
                  <a:lnTo>
                    <a:pt x="32639" y="302387"/>
                  </a:lnTo>
                  <a:close/>
                </a:path>
                <a:path w="317500" h="314325">
                  <a:moveTo>
                    <a:pt x="9017" y="302387"/>
                  </a:moveTo>
                  <a:lnTo>
                    <a:pt x="2540" y="302387"/>
                  </a:lnTo>
                  <a:lnTo>
                    <a:pt x="0" y="305053"/>
                  </a:lnTo>
                  <a:lnTo>
                    <a:pt x="0" y="311403"/>
                  </a:lnTo>
                  <a:lnTo>
                    <a:pt x="2540" y="313943"/>
                  </a:lnTo>
                  <a:lnTo>
                    <a:pt x="9017" y="313943"/>
                  </a:lnTo>
                  <a:lnTo>
                    <a:pt x="11556" y="311403"/>
                  </a:lnTo>
                  <a:lnTo>
                    <a:pt x="11556" y="305053"/>
                  </a:lnTo>
                  <a:lnTo>
                    <a:pt x="9017" y="302387"/>
                  </a:lnTo>
                  <a:close/>
                </a:path>
                <a:path w="317500" h="314325">
                  <a:moveTo>
                    <a:pt x="314071" y="278891"/>
                  </a:moveTo>
                  <a:lnTo>
                    <a:pt x="307594" y="278891"/>
                  </a:lnTo>
                  <a:lnTo>
                    <a:pt x="305053" y="281813"/>
                  </a:lnTo>
                  <a:lnTo>
                    <a:pt x="305053" y="288036"/>
                  </a:lnTo>
                  <a:lnTo>
                    <a:pt x="307594" y="290449"/>
                  </a:lnTo>
                  <a:lnTo>
                    <a:pt x="314071" y="290449"/>
                  </a:lnTo>
                  <a:lnTo>
                    <a:pt x="316992" y="288036"/>
                  </a:lnTo>
                  <a:lnTo>
                    <a:pt x="316992" y="281813"/>
                  </a:lnTo>
                  <a:lnTo>
                    <a:pt x="314071" y="278891"/>
                  </a:lnTo>
                  <a:close/>
                </a:path>
                <a:path w="317500" h="314325">
                  <a:moveTo>
                    <a:pt x="290956" y="278891"/>
                  </a:moveTo>
                  <a:lnTo>
                    <a:pt x="284606" y="278891"/>
                  </a:lnTo>
                  <a:lnTo>
                    <a:pt x="281940" y="281559"/>
                  </a:lnTo>
                  <a:lnTo>
                    <a:pt x="281940" y="287909"/>
                  </a:lnTo>
                  <a:lnTo>
                    <a:pt x="284606" y="290449"/>
                  </a:lnTo>
                  <a:lnTo>
                    <a:pt x="290956" y="290449"/>
                  </a:lnTo>
                  <a:lnTo>
                    <a:pt x="293497" y="287909"/>
                  </a:lnTo>
                  <a:lnTo>
                    <a:pt x="293497" y="281559"/>
                  </a:lnTo>
                  <a:lnTo>
                    <a:pt x="290956" y="278891"/>
                  </a:lnTo>
                  <a:close/>
                </a:path>
                <a:path w="317500" h="314325">
                  <a:moveTo>
                    <a:pt x="267462" y="278891"/>
                  </a:moveTo>
                  <a:lnTo>
                    <a:pt x="261112" y="278891"/>
                  </a:lnTo>
                  <a:lnTo>
                    <a:pt x="258445" y="281559"/>
                  </a:lnTo>
                  <a:lnTo>
                    <a:pt x="258445" y="287909"/>
                  </a:lnTo>
                  <a:lnTo>
                    <a:pt x="261112" y="290449"/>
                  </a:lnTo>
                  <a:lnTo>
                    <a:pt x="267462" y="290449"/>
                  </a:lnTo>
                  <a:lnTo>
                    <a:pt x="270128" y="287909"/>
                  </a:lnTo>
                  <a:lnTo>
                    <a:pt x="270128" y="281559"/>
                  </a:lnTo>
                  <a:lnTo>
                    <a:pt x="267462" y="278891"/>
                  </a:lnTo>
                  <a:close/>
                </a:path>
                <a:path w="317500" h="314325">
                  <a:moveTo>
                    <a:pt x="243840" y="278891"/>
                  </a:moveTo>
                  <a:lnTo>
                    <a:pt x="237236" y="278891"/>
                  </a:lnTo>
                  <a:lnTo>
                    <a:pt x="234569" y="281559"/>
                  </a:lnTo>
                  <a:lnTo>
                    <a:pt x="234569" y="287909"/>
                  </a:lnTo>
                  <a:lnTo>
                    <a:pt x="237236" y="290449"/>
                  </a:lnTo>
                  <a:lnTo>
                    <a:pt x="243840" y="290449"/>
                  </a:lnTo>
                  <a:lnTo>
                    <a:pt x="246506" y="287909"/>
                  </a:lnTo>
                  <a:lnTo>
                    <a:pt x="246506" y="281559"/>
                  </a:lnTo>
                  <a:lnTo>
                    <a:pt x="243840" y="278891"/>
                  </a:lnTo>
                  <a:close/>
                </a:path>
                <a:path w="317500" h="314325">
                  <a:moveTo>
                    <a:pt x="220345" y="278891"/>
                  </a:moveTo>
                  <a:lnTo>
                    <a:pt x="213614" y="278891"/>
                  </a:lnTo>
                  <a:lnTo>
                    <a:pt x="210947" y="281559"/>
                  </a:lnTo>
                  <a:lnTo>
                    <a:pt x="210947" y="287909"/>
                  </a:lnTo>
                  <a:lnTo>
                    <a:pt x="213614" y="290449"/>
                  </a:lnTo>
                  <a:lnTo>
                    <a:pt x="220345" y="290449"/>
                  </a:lnTo>
                  <a:lnTo>
                    <a:pt x="223012" y="287909"/>
                  </a:lnTo>
                  <a:lnTo>
                    <a:pt x="223012" y="281559"/>
                  </a:lnTo>
                  <a:lnTo>
                    <a:pt x="220345" y="278891"/>
                  </a:lnTo>
                  <a:close/>
                </a:path>
                <a:path w="317500" h="314325">
                  <a:moveTo>
                    <a:pt x="196850" y="278891"/>
                  </a:moveTo>
                  <a:lnTo>
                    <a:pt x="190373" y="278891"/>
                  </a:lnTo>
                  <a:lnTo>
                    <a:pt x="187833" y="281559"/>
                  </a:lnTo>
                  <a:lnTo>
                    <a:pt x="187833" y="287909"/>
                  </a:lnTo>
                  <a:lnTo>
                    <a:pt x="190373" y="290449"/>
                  </a:lnTo>
                  <a:lnTo>
                    <a:pt x="196850" y="290449"/>
                  </a:lnTo>
                  <a:lnTo>
                    <a:pt x="199390" y="287909"/>
                  </a:lnTo>
                  <a:lnTo>
                    <a:pt x="199390" y="281559"/>
                  </a:lnTo>
                  <a:lnTo>
                    <a:pt x="196850" y="278891"/>
                  </a:lnTo>
                  <a:close/>
                </a:path>
                <a:path w="317500" h="314325">
                  <a:moveTo>
                    <a:pt x="173354" y="278891"/>
                  </a:moveTo>
                  <a:lnTo>
                    <a:pt x="167004" y="278891"/>
                  </a:lnTo>
                  <a:lnTo>
                    <a:pt x="164338" y="281559"/>
                  </a:lnTo>
                  <a:lnTo>
                    <a:pt x="164338" y="287909"/>
                  </a:lnTo>
                  <a:lnTo>
                    <a:pt x="167004" y="290449"/>
                  </a:lnTo>
                  <a:lnTo>
                    <a:pt x="173354" y="290449"/>
                  </a:lnTo>
                  <a:lnTo>
                    <a:pt x="175895" y="287909"/>
                  </a:lnTo>
                  <a:lnTo>
                    <a:pt x="175895" y="281559"/>
                  </a:lnTo>
                  <a:lnTo>
                    <a:pt x="173354" y="278891"/>
                  </a:lnTo>
                  <a:close/>
                </a:path>
                <a:path w="317500" h="314325">
                  <a:moveTo>
                    <a:pt x="150114" y="278891"/>
                  </a:moveTo>
                  <a:lnTo>
                    <a:pt x="143383" y="278891"/>
                  </a:lnTo>
                  <a:lnTo>
                    <a:pt x="140716" y="281559"/>
                  </a:lnTo>
                  <a:lnTo>
                    <a:pt x="140716" y="287909"/>
                  </a:lnTo>
                  <a:lnTo>
                    <a:pt x="143383" y="290449"/>
                  </a:lnTo>
                  <a:lnTo>
                    <a:pt x="150114" y="290449"/>
                  </a:lnTo>
                  <a:lnTo>
                    <a:pt x="152780" y="287909"/>
                  </a:lnTo>
                  <a:lnTo>
                    <a:pt x="152780" y="281559"/>
                  </a:lnTo>
                  <a:lnTo>
                    <a:pt x="150114" y="278891"/>
                  </a:lnTo>
                  <a:close/>
                </a:path>
                <a:path w="317500" h="314325">
                  <a:moveTo>
                    <a:pt x="126619" y="278891"/>
                  </a:moveTo>
                  <a:lnTo>
                    <a:pt x="120015" y="278891"/>
                  </a:lnTo>
                  <a:lnTo>
                    <a:pt x="117348" y="281559"/>
                  </a:lnTo>
                  <a:lnTo>
                    <a:pt x="117348" y="287909"/>
                  </a:lnTo>
                  <a:lnTo>
                    <a:pt x="120015" y="290449"/>
                  </a:lnTo>
                  <a:lnTo>
                    <a:pt x="126619" y="290449"/>
                  </a:lnTo>
                  <a:lnTo>
                    <a:pt x="129286" y="287909"/>
                  </a:lnTo>
                  <a:lnTo>
                    <a:pt x="129286" y="281559"/>
                  </a:lnTo>
                  <a:lnTo>
                    <a:pt x="126619" y="278891"/>
                  </a:lnTo>
                  <a:close/>
                </a:path>
                <a:path w="317500" h="314325">
                  <a:moveTo>
                    <a:pt x="103124" y="278891"/>
                  </a:moveTo>
                  <a:lnTo>
                    <a:pt x="96774" y="278891"/>
                  </a:lnTo>
                  <a:lnTo>
                    <a:pt x="94106" y="281559"/>
                  </a:lnTo>
                  <a:lnTo>
                    <a:pt x="94106" y="287909"/>
                  </a:lnTo>
                  <a:lnTo>
                    <a:pt x="96774" y="290449"/>
                  </a:lnTo>
                  <a:lnTo>
                    <a:pt x="103124" y="290449"/>
                  </a:lnTo>
                  <a:lnTo>
                    <a:pt x="105664" y="287909"/>
                  </a:lnTo>
                  <a:lnTo>
                    <a:pt x="105664" y="281559"/>
                  </a:lnTo>
                  <a:lnTo>
                    <a:pt x="103124" y="278891"/>
                  </a:lnTo>
                  <a:close/>
                </a:path>
                <a:path w="317500" h="314325">
                  <a:moveTo>
                    <a:pt x="79628" y="278891"/>
                  </a:moveTo>
                  <a:lnTo>
                    <a:pt x="73278" y="278891"/>
                  </a:lnTo>
                  <a:lnTo>
                    <a:pt x="70739" y="281559"/>
                  </a:lnTo>
                  <a:lnTo>
                    <a:pt x="70739" y="287909"/>
                  </a:lnTo>
                  <a:lnTo>
                    <a:pt x="73278" y="290449"/>
                  </a:lnTo>
                  <a:lnTo>
                    <a:pt x="79628" y="290449"/>
                  </a:lnTo>
                  <a:lnTo>
                    <a:pt x="82296" y="287909"/>
                  </a:lnTo>
                  <a:lnTo>
                    <a:pt x="82296" y="281559"/>
                  </a:lnTo>
                  <a:lnTo>
                    <a:pt x="79628" y="278891"/>
                  </a:lnTo>
                  <a:close/>
                </a:path>
                <a:path w="317500" h="314325">
                  <a:moveTo>
                    <a:pt x="56006" y="278891"/>
                  </a:moveTo>
                  <a:lnTo>
                    <a:pt x="49656" y="278891"/>
                  </a:lnTo>
                  <a:lnTo>
                    <a:pt x="47117" y="281559"/>
                  </a:lnTo>
                  <a:lnTo>
                    <a:pt x="47117" y="287909"/>
                  </a:lnTo>
                  <a:lnTo>
                    <a:pt x="49656" y="290449"/>
                  </a:lnTo>
                  <a:lnTo>
                    <a:pt x="56006" y="290449"/>
                  </a:lnTo>
                  <a:lnTo>
                    <a:pt x="58674" y="287909"/>
                  </a:lnTo>
                  <a:lnTo>
                    <a:pt x="58674" y="281559"/>
                  </a:lnTo>
                  <a:lnTo>
                    <a:pt x="56006" y="278891"/>
                  </a:lnTo>
                  <a:close/>
                </a:path>
                <a:path w="317500" h="314325">
                  <a:moveTo>
                    <a:pt x="32639" y="278891"/>
                  </a:moveTo>
                  <a:lnTo>
                    <a:pt x="26162" y="278891"/>
                  </a:lnTo>
                  <a:lnTo>
                    <a:pt x="23622" y="281559"/>
                  </a:lnTo>
                  <a:lnTo>
                    <a:pt x="23622" y="287909"/>
                  </a:lnTo>
                  <a:lnTo>
                    <a:pt x="26162" y="290449"/>
                  </a:lnTo>
                  <a:lnTo>
                    <a:pt x="32639" y="290449"/>
                  </a:lnTo>
                  <a:lnTo>
                    <a:pt x="35178" y="287909"/>
                  </a:lnTo>
                  <a:lnTo>
                    <a:pt x="35178" y="281559"/>
                  </a:lnTo>
                  <a:lnTo>
                    <a:pt x="32639" y="278891"/>
                  </a:lnTo>
                  <a:close/>
                </a:path>
                <a:path w="317500" h="314325">
                  <a:moveTo>
                    <a:pt x="9017" y="278891"/>
                  </a:moveTo>
                  <a:lnTo>
                    <a:pt x="2540" y="278891"/>
                  </a:lnTo>
                  <a:lnTo>
                    <a:pt x="0" y="281559"/>
                  </a:lnTo>
                  <a:lnTo>
                    <a:pt x="0" y="287909"/>
                  </a:lnTo>
                  <a:lnTo>
                    <a:pt x="2540" y="290449"/>
                  </a:lnTo>
                  <a:lnTo>
                    <a:pt x="9017" y="290449"/>
                  </a:lnTo>
                  <a:lnTo>
                    <a:pt x="11556" y="287909"/>
                  </a:lnTo>
                  <a:lnTo>
                    <a:pt x="11556" y="281559"/>
                  </a:lnTo>
                  <a:lnTo>
                    <a:pt x="9017" y="278891"/>
                  </a:lnTo>
                  <a:close/>
                </a:path>
                <a:path w="317500" h="314325">
                  <a:moveTo>
                    <a:pt x="314071" y="255650"/>
                  </a:moveTo>
                  <a:lnTo>
                    <a:pt x="307594" y="255650"/>
                  </a:lnTo>
                  <a:lnTo>
                    <a:pt x="305053" y="258445"/>
                  </a:lnTo>
                  <a:lnTo>
                    <a:pt x="305053" y="264540"/>
                  </a:lnTo>
                  <a:lnTo>
                    <a:pt x="307594" y="267462"/>
                  </a:lnTo>
                  <a:lnTo>
                    <a:pt x="314071" y="267462"/>
                  </a:lnTo>
                  <a:lnTo>
                    <a:pt x="316992" y="264540"/>
                  </a:lnTo>
                  <a:lnTo>
                    <a:pt x="316992" y="258445"/>
                  </a:lnTo>
                  <a:lnTo>
                    <a:pt x="314071" y="255650"/>
                  </a:lnTo>
                  <a:close/>
                </a:path>
                <a:path w="317500" h="314325">
                  <a:moveTo>
                    <a:pt x="290956" y="255650"/>
                  </a:moveTo>
                  <a:lnTo>
                    <a:pt x="284606" y="255650"/>
                  </a:lnTo>
                  <a:lnTo>
                    <a:pt x="281940" y="258190"/>
                  </a:lnTo>
                  <a:lnTo>
                    <a:pt x="281940" y="264795"/>
                  </a:lnTo>
                  <a:lnTo>
                    <a:pt x="284606" y="267462"/>
                  </a:lnTo>
                  <a:lnTo>
                    <a:pt x="290956" y="267462"/>
                  </a:lnTo>
                  <a:lnTo>
                    <a:pt x="293497" y="264795"/>
                  </a:lnTo>
                  <a:lnTo>
                    <a:pt x="293497" y="258190"/>
                  </a:lnTo>
                  <a:lnTo>
                    <a:pt x="290956" y="255650"/>
                  </a:lnTo>
                  <a:close/>
                </a:path>
                <a:path w="317500" h="314325">
                  <a:moveTo>
                    <a:pt x="32639" y="255650"/>
                  </a:moveTo>
                  <a:lnTo>
                    <a:pt x="26162" y="255650"/>
                  </a:lnTo>
                  <a:lnTo>
                    <a:pt x="23622" y="258190"/>
                  </a:lnTo>
                  <a:lnTo>
                    <a:pt x="23622" y="264795"/>
                  </a:lnTo>
                  <a:lnTo>
                    <a:pt x="26162" y="267462"/>
                  </a:lnTo>
                  <a:lnTo>
                    <a:pt x="32639" y="267462"/>
                  </a:lnTo>
                  <a:lnTo>
                    <a:pt x="35178" y="264795"/>
                  </a:lnTo>
                  <a:lnTo>
                    <a:pt x="35178" y="258190"/>
                  </a:lnTo>
                  <a:lnTo>
                    <a:pt x="32639" y="255650"/>
                  </a:lnTo>
                  <a:close/>
                </a:path>
                <a:path w="317500" h="314325">
                  <a:moveTo>
                    <a:pt x="9017" y="255650"/>
                  </a:moveTo>
                  <a:lnTo>
                    <a:pt x="2540" y="255650"/>
                  </a:lnTo>
                  <a:lnTo>
                    <a:pt x="0" y="258190"/>
                  </a:lnTo>
                  <a:lnTo>
                    <a:pt x="0" y="264795"/>
                  </a:lnTo>
                  <a:lnTo>
                    <a:pt x="2540" y="267462"/>
                  </a:lnTo>
                  <a:lnTo>
                    <a:pt x="9017" y="267462"/>
                  </a:lnTo>
                  <a:lnTo>
                    <a:pt x="11556" y="264795"/>
                  </a:lnTo>
                  <a:lnTo>
                    <a:pt x="11556" y="258190"/>
                  </a:lnTo>
                  <a:lnTo>
                    <a:pt x="9017" y="255650"/>
                  </a:lnTo>
                  <a:close/>
                </a:path>
                <a:path w="317500" h="314325">
                  <a:moveTo>
                    <a:pt x="314071" y="232537"/>
                  </a:moveTo>
                  <a:lnTo>
                    <a:pt x="307594" y="232537"/>
                  </a:lnTo>
                  <a:lnTo>
                    <a:pt x="305053" y="235076"/>
                  </a:lnTo>
                  <a:lnTo>
                    <a:pt x="305053" y="241680"/>
                  </a:lnTo>
                  <a:lnTo>
                    <a:pt x="307594" y="244093"/>
                  </a:lnTo>
                  <a:lnTo>
                    <a:pt x="314071" y="244093"/>
                  </a:lnTo>
                  <a:lnTo>
                    <a:pt x="316992" y="241680"/>
                  </a:lnTo>
                  <a:lnTo>
                    <a:pt x="316992" y="235076"/>
                  </a:lnTo>
                  <a:lnTo>
                    <a:pt x="314071" y="232537"/>
                  </a:lnTo>
                  <a:close/>
                </a:path>
                <a:path w="317500" h="314325">
                  <a:moveTo>
                    <a:pt x="290956" y="232537"/>
                  </a:moveTo>
                  <a:lnTo>
                    <a:pt x="284606" y="232537"/>
                  </a:lnTo>
                  <a:lnTo>
                    <a:pt x="281940" y="235203"/>
                  </a:lnTo>
                  <a:lnTo>
                    <a:pt x="281940" y="241553"/>
                  </a:lnTo>
                  <a:lnTo>
                    <a:pt x="284606" y="244093"/>
                  </a:lnTo>
                  <a:lnTo>
                    <a:pt x="290956" y="244093"/>
                  </a:lnTo>
                  <a:lnTo>
                    <a:pt x="293497" y="241553"/>
                  </a:lnTo>
                  <a:lnTo>
                    <a:pt x="293497" y="235203"/>
                  </a:lnTo>
                  <a:lnTo>
                    <a:pt x="290956" y="232537"/>
                  </a:lnTo>
                  <a:close/>
                </a:path>
                <a:path w="317500" h="314325">
                  <a:moveTo>
                    <a:pt x="32639" y="232537"/>
                  </a:moveTo>
                  <a:lnTo>
                    <a:pt x="26162" y="232537"/>
                  </a:lnTo>
                  <a:lnTo>
                    <a:pt x="23622" y="235203"/>
                  </a:lnTo>
                  <a:lnTo>
                    <a:pt x="23622" y="241553"/>
                  </a:lnTo>
                  <a:lnTo>
                    <a:pt x="26162" y="244093"/>
                  </a:lnTo>
                  <a:lnTo>
                    <a:pt x="32639" y="244093"/>
                  </a:lnTo>
                  <a:lnTo>
                    <a:pt x="35178" y="241553"/>
                  </a:lnTo>
                  <a:lnTo>
                    <a:pt x="35178" y="235203"/>
                  </a:lnTo>
                  <a:lnTo>
                    <a:pt x="32639" y="232537"/>
                  </a:lnTo>
                  <a:close/>
                </a:path>
                <a:path w="317500" h="314325">
                  <a:moveTo>
                    <a:pt x="9017" y="232537"/>
                  </a:moveTo>
                  <a:lnTo>
                    <a:pt x="2540" y="232537"/>
                  </a:lnTo>
                  <a:lnTo>
                    <a:pt x="0" y="235203"/>
                  </a:lnTo>
                  <a:lnTo>
                    <a:pt x="0" y="241553"/>
                  </a:lnTo>
                  <a:lnTo>
                    <a:pt x="2540" y="244093"/>
                  </a:lnTo>
                  <a:lnTo>
                    <a:pt x="9017" y="244093"/>
                  </a:lnTo>
                  <a:lnTo>
                    <a:pt x="11556" y="241553"/>
                  </a:lnTo>
                  <a:lnTo>
                    <a:pt x="11556" y="235203"/>
                  </a:lnTo>
                  <a:lnTo>
                    <a:pt x="9017" y="232537"/>
                  </a:lnTo>
                  <a:close/>
                </a:path>
                <a:path w="317500" h="314325">
                  <a:moveTo>
                    <a:pt x="314071" y="209041"/>
                  </a:moveTo>
                  <a:lnTo>
                    <a:pt x="307594" y="209041"/>
                  </a:lnTo>
                  <a:lnTo>
                    <a:pt x="305053" y="211582"/>
                  </a:lnTo>
                  <a:lnTo>
                    <a:pt x="305053" y="218186"/>
                  </a:lnTo>
                  <a:lnTo>
                    <a:pt x="307594" y="220599"/>
                  </a:lnTo>
                  <a:lnTo>
                    <a:pt x="314071" y="220599"/>
                  </a:lnTo>
                  <a:lnTo>
                    <a:pt x="316992" y="218186"/>
                  </a:lnTo>
                  <a:lnTo>
                    <a:pt x="316992" y="211582"/>
                  </a:lnTo>
                  <a:lnTo>
                    <a:pt x="314071" y="209041"/>
                  </a:lnTo>
                  <a:close/>
                </a:path>
                <a:path w="317500" h="314325">
                  <a:moveTo>
                    <a:pt x="290956" y="209041"/>
                  </a:moveTo>
                  <a:lnTo>
                    <a:pt x="284606" y="209041"/>
                  </a:lnTo>
                  <a:lnTo>
                    <a:pt x="281940" y="211709"/>
                  </a:lnTo>
                  <a:lnTo>
                    <a:pt x="281940" y="218059"/>
                  </a:lnTo>
                  <a:lnTo>
                    <a:pt x="284606" y="220599"/>
                  </a:lnTo>
                  <a:lnTo>
                    <a:pt x="290956" y="220599"/>
                  </a:lnTo>
                  <a:lnTo>
                    <a:pt x="293497" y="218059"/>
                  </a:lnTo>
                  <a:lnTo>
                    <a:pt x="293497" y="211709"/>
                  </a:lnTo>
                  <a:lnTo>
                    <a:pt x="290956" y="209041"/>
                  </a:lnTo>
                  <a:close/>
                </a:path>
                <a:path w="317500" h="314325">
                  <a:moveTo>
                    <a:pt x="32639" y="209041"/>
                  </a:moveTo>
                  <a:lnTo>
                    <a:pt x="26162" y="209041"/>
                  </a:lnTo>
                  <a:lnTo>
                    <a:pt x="23622" y="211709"/>
                  </a:lnTo>
                  <a:lnTo>
                    <a:pt x="23622" y="218059"/>
                  </a:lnTo>
                  <a:lnTo>
                    <a:pt x="26162" y="220599"/>
                  </a:lnTo>
                  <a:lnTo>
                    <a:pt x="32639" y="220599"/>
                  </a:lnTo>
                  <a:lnTo>
                    <a:pt x="35178" y="218059"/>
                  </a:lnTo>
                  <a:lnTo>
                    <a:pt x="35178" y="211709"/>
                  </a:lnTo>
                  <a:lnTo>
                    <a:pt x="32639" y="209041"/>
                  </a:lnTo>
                  <a:close/>
                </a:path>
                <a:path w="317500" h="314325">
                  <a:moveTo>
                    <a:pt x="9017" y="209041"/>
                  </a:moveTo>
                  <a:lnTo>
                    <a:pt x="2540" y="209041"/>
                  </a:lnTo>
                  <a:lnTo>
                    <a:pt x="0" y="211709"/>
                  </a:lnTo>
                  <a:lnTo>
                    <a:pt x="0" y="218059"/>
                  </a:lnTo>
                  <a:lnTo>
                    <a:pt x="2540" y="220599"/>
                  </a:lnTo>
                  <a:lnTo>
                    <a:pt x="9017" y="220599"/>
                  </a:lnTo>
                  <a:lnTo>
                    <a:pt x="11556" y="218059"/>
                  </a:lnTo>
                  <a:lnTo>
                    <a:pt x="11556" y="211709"/>
                  </a:lnTo>
                  <a:lnTo>
                    <a:pt x="9017" y="209041"/>
                  </a:lnTo>
                  <a:close/>
                </a:path>
                <a:path w="317500" h="314325">
                  <a:moveTo>
                    <a:pt x="314071" y="185800"/>
                  </a:moveTo>
                  <a:lnTo>
                    <a:pt x="307594" y="185800"/>
                  </a:lnTo>
                  <a:lnTo>
                    <a:pt x="305053" y="188595"/>
                  </a:lnTo>
                  <a:lnTo>
                    <a:pt x="305053" y="195072"/>
                  </a:lnTo>
                  <a:lnTo>
                    <a:pt x="307594" y="197612"/>
                  </a:lnTo>
                  <a:lnTo>
                    <a:pt x="314071" y="197612"/>
                  </a:lnTo>
                  <a:lnTo>
                    <a:pt x="316992" y="195072"/>
                  </a:lnTo>
                  <a:lnTo>
                    <a:pt x="316992" y="188595"/>
                  </a:lnTo>
                  <a:lnTo>
                    <a:pt x="314071" y="185800"/>
                  </a:lnTo>
                  <a:close/>
                </a:path>
                <a:path w="317500" h="314325">
                  <a:moveTo>
                    <a:pt x="290702" y="185800"/>
                  </a:moveTo>
                  <a:lnTo>
                    <a:pt x="284479" y="185800"/>
                  </a:lnTo>
                  <a:lnTo>
                    <a:pt x="281940" y="188595"/>
                  </a:lnTo>
                  <a:lnTo>
                    <a:pt x="281940" y="195072"/>
                  </a:lnTo>
                  <a:lnTo>
                    <a:pt x="284479" y="197612"/>
                  </a:lnTo>
                  <a:lnTo>
                    <a:pt x="290702" y="197612"/>
                  </a:lnTo>
                  <a:lnTo>
                    <a:pt x="293497" y="195072"/>
                  </a:lnTo>
                  <a:lnTo>
                    <a:pt x="293497" y="188595"/>
                  </a:lnTo>
                  <a:lnTo>
                    <a:pt x="290702" y="185800"/>
                  </a:lnTo>
                  <a:close/>
                </a:path>
                <a:path w="317500" h="314325">
                  <a:moveTo>
                    <a:pt x="32766" y="185800"/>
                  </a:moveTo>
                  <a:lnTo>
                    <a:pt x="26543" y="185800"/>
                  </a:lnTo>
                  <a:lnTo>
                    <a:pt x="23622" y="188595"/>
                  </a:lnTo>
                  <a:lnTo>
                    <a:pt x="23622" y="195072"/>
                  </a:lnTo>
                  <a:lnTo>
                    <a:pt x="26543" y="197612"/>
                  </a:lnTo>
                  <a:lnTo>
                    <a:pt x="32766" y="197612"/>
                  </a:lnTo>
                  <a:lnTo>
                    <a:pt x="35178" y="195072"/>
                  </a:lnTo>
                  <a:lnTo>
                    <a:pt x="35178" y="188595"/>
                  </a:lnTo>
                  <a:lnTo>
                    <a:pt x="32766" y="185800"/>
                  </a:lnTo>
                  <a:close/>
                </a:path>
                <a:path w="317500" h="314325">
                  <a:moveTo>
                    <a:pt x="9144" y="185800"/>
                  </a:moveTo>
                  <a:lnTo>
                    <a:pt x="2921" y="185800"/>
                  </a:lnTo>
                  <a:lnTo>
                    <a:pt x="0" y="188595"/>
                  </a:lnTo>
                  <a:lnTo>
                    <a:pt x="0" y="195072"/>
                  </a:lnTo>
                  <a:lnTo>
                    <a:pt x="2921" y="197612"/>
                  </a:lnTo>
                  <a:lnTo>
                    <a:pt x="9144" y="197612"/>
                  </a:lnTo>
                  <a:lnTo>
                    <a:pt x="11556" y="195072"/>
                  </a:lnTo>
                  <a:lnTo>
                    <a:pt x="11556" y="188595"/>
                  </a:lnTo>
                  <a:lnTo>
                    <a:pt x="9144" y="185800"/>
                  </a:lnTo>
                  <a:close/>
                </a:path>
                <a:path w="317500" h="314325">
                  <a:moveTo>
                    <a:pt x="314071" y="162687"/>
                  </a:moveTo>
                  <a:lnTo>
                    <a:pt x="307594" y="162687"/>
                  </a:lnTo>
                  <a:lnTo>
                    <a:pt x="305053" y="165608"/>
                  </a:lnTo>
                  <a:lnTo>
                    <a:pt x="305053" y="171830"/>
                  </a:lnTo>
                  <a:lnTo>
                    <a:pt x="307594" y="174243"/>
                  </a:lnTo>
                  <a:lnTo>
                    <a:pt x="314071" y="174243"/>
                  </a:lnTo>
                  <a:lnTo>
                    <a:pt x="316992" y="171830"/>
                  </a:lnTo>
                  <a:lnTo>
                    <a:pt x="316992" y="165608"/>
                  </a:lnTo>
                  <a:lnTo>
                    <a:pt x="314071" y="162687"/>
                  </a:lnTo>
                  <a:close/>
                </a:path>
                <a:path w="317500" h="314325">
                  <a:moveTo>
                    <a:pt x="290956" y="162687"/>
                  </a:moveTo>
                  <a:lnTo>
                    <a:pt x="284606" y="162687"/>
                  </a:lnTo>
                  <a:lnTo>
                    <a:pt x="281940" y="165353"/>
                  </a:lnTo>
                  <a:lnTo>
                    <a:pt x="281940" y="171703"/>
                  </a:lnTo>
                  <a:lnTo>
                    <a:pt x="284606" y="174243"/>
                  </a:lnTo>
                  <a:lnTo>
                    <a:pt x="290956" y="174243"/>
                  </a:lnTo>
                  <a:lnTo>
                    <a:pt x="293497" y="171703"/>
                  </a:lnTo>
                  <a:lnTo>
                    <a:pt x="293497" y="165353"/>
                  </a:lnTo>
                  <a:lnTo>
                    <a:pt x="290956" y="162687"/>
                  </a:lnTo>
                  <a:close/>
                </a:path>
                <a:path w="317500" h="314325">
                  <a:moveTo>
                    <a:pt x="32639" y="162687"/>
                  </a:moveTo>
                  <a:lnTo>
                    <a:pt x="26162" y="162687"/>
                  </a:lnTo>
                  <a:lnTo>
                    <a:pt x="23622" y="165353"/>
                  </a:lnTo>
                  <a:lnTo>
                    <a:pt x="23622" y="171703"/>
                  </a:lnTo>
                  <a:lnTo>
                    <a:pt x="26162" y="174243"/>
                  </a:lnTo>
                  <a:lnTo>
                    <a:pt x="32639" y="174243"/>
                  </a:lnTo>
                  <a:lnTo>
                    <a:pt x="35178" y="171703"/>
                  </a:lnTo>
                  <a:lnTo>
                    <a:pt x="35178" y="165353"/>
                  </a:lnTo>
                  <a:lnTo>
                    <a:pt x="32639" y="162687"/>
                  </a:lnTo>
                  <a:close/>
                </a:path>
                <a:path w="317500" h="314325">
                  <a:moveTo>
                    <a:pt x="9017" y="162687"/>
                  </a:moveTo>
                  <a:lnTo>
                    <a:pt x="2540" y="162687"/>
                  </a:lnTo>
                  <a:lnTo>
                    <a:pt x="0" y="165353"/>
                  </a:lnTo>
                  <a:lnTo>
                    <a:pt x="0" y="171703"/>
                  </a:lnTo>
                  <a:lnTo>
                    <a:pt x="2540" y="174243"/>
                  </a:lnTo>
                  <a:lnTo>
                    <a:pt x="9017" y="174243"/>
                  </a:lnTo>
                  <a:lnTo>
                    <a:pt x="11556" y="171703"/>
                  </a:lnTo>
                  <a:lnTo>
                    <a:pt x="11556" y="165353"/>
                  </a:lnTo>
                  <a:lnTo>
                    <a:pt x="9017" y="162687"/>
                  </a:lnTo>
                  <a:close/>
                </a:path>
                <a:path w="317500" h="314325">
                  <a:moveTo>
                    <a:pt x="314071" y="139700"/>
                  </a:moveTo>
                  <a:lnTo>
                    <a:pt x="307594" y="139700"/>
                  </a:lnTo>
                  <a:lnTo>
                    <a:pt x="305053" y="142112"/>
                  </a:lnTo>
                  <a:lnTo>
                    <a:pt x="305053" y="148336"/>
                  </a:lnTo>
                  <a:lnTo>
                    <a:pt x="307594" y="151257"/>
                  </a:lnTo>
                  <a:lnTo>
                    <a:pt x="314071" y="151257"/>
                  </a:lnTo>
                  <a:lnTo>
                    <a:pt x="316992" y="148336"/>
                  </a:lnTo>
                  <a:lnTo>
                    <a:pt x="316992" y="142112"/>
                  </a:lnTo>
                  <a:lnTo>
                    <a:pt x="314071" y="139700"/>
                  </a:lnTo>
                  <a:close/>
                </a:path>
                <a:path w="317500" h="314325">
                  <a:moveTo>
                    <a:pt x="290956" y="139700"/>
                  </a:moveTo>
                  <a:lnTo>
                    <a:pt x="284606" y="139700"/>
                  </a:lnTo>
                  <a:lnTo>
                    <a:pt x="281940" y="142239"/>
                  </a:lnTo>
                  <a:lnTo>
                    <a:pt x="281940" y="148589"/>
                  </a:lnTo>
                  <a:lnTo>
                    <a:pt x="284606" y="151257"/>
                  </a:lnTo>
                  <a:lnTo>
                    <a:pt x="290956" y="151257"/>
                  </a:lnTo>
                  <a:lnTo>
                    <a:pt x="293497" y="148589"/>
                  </a:lnTo>
                  <a:lnTo>
                    <a:pt x="293497" y="142239"/>
                  </a:lnTo>
                  <a:lnTo>
                    <a:pt x="290956" y="139700"/>
                  </a:lnTo>
                  <a:close/>
                </a:path>
                <a:path w="317500" h="314325">
                  <a:moveTo>
                    <a:pt x="32639" y="139700"/>
                  </a:moveTo>
                  <a:lnTo>
                    <a:pt x="26162" y="139700"/>
                  </a:lnTo>
                  <a:lnTo>
                    <a:pt x="23622" y="142239"/>
                  </a:lnTo>
                  <a:lnTo>
                    <a:pt x="23622" y="148589"/>
                  </a:lnTo>
                  <a:lnTo>
                    <a:pt x="26162" y="151257"/>
                  </a:lnTo>
                  <a:lnTo>
                    <a:pt x="32639" y="151257"/>
                  </a:lnTo>
                  <a:lnTo>
                    <a:pt x="35178" y="148589"/>
                  </a:lnTo>
                  <a:lnTo>
                    <a:pt x="35178" y="142239"/>
                  </a:lnTo>
                  <a:lnTo>
                    <a:pt x="32639" y="139700"/>
                  </a:lnTo>
                  <a:close/>
                </a:path>
                <a:path w="317500" h="314325">
                  <a:moveTo>
                    <a:pt x="9017" y="139700"/>
                  </a:moveTo>
                  <a:lnTo>
                    <a:pt x="2540" y="139700"/>
                  </a:lnTo>
                  <a:lnTo>
                    <a:pt x="0" y="142239"/>
                  </a:lnTo>
                  <a:lnTo>
                    <a:pt x="0" y="148589"/>
                  </a:lnTo>
                  <a:lnTo>
                    <a:pt x="2540" y="151257"/>
                  </a:lnTo>
                  <a:lnTo>
                    <a:pt x="9017" y="151257"/>
                  </a:lnTo>
                  <a:lnTo>
                    <a:pt x="11556" y="148589"/>
                  </a:lnTo>
                  <a:lnTo>
                    <a:pt x="11556" y="142239"/>
                  </a:lnTo>
                  <a:lnTo>
                    <a:pt x="9017" y="139700"/>
                  </a:lnTo>
                  <a:close/>
                </a:path>
                <a:path w="317500" h="314325">
                  <a:moveTo>
                    <a:pt x="314071" y="116204"/>
                  </a:moveTo>
                  <a:lnTo>
                    <a:pt x="307594" y="116204"/>
                  </a:lnTo>
                  <a:lnTo>
                    <a:pt x="305053" y="118617"/>
                  </a:lnTo>
                  <a:lnTo>
                    <a:pt x="305053" y="125222"/>
                  </a:lnTo>
                  <a:lnTo>
                    <a:pt x="307594" y="127762"/>
                  </a:lnTo>
                  <a:lnTo>
                    <a:pt x="314071" y="127762"/>
                  </a:lnTo>
                  <a:lnTo>
                    <a:pt x="316992" y="125222"/>
                  </a:lnTo>
                  <a:lnTo>
                    <a:pt x="316992" y="118617"/>
                  </a:lnTo>
                  <a:lnTo>
                    <a:pt x="314071" y="116204"/>
                  </a:lnTo>
                  <a:close/>
                </a:path>
                <a:path w="317500" h="314325">
                  <a:moveTo>
                    <a:pt x="290956" y="116204"/>
                  </a:moveTo>
                  <a:lnTo>
                    <a:pt x="284606" y="116204"/>
                  </a:lnTo>
                  <a:lnTo>
                    <a:pt x="281940" y="118745"/>
                  </a:lnTo>
                  <a:lnTo>
                    <a:pt x="281940" y="125095"/>
                  </a:lnTo>
                  <a:lnTo>
                    <a:pt x="284606" y="127762"/>
                  </a:lnTo>
                  <a:lnTo>
                    <a:pt x="290956" y="127762"/>
                  </a:lnTo>
                  <a:lnTo>
                    <a:pt x="293497" y="125095"/>
                  </a:lnTo>
                  <a:lnTo>
                    <a:pt x="293497" y="118745"/>
                  </a:lnTo>
                  <a:lnTo>
                    <a:pt x="290956" y="116204"/>
                  </a:lnTo>
                  <a:close/>
                </a:path>
                <a:path w="317500" h="314325">
                  <a:moveTo>
                    <a:pt x="32639" y="116204"/>
                  </a:moveTo>
                  <a:lnTo>
                    <a:pt x="26162" y="116204"/>
                  </a:lnTo>
                  <a:lnTo>
                    <a:pt x="23622" y="118745"/>
                  </a:lnTo>
                  <a:lnTo>
                    <a:pt x="23622" y="125095"/>
                  </a:lnTo>
                  <a:lnTo>
                    <a:pt x="26162" y="127762"/>
                  </a:lnTo>
                  <a:lnTo>
                    <a:pt x="32639" y="127762"/>
                  </a:lnTo>
                  <a:lnTo>
                    <a:pt x="35178" y="125095"/>
                  </a:lnTo>
                  <a:lnTo>
                    <a:pt x="35178" y="118745"/>
                  </a:lnTo>
                  <a:lnTo>
                    <a:pt x="32639" y="116204"/>
                  </a:lnTo>
                  <a:close/>
                </a:path>
                <a:path w="317500" h="314325">
                  <a:moveTo>
                    <a:pt x="9017" y="116204"/>
                  </a:moveTo>
                  <a:lnTo>
                    <a:pt x="2540" y="116204"/>
                  </a:lnTo>
                  <a:lnTo>
                    <a:pt x="0" y="118745"/>
                  </a:lnTo>
                  <a:lnTo>
                    <a:pt x="0" y="125095"/>
                  </a:lnTo>
                  <a:lnTo>
                    <a:pt x="2540" y="127762"/>
                  </a:lnTo>
                  <a:lnTo>
                    <a:pt x="9017" y="127762"/>
                  </a:lnTo>
                  <a:lnTo>
                    <a:pt x="11556" y="125095"/>
                  </a:lnTo>
                  <a:lnTo>
                    <a:pt x="11556" y="118745"/>
                  </a:lnTo>
                  <a:lnTo>
                    <a:pt x="9017" y="116204"/>
                  </a:lnTo>
                  <a:close/>
                </a:path>
                <a:path w="317500" h="314325">
                  <a:moveTo>
                    <a:pt x="314071" y="92837"/>
                  </a:moveTo>
                  <a:lnTo>
                    <a:pt x="307594" y="92837"/>
                  </a:lnTo>
                  <a:lnTo>
                    <a:pt x="305053" y="95376"/>
                  </a:lnTo>
                  <a:lnTo>
                    <a:pt x="305053" y="102235"/>
                  </a:lnTo>
                  <a:lnTo>
                    <a:pt x="307594" y="104648"/>
                  </a:lnTo>
                  <a:lnTo>
                    <a:pt x="314071" y="104648"/>
                  </a:lnTo>
                  <a:lnTo>
                    <a:pt x="316992" y="102235"/>
                  </a:lnTo>
                  <a:lnTo>
                    <a:pt x="316992" y="95376"/>
                  </a:lnTo>
                  <a:lnTo>
                    <a:pt x="314071" y="92837"/>
                  </a:lnTo>
                  <a:close/>
                </a:path>
                <a:path w="317500" h="314325">
                  <a:moveTo>
                    <a:pt x="290956" y="92837"/>
                  </a:moveTo>
                  <a:lnTo>
                    <a:pt x="284606" y="92837"/>
                  </a:lnTo>
                  <a:lnTo>
                    <a:pt x="281940" y="95503"/>
                  </a:lnTo>
                  <a:lnTo>
                    <a:pt x="281940" y="102108"/>
                  </a:lnTo>
                  <a:lnTo>
                    <a:pt x="284606" y="104648"/>
                  </a:lnTo>
                  <a:lnTo>
                    <a:pt x="290956" y="104648"/>
                  </a:lnTo>
                  <a:lnTo>
                    <a:pt x="293497" y="102108"/>
                  </a:lnTo>
                  <a:lnTo>
                    <a:pt x="293497" y="95503"/>
                  </a:lnTo>
                  <a:lnTo>
                    <a:pt x="290956" y="92837"/>
                  </a:lnTo>
                  <a:close/>
                </a:path>
                <a:path w="317500" h="314325">
                  <a:moveTo>
                    <a:pt x="32639" y="92837"/>
                  </a:moveTo>
                  <a:lnTo>
                    <a:pt x="26162" y="92837"/>
                  </a:lnTo>
                  <a:lnTo>
                    <a:pt x="23622" y="95503"/>
                  </a:lnTo>
                  <a:lnTo>
                    <a:pt x="23622" y="102108"/>
                  </a:lnTo>
                  <a:lnTo>
                    <a:pt x="26162" y="104648"/>
                  </a:lnTo>
                  <a:lnTo>
                    <a:pt x="32639" y="104648"/>
                  </a:lnTo>
                  <a:lnTo>
                    <a:pt x="35178" y="102108"/>
                  </a:lnTo>
                  <a:lnTo>
                    <a:pt x="35178" y="95503"/>
                  </a:lnTo>
                  <a:lnTo>
                    <a:pt x="32639" y="92837"/>
                  </a:lnTo>
                  <a:close/>
                </a:path>
                <a:path w="317500" h="314325">
                  <a:moveTo>
                    <a:pt x="9017" y="92837"/>
                  </a:moveTo>
                  <a:lnTo>
                    <a:pt x="2540" y="92837"/>
                  </a:lnTo>
                  <a:lnTo>
                    <a:pt x="0" y="95503"/>
                  </a:lnTo>
                  <a:lnTo>
                    <a:pt x="0" y="102108"/>
                  </a:lnTo>
                  <a:lnTo>
                    <a:pt x="2540" y="104648"/>
                  </a:lnTo>
                  <a:lnTo>
                    <a:pt x="9017" y="104648"/>
                  </a:lnTo>
                  <a:lnTo>
                    <a:pt x="11556" y="102108"/>
                  </a:lnTo>
                  <a:lnTo>
                    <a:pt x="11556" y="95503"/>
                  </a:lnTo>
                  <a:lnTo>
                    <a:pt x="9017" y="92837"/>
                  </a:lnTo>
                  <a:close/>
                </a:path>
                <a:path w="317500" h="314325">
                  <a:moveTo>
                    <a:pt x="314071" y="69850"/>
                  </a:moveTo>
                  <a:lnTo>
                    <a:pt x="307594" y="69850"/>
                  </a:lnTo>
                  <a:lnTo>
                    <a:pt x="305053" y="72262"/>
                  </a:lnTo>
                  <a:lnTo>
                    <a:pt x="305053" y="78866"/>
                  </a:lnTo>
                  <a:lnTo>
                    <a:pt x="307594" y="81407"/>
                  </a:lnTo>
                  <a:lnTo>
                    <a:pt x="314071" y="81407"/>
                  </a:lnTo>
                  <a:lnTo>
                    <a:pt x="316992" y="78866"/>
                  </a:lnTo>
                  <a:lnTo>
                    <a:pt x="316992" y="72262"/>
                  </a:lnTo>
                  <a:lnTo>
                    <a:pt x="314071" y="69850"/>
                  </a:lnTo>
                  <a:close/>
                </a:path>
                <a:path w="317500" h="314325">
                  <a:moveTo>
                    <a:pt x="290956" y="69850"/>
                  </a:moveTo>
                  <a:lnTo>
                    <a:pt x="284606" y="69850"/>
                  </a:lnTo>
                  <a:lnTo>
                    <a:pt x="281940" y="72389"/>
                  </a:lnTo>
                  <a:lnTo>
                    <a:pt x="281940" y="78739"/>
                  </a:lnTo>
                  <a:lnTo>
                    <a:pt x="284606" y="81407"/>
                  </a:lnTo>
                  <a:lnTo>
                    <a:pt x="290956" y="81407"/>
                  </a:lnTo>
                  <a:lnTo>
                    <a:pt x="293497" y="78739"/>
                  </a:lnTo>
                  <a:lnTo>
                    <a:pt x="293497" y="72389"/>
                  </a:lnTo>
                  <a:lnTo>
                    <a:pt x="290956" y="69850"/>
                  </a:lnTo>
                  <a:close/>
                </a:path>
                <a:path w="317500" h="314325">
                  <a:moveTo>
                    <a:pt x="32639" y="69850"/>
                  </a:moveTo>
                  <a:lnTo>
                    <a:pt x="26162" y="69850"/>
                  </a:lnTo>
                  <a:lnTo>
                    <a:pt x="23622" y="72389"/>
                  </a:lnTo>
                  <a:lnTo>
                    <a:pt x="23622" y="78739"/>
                  </a:lnTo>
                  <a:lnTo>
                    <a:pt x="26162" y="81407"/>
                  </a:lnTo>
                  <a:lnTo>
                    <a:pt x="32639" y="81407"/>
                  </a:lnTo>
                  <a:lnTo>
                    <a:pt x="35178" y="78739"/>
                  </a:lnTo>
                  <a:lnTo>
                    <a:pt x="35178" y="72389"/>
                  </a:lnTo>
                  <a:lnTo>
                    <a:pt x="32639" y="69850"/>
                  </a:lnTo>
                  <a:close/>
                </a:path>
                <a:path w="317500" h="314325">
                  <a:moveTo>
                    <a:pt x="9017" y="69850"/>
                  </a:moveTo>
                  <a:lnTo>
                    <a:pt x="2540" y="69850"/>
                  </a:lnTo>
                  <a:lnTo>
                    <a:pt x="0" y="72389"/>
                  </a:lnTo>
                  <a:lnTo>
                    <a:pt x="0" y="78739"/>
                  </a:lnTo>
                  <a:lnTo>
                    <a:pt x="2540" y="81407"/>
                  </a:lnTo>
                  <a:lnTo>
                    <a:pt x="9017" y="81407"/>
                  </a:lnTo>
                  <a:lnTo>
                    <a:pt x="11556" y="78739"/>
                  </a:lnTo>
                  <a:lnTo>
                    <a:pt x="11556" y="72389"/>
                  </a:lnTo>
                  <a:lnTo>
                    <a:pt x="9017" y="69850"/>
                  </a:lnTo>
                  <a:close/>
                </a:path>
                <a:path w="317500" h="314325">
                  <a:moveTo>
                    <a:pt x="314071" y="46354"/>
                  </a:moveTo>
                  <a:lnTo>
                    <a:pt x="307594" y="46354"/>
                  </a:lnTo>
                  <a:lnTo>
                    <a:pt x="305053" y="49275"/>
                  </a:lnTo>
                  <a:lnTo>
                    <a:pt x="305053" y="55372"/>
                  </a:lnTo>
                  <a:lnTo>
                    <a:pt x="307594" y="57912"/>
                  </a:lnTo>
                  <a:lnTo>
                    <a:pt x="314071" y="57912"/>
                  </a:lnTo>
                  <a:lnTo>
                    <a:pt x="316992" y="55372"/>
                  </a:lnTo>
                  <a:lnTo>
                    <a:pt x="316992" y="49275"/>
                  </a:lnTo>
                  <a:lnTo>
                    <a:pt x="314071" y="46354"/>
                  </a:lnTo>
                  <a:close/>
                </a:path>
                <a:path w="317500" h="314325">
                  <a:moveTo>
                    <a:pt x="290956" y="46354"/>
                  </a:moveTo>
                  <a:lnTo>
                    <a:pt x="284606" y="46354"/>
                  </a:lnTo>
                  <a:lnTo>
                    <a:pt x="281940" y="48895"/>
                  </a:lnTo>
                  <a:lnTo>
                    <a:pt x="281940" y="55245"/>
                  </a:lnTo>
                  <a:lnTo>
                    <a:pt x="284606" y="57912"/>
                  </a:lnTo>
                  <a:lnTo>
                    <a:pt x="290956" y="57912"/>
                  </a:lnTo>
                  <a:lnTo>
                    <a:pt x="293497" y="55245"/>
                  </a:lnTo>
                  <a:lnTo>
                    <a:pt x="293497" y="48895"/>
                  </a:lnTo>
                  <a:lnTo>
                    <a:pt x="290956" y="46354"/>
                  </a:lnTo>
                  <a:close/>
                </a:path>
                <a:path w="317500" h="314325">
                  <a:moveTo>
                    <a:pt x="32639" y="46354"/>
                  </a:moveTo>
                  <a:lnTo>
                    <a:pt x="26162" y="46354"/>
                  </a:lnTo>
                  <a:lnTo>
                    <a:pt x="23622" y="48895"/>
                  </a:lnTo>
                  <a:lnTo>
                    <a:pt x="23622" y="55245"/>
                  </a:lnTo>
                  <a:lnTo>
                    <a:pt x="26162" y="57912"/>
                  </a:lnTo>
                  <a:lnTo>
                    <a:pt x="32639" y="57912"/>
                  </a:lnTo>
                  <a:lnTo>
                    <a:pt x="35178" y="55245"/>
                  </a:lnTo>
                  <a:lnTo>
                    <a:pt x="35178" y="48895"/>
                  </a:lnTo>
                  <a:lnTo>
                    <a:pt x="32639" y="46354"/>
                  </a:lnTo>
                  <a:close/>
                </a:path>
                <a:path w="317500" h="314325">
                  <a:moveTo>
                    <a:pt x="9017" y="46354"/>
                  </a:moveTo>
                  <a:lnTo>
                    <a:pt x="2540" y="46354"/>
                  </a:lnTo>
                  <a:lnTo>
                    <a:pt x="0" y="48895"/>
                  </a:lnTo>
                  <a:lnTo>
                    <a:pt x="0" y="55245"/>
                  </a:lnTo>
                  <a:lnTo>
                    <a:pt x="2540" y="57912"/>
                  </a:lnTo>
                  <a:lnTo>
                    <a:pt x="9017" y="57912"/>
                  </a:lnTo>
                  <a:lnTo>
                    <a:pt x="11556" y="55245"/>
                  </a:lnTo>
                  <a:lnTo>
                    <a:pt x="11556" y="48895"/>
                  </a:lnTo>
                  <a:lnTo>
                    <a:pt x="9017" y="46354"/>
                  </a:lnTo>
                  <a:close/>
                </a:path>
                <a:path w="317500" h="314325">
                  <a:moveTo>
                    <a:pt x="314071" y="23367"/>
                  </a:moveTo>
                  <a:lnTo>
                    <a:pt x="307594" y="23367"/>
                  </a:lnTo>
                  <a:lnTo>
                    <a:pt x="305053" y="25780"/>
                  </a:lnTo>
                  <a:lnTo>
                    <a:pt x="305053" y="32003"/>
                  </a:lnTo>
                  <a:lnTo>
                    <a:pt x="307594" y="34798"/>
                  </a:lnTo>
                  <a:lnTo>
                    <a:pt x="314071" y="34798"/>
                  </a:lnTo>
                  <a:lnTo>
                    <a:pt x="316992" y="32003"/>
                  </a:lnTo>
                  <a:lnTo>
                    <a:pt x="316992" y="25780"/>
                  </a:lnTo>
                  <a:lnTo>
                    <a:pt x="314071" y="23367"/>
                  </a:lnTo>
                  <a:close/>
                </a:path>
                <a:path w="317500" h="314325">
                  <a:moveTo>
                    <a:pt x="290956" y="23367"/>
                  </a:moveTo>
                  <a:lnTo>
                    <a:pt x="284606" y="23367"/>
                  </a:lnTo>
                  <a:lnTo>
                    <a:pt x="281940" y="25908"/>
                  </a:lnTo>
                  <a:lnTo>
                    <a:pt x="281940" y="32258"/>
                  </a:lnTo>
                  <a:lnTo>
                    <a:pt x="284606" y="34798"/>
                  </a:lnTo>
                  <a:lnTo>
                    <a:pt x="290956" y="34798"/>
                  </a:lnTo>
                  <a:lnTo>
                    <a:pt x="293497" y="32258"/>
                  </a:lnTo>
                  <a:lnTo>
                    <a:pt x="293497" y="25908"/>
                  </a:lnTo>
                  <a:lnTo>
                    <a:pt x="290956" y="23367"/>
                  </a:lnTo>
                  <a:close/>
                </a:path>
                <a:path w="317500" h="314325">
                  <a:moveTo>
                    <a:pt x="267462" y="23367"/>
                  </a:moveTo>
                  <a:lnTo>
                    <a:pt x="261112" y="23367"/>
                  </a:lnTo>
                  <a:lnTo>
                    <a:pt x="258445" y="25908"/>
                  </a:lnTo>
                  <a:lnTo>
                    <a:pt x="258445" y="32258"/>
                  </a:lnTo>
                  <a:lnTo>
                    <a:pt x="261112" y="34798"/>
                  </a:lnTo>
                  <a:lnTo>
                    <a:pt x="267462" y="34798"/>
                  </a:lnTo>
                  <a:lnTo>
                    <a:pt x="270128" y="32258"/>
                  </a:lnTo>
                  <a:lnTo>
                    <a:pt x="270128" y="25908"/>
                  </a:lnTo>
                  <a:lnTo>
                    <a:pt x="267462" y="23367"/>
                  </a:lnTo>
                  <a:close/>
                </a:path>
                <a:path w="317500" h="314325">
                  <a:moveTo>
                    <a:pt x="243840" y="23367"/>
                  </a:moveTo>
                  <a:lnTo>
                    <a:pt x="237236" y="23367"/>
                  </a:lnTo>
                  <a:lnTo>
                    <a:pt x="234569" y="25908"/>
                  </a:lnTo>
                  <a:lnTo>
                    <a:pt x="234569" y="32258"/>
                  </a:lnTo>
                  <a:lnTo>
                    <a:pt x="237236" y="34798"/>
                  </a:lnTo>
                  <a:lnTo>
                    <a:pt x="243840" y="34798"/>
                  </a:lnTo>
                  <a:lnTo>
                    <a:pt x="246506" y="32258"/>
                  </a:lnTo>
                  <a:lnTo>
                    <a:pt x="246506" y="25908"/>
                  </a:lnTo>
                  <a:lnTo>
                    <a:pt x="243840" y="23367"/>
                  </a:lnTo>
                  <a:close/>
                </a:path>
                <a:path w="317500" h="314325">
                  <a:moveTo>
                    <a:pt x="220345" y="23367"/>
                  </a:moveTo>
                  <a:lnTo>
                    <a:pt x="213614" y="23367"/>
                  </a:lnTo>
                  <a:lnTo>
                    <a:pt x="210947" y="25908"/>
                  </a:lnTo>
                  <a:lnTo>
                    <a:pt x="210947" y="32258"/>
                  </a:lnTo>
                  <a:lnTo>
                    <a:pt x="213614" y="34798"/>
                  </a:lnTo>
                  <a:lnTo>
                    <a:pt x="220345" y="34798"/>
                  </a:lnTo>
                  <a:lnTo>
                    <a:pt x="223012" y="32258"/>
                  </a:lnTo>
                  <a:lnTo>
                    <a:pt x="223012" y="25908"/>
                  </a:lnTo>
                  <a:lnTo>
                    <a:pt x="220345" y="23367"/>
                  </a:lnTo>
                  <a:close/>
                </a:path>
                <a:path w="317500" h="314325">
                  <a:moveTo>
                    <a:pt x="196850" y="23367"/>
                  </a:moveTo>
                  <a:lnTo>
                    <a:pt x="190373" y="23367"/>
                  </a:lnTo>
                  <a:lnTo>
                    <a:pt x="187833" y="25908"/>
                  </a:lnTo>
                  <a:lnTo>
                    <a:pt x="187833" y="32258"/>
                  </a:lnTo>
                  <a:lnTo>
                    <a:pt x="190373" y="34798"/>
                  </a:lnTo>
                  <a:lnTo>
                    <a:pt x="196850" y="34798"/>
                  </a:lnTo>
                  <a:lnTo>
                    <a:pt x="199390" y="32258"/>
                  </a:lnTo>
                  <a:lnTo>
                    <a:pt x="199390" y="25908"/>
                  </a:lnTo>
                  <a:lnTo>
                    <a:pt x="196850" y="23367"/>
                  </a:lnTo>
                  <a:close/>
                </a:path>
                <a:path w="317500" h="314325">
                  <a:moveTo>
                    <a:pt x="173354" y="23367"/>
                  </a:moveTo>
                  <a:lnTo>
                    <a:pt x="167004" y="23367"/>
                  </a:lnTo>
                  <a:lnTo>
                    <a:pt x="164338" y="25908"/>
                  </a:lnTo>
                  <a:lnTo>
                    <a:pt x="164338" y="32258"/>
                  </a:lnTo>
                  <a:lnTo>
                    <a:pt x="167004" y="34798"/>
                  </a:lnTo>
                  <a:lnTo>
                    <a:pt x="173354" y="34798"/>
                  </a:lnTo>
                  <a:lnTo>
                    <a:pt x="175895" y="32258"/>
                  </a:lnTo>
                  <a:lnTo>
                    <a:pt x="175895" y="25908"/>
                  </a:lnTo>
                  <a:lnTo>
                    <a:pt x="173354" y="23367"/>
                  </a:lnTo>
                  <a:close/>
                </a:path>
                <a:path w="317500" h="314325">
                  <a:moveTo>
                    <a:pt x="150114" y="23367"/>
                  </a:moveTo>
                  <a:lnTo>
                    <a:pt x="143383" y="23367"/>
                  </a:lnTo>
                  <a:lnTo>
                    <a:pt x="140716" y="25908"/>
                  </a:lnTo>
                  <a:lnTo>
                    <a:pt x="140716" y="32258"/>
                  </a:lnTo>
                  <a:lnTo>
                    <a:pt x="143383" y="34798"/>
                  </a:lnTo>
                  <a:lnTo>
                    <a:pt x="150114" y="34798"/>
                  </a:lnTo>
                  <a:lnTo>
                    <a:pt x="152780" y="32258"/>
                  </a:lnTo>
                  <a:lnTo>
                    <a:pt x="152780" y="25908"/>
                  </a:lnTo>
                  <a:lnTo>
                    <a:pt x="150114" y="23367"/>
                  </a:lnTo>
                  <a:close/>
                </a:path>
                <a:path w="317500" h="314325">
                  <a:moveTo>
                    <a:pt x="126619" y="23367"/>
                  </a:moveTo>
                  <a:lnTo>
                    <a:pt x="120015" y="23367"/>
                  </a:lnTo>
                  <a:lnTo>
                    <a:pt x="117348" y="25908"/>
                  </a:lnTo>
                  <a:lnTo>
                    <a:pt x="117348" y="32258"/>
                  </a:lnTo>
                  <a:lnTo>
                    <a:pt x="120015" y="34798"/>
                  </a:lnTo>
                  <a:lnTo>
                    <a:pt x="126619" y="34798"/>
                  </a:lnTo>
                  <a:lnTo>
                    <a:pt x="129286" y="32258"/>
                  </a:lnTo>
                  <a:lnTo>
                    <a:pt x="129286" y="25908"/>
                  </a:lnTo>
                  <a:lnTo>
                    <a:pt x="126619" y="23367"/>
                  </a:lnTo>
                  <a:close/>
                </a:path>
                <a:path w="317500" h="314325">
                  <a:moveTo>
                    <a:pt x="103124" y="23367"/>
                  </a:moveTo>
                  <a:lnTo>
                    <a:pt x="96774" y="23367"/>
                  </a:lnTo>
                  <a:lnTo>
                    <a:pt x="94106" y="25908"/>
                  </a:lnTo>
                  <a:lnTo>
                    <a:pt x="94106" y="32258"/>
                  </a:lnTo>
                  <a:lnTo>
                    <a:pt x="96774" y="34798"/>
                  </a:lnTo>
                  <a:lnTo>
                    <a:pt x="103124" y="34798"/>
                  </a:lnTo>
                  <a:lnTo>
                    <a:pt x="105664" y="32258"/>
                  </a:lnTo>
                  <a:lnTo>
                    <a:pt x="105664" y="25908"/>
                  </a:lnTo>
                  <a:lnTo>
                    <a:pt x="103124" y="23367"/>
                  </a:lnTo>
                  <a:close/>
                </a:path>
                <a:path w="317500" h="314325">
                  <a:moveTo>
                    <a:pt x="79628" y="23367"/>
                  </a:moveTo>
                  <a:lnTo>
                    <a:pt x="73278" y="23367"/>
                  </a:lnTo>
                  <a:lnTo>
                    <a:pt x="70739" y="25908"/>
                  </a:lnTo>
                  <a:lnTo>
                    <a:pt x="70739" y="32258"/>
                  </a:lnTo>
                  <a:lnTo>
                    <a:pt x="73278" y="34798"/>
                  </a:lnTo>
                  <a:lnTo>
                    <a:pt x="79628" y="34798"/>
                  </a:lnTo>
                  <a:lnTo>
                    <a:pt x="82296" y="32258"/>
                  </a:lnTo>
                  <a:lnTo>
                    <a:pt x="82296" y="25908"/>
                  </a:lnTo>
                  <a:lnTo>
                    <a:pt x="79628" y="23367"/>
                  </a:lnTo>
                  <a:close/>
                </a:path>
                <a:path w="317500" h="314325">
                  <a:moveTo>
                    <a:pt x="56006" y="23367"/>
                  </a:moveTo>
                  <a:lnTo>
                    <a:pt x="49656" y="23367"/>
                  </a:lnTo>
                  <a:lnTo>
                    <a:pt x="47117" y="25908"/>
                  </a:lnTo>
                  <a:lnTo>
                    <a:pt x="47117" y="32258"/>
                  </a:lnTo>
                  <a:lnTo>
                    <a:pt x="49656" y="34798"/>
                  </a:lnTo>
                  <a:lnTo>
                    <a:pt x="56006" y="34798"/>
                  </a:lnTo>
                  <a:lnTo>
                    <a:pt x="58674" y="32258"/>
                  </a:lnTo>
                  <a:lnTo>
                    <a:pt x="58674" y="25908"/>
                  </a:lnTo>
                  <a:lnTo>
                    <a:pt x="56006" y="23367"/>
                  </a:lnTo>
                  <a:close/>
                </a:path>
                <a:path w="317500" h="314325">
                  <a:moveTo>
                    <a:pt x="32639" y="23367"/>
                  </a:moveTo>
                  <a:lnTo>
                    <a:pt x="26162" y="23367"/>
                  </a:lnTo>
                  <a:lnTo>
                    <a:pt x="23622" y="25908"/>
                  </a:lnTo>
                  <a:lnTo>
                    <a:pt x="23622" y="32258"/>
                  </a:lnTo>
                  <a:lnTo>
                    <a:pt x="26162" y="34798"/>
                  </a:lnTo>
                  <a:lnTo>
                    <a:pt x="32639" y="34798"/>
                  </a:lnTo>
                  <a:lnTo>
                    <a:pt x="35178" y="32258"/>
                  </a:lnTo>
                  <a:lnTo>
                    <a:pt x="35178" y="25908"/>
                  </a:lnTo>
                  <a:lnTo>
                    <a:pt x="32639" y="23367"/>
                  </a:lnTo>
                  <a:close/>
                </a:path>
                <a:path w="317500" h="314325">
                  <a:moveTo>
                    <a:pt x="9017" y="23367"/>
                  </a:moveTo>
                  <a:lnTo>
                    <a:pt x="2540" y="23367"/>
                  </a:lnTo>
                  <a:lnTo>
                    <a:pt x="0" y="25908"/>
                  </a:lnTo>
                  <a:lnTo>
                    <a:pt x="0" y="32258"/>
                  </a:lnTo>
                  <a:lnTo>
                    <a:pt x="2540" y="34798"/>
                  </a:lnTo>
                  <a:lnTo>
                    <a:pt x="9017" y="34798"/>
                  </a:lnTo>
                  <a:lnTo>
                    <a:pt x="11556" y="32258"/>
                  </a:lnTo>
                  <a:lnTo>
                    <a:pt x="11556" y="25908"/>
                  </a:lnTo>
                  <a:lnTo>
                    <a:pt x="9017" y="23367"/>
                  </a:lnTo>
                  <a:close/>
                </a:path>
                <a:path w="317500" h="314325">
                  <a:moveTo>
                    <a:pt x="314071" y="0"/>
                  </a:moveTo>
                  <a:lnTo>
                    <a:pt x="307594" y="0"/>
                  </a:lnTo>
                  <a:lnTo>
                    <a:pt x="305053" y="2412"/>
                  </a:lnTo>
                  <a:lnTo>
                    <a:pt x="305053" y="9016"/>
                  </a:lnTo>
                  <a:lnTo>
                    <a:pt x="307594" y="11811"/>
                  </a:lnTo>
                  <a:lnTo>
                    <a:pt x="314071" y="11811"/>
                  </a:lnTo>
                  <a:lnTo>
                    <a:pt x="316992" y="9016"/>
                  </a:lnTo>
                  <a:lnTo>
                    <a:pt x="316992" y="2412"/>
                  </a:lnTo>
                  <a:lnTo>
                    <a:pt x="314071" y="0"/>
                  </a:lnTo>
                  <a:close/>
                </a:path>
                <a:path w="317500" h="314325">
                  <a:moveTo>
                    <a:pt x="290702" y="0"/>
                  </a:moveTo>
                  <a:lnTo>
                    <a:pt x="284479" y="0"/>
                  </a:lnTo>
                  <a:lnTo>
                    <a:pt x="281940" y="2412"/>
                  </a:lnTo>
                  <a:lnTo>
                    <a:pt x="281940" y="9016"/>
                  </a:lnTo>
                  <a:lnTo>
                    <a:pt x="284479" y="11811"/>
                  </a:lnTo>
                  <a:lnTo>
                    <a:pt x="290702" y="11811"/>
                  </a:lnTo>
                  <a:lnTo>
                    <a:pt x="293497" y="9016"/>
                  </a:lnTo>
                  <a:lnTo>
                    <a:pt x="293497" y="2412"/>
                  </a:lnTo>
                  <a:lnTo>
                    <a:pt x="290702" y="0"/>
                  </a:lnTo>
                  <a:close/>
                </a:path>
                <a:path w="317500" h="314325">
                  <a:moveTo>
                    <a:pt x="267208" y="0"/>
                  </a:moveTo>
                  <a:lnTo>
                    <a:pt x="260985" y="0"/>
                  </a:lnTo>
                  <a:lnTo>
                    <a:pt x="258445" y="2412"/>
                  </a:lnTo>
                  <a:lnTo>
                    <a:pt x="258445" y="9016"/>
                  </a:lnTo>
                  <a:lnTo>
                    <a:pt x="260985" y="11811"/>
                  </a:lnTo>
                  <a:lnTo>
                    <a:pt x="267208" y="11811"/>
                  </a:lnTo>
                  <a:lnTo>
                    <a:pt x="270128" y="9016"/>
                  </a:lnTo>
                  <a:lnTo>
                    <a:pt x="270128" y="2412"/>
                  </a:lnTo>
                  <a:lnTo>
                    <a:pt x="267208" y="0"/>
                  </a:lnTo>
                  <a:close/>
                </a:path>
                <a:path w="317500" h="314325">
                  <a:moveTo>
                    <a:pt x="243586" y="0"/>
                  </a:moveTo>
                  <a:lnTo>
                    <a:pt x="237490" y="0"/>
                  </a:lnTo>
                  <a:lnTo>
                    <a:pt x="234569" y="2412"/>
                  </a:lnTo>
                  <a:lnTo>
                    <a:pt x="234569" y="9016"/>
                  </a:lnTo>
                  <a:lnTo>
                    <a:pt x="237490" y="11811"/>
                  </a:lnTo>
                  <a:lnTo>
                    <a:pt x="243586" y="11811"/>
                  </a:lnTo>
                  <a:lnTo>
                    <a:pt x="246506" y="9016"/>
                  </a:lnTo>
                  <a:lnTo>
                    <a:pt x="246506" y="2412"/>
                  </a:lnTo>
                  <a:lnTo>
                    <a:pt x="243586" y="0"/>
                  </a:lnTo>
                  <a:close/>
                </a:path>
                <a:path w="317500" h="314325">
                  <a:moveTo>
                    <a:pt x="220472" y="0"/>
                  </a:moveTo>
                  <a:lnTo>
                    <a:pt x="213868" y="0"/>
                  </a:lnTo>
                  <a:lnTo>
                    <a:pt x="210947" y="2412"/>
                  </a:lnTo>
                  <a:lnTo>
                    <a:pt x="210947" y="9016"/>
                  </a:lnTo>
                  <a:lnTo>
                    <a:pt x="213868" y="11811"/>
                  </a:lnTo>
                  <a:lnTo>
                    <a:pt x="220472" y="11811"/>
                  </a:lnTo>
                  <a:lnTo>
                    <a:pt x="223012" y="9016"/>
                  </a:lnTo>
                  <a:lnTo>
                    <a:pt x="223012" y="2412"/>
                  </a:lnTo>
                  <a:lnTo>
                    <a:pt x="220472" y="0"/>
                  </a:lnTo>
                  <a:close/>
                </a:path>
                <a:path w="317500" h="314325">
                  <a:moveTo>
                    <a:pt x="196850" y="0"/>
                  </a:moveTo>
                  <a:lnTo>
                    <a:pt x="190246" y="0"/>
                  </a:lnTo>
                  <a:lnTo>
                    <a:pt x="187833" y="2412"/>
                  </a:lnTo>
                  <a:lnTo>
                    <a:pt x="187833" y="9016"/>
                  </a:lnTo>
                  <a:lnTo>
                    <a:pt x="190246" y="11811"/>
                  </a:lnTo>
                  <a:lnTo>
                    <a:pt x="196850" y="11811"/>
                  </a:lnTo>
                  <a:lnTo>
                    <a:pt x="199390" y="9016"/>
                  </a:lnTo>
                  <a:lnTo>
                    <a:pt x="199390" y="2412"/>
                  </a:lnTo>
                  <a:lnTo>
                    <a:pt x="196850" y="0"/>
                  </a:lnTo>
                  <a:close/>
                </a:path>
                <a:path w="317500" h="314325">
                  <a:moveTo>
                    <a:pt x="173481" y="0"/>
                  </a:moveTo>
                  <a:lnTo>
                    <a:pt x="166877" y="0"/>
                  </a:lnTo>
                  <a:lnTo>
                    <a:pt x="164338" y="2412"/>
                  </a:lnTo>
                  <a:lnTo>
                    <a:pt x="164338" y="9016"/>
                  </a:lnTo>
                  <a:lnTo>
                    <a:pt x="166877" y="11811"/>
                  </a:lnTo>
                  <a:lnTo>
                    <a:pt x="173481" y="11811"/>
                  </a:lnTo>
                  <a:lnTo>
                    <a:pt x="175895" y="9016"/>
                  </a:lnTo>
                  <a:lnTo>
                    <a:pt x="175895" y="2412"/>
                  </a:lnTo>
                  <a:lnTo>
                    <a:pt x="173481" y="0"/>
                  </a:lnTo>
                  <a:close/>
                </a:path>
                <a:path w="317500" h="314325">
                  <a:moveTo>
                    <a:pt x="150241" y="0"/>
                  </a:moveTo>
                  <a:lnTo>
                    <a:pt x="143255" y="0"/>
                  </a:lnTo>
                  <a:lnTo>
                    <a:pt x="140716" y="2412"/>
                  </a:lnTo>
                  <a:lnTo>
                    <a:pt x="140716" y="9016"/>
                  </a:lnTo>
                  <a:lnTo>
                    <a:pt x="143255" y="11811"/>
                  </a:lnTo>
                  <a:lnTo>
                    <a:pt x="150241" y="11811"/>
                  </a:lnTo>
                  <a:lnTo>
                    <a:pt x="152780" y="9016"/>
                  </a:lnTo>
                  <a:lnTo>
                    <a:pt x="152780" y="2412"/>
                  </a:lnTo>
                  <a:lnTo>
                    <a:pt x="150241" y="0"/>
                  </a:lnTo>
                  <a:close/>
                </a:path>
                <a:path w="317500" h="314325">
                  <a:moveTo>
                    <a:pt x="126873" y="0"/>
                  </a:moveTo>
                  <a:lnTo>
                    <a:pt x="119761" y="0"/>
                  </a:lnTo>
                  <a:lnTo>
                    <a:pt x="117348" y="2412"/>
                  </a:lnTo>
                  <a:lnTo>
                    <a:pt x="117348" y="9016"/>
                  </a:lnTo>
                  <a:lnTo>
                    <a:pt x="119761" y="11811"/>
                  </a:lnTo>
                  <a:lnTo>
                    <a:pt x="126873" y="11811"/>
                  </a:lnTo>
                  <a:lnTo>
                    <a:pt x="129286" y="9016"/>
                  </a:lnTo>
                  <a:lnTo>
                    <a:pt x="129286" y="2412"/>
                  </a:lnTo>
                  <a:lnTo>
                    <a:pt x="126873" y="0"/>
                  </a:lnTo>
                  <a:close/>
                </a:path>
                <a:path w="317500" h="314325">
                  <a:moveTo>
                    <a:pt x="102870" y="0"/>
                  </a:moveTo>
                  <a:lnTo>
                    <a:pt x="96647" y="0"/>
                  </a:lnTo>
                  <a:lnTo>
                    <a:pt x="94106" y="2412"/>
                  </a:lnTo>
                  <a:lnTo>
                    <a:pt x="94106" y="9016"/>
                  </a:lnTo>
                  <a:lnTo>
                    <a:pt x="96647" y="11811"/>
                  </a:lnTo>
                  <a:lnTo>
                    <a:pt x="102870" y="11811"/>
                  </a:lnTo>
                  <a:lnTo>
                    <a:pt x="105664" y="9016"/>
                  </a:lnTo>
                  <a:lnTo>
                    <a:pt x="105664" y="2412"/>
                  </a:lnTo>
                  <a:lnTo>
                    <a:pt x="102870" y="0"/>
                  </a:lnTo>
                  <a:close/>
                </a:path>
                <a:path w="317500" h="314325">
                  <a:moveTo>
                    <a:pt x="79375" y="0"/>
                  </a:moveTo>
                  <a:lnTo>
                    <a:pt x="73151" y="0"/>
                  </a:lnTo>
                  <a:lnTo>
                    <a:pt x="70739" y="2412"/>
                  </a:lnTo>
                  <a:lnTo>
                    <a:pt x="70739" y="9016"/>
                  </a:lnTo>
                  <a:lnTo>
                    <a:pt x="73151" y="11811"/>
                  </a:lnTo>
                  <a:lnTo>
                    <a:pt x="79375" y="11811"/>
                  </a:lnTo>
                  <a:lnTo>
                    <a:pt x="82296" y="9016"/>
                  </a:lnTo>
                  <a:lnTo>
                    <a:pt x="82296" y="2412"/>
                  </a:lnTo>
                  <a:lnTo>
                    <a:pt x="79375" y="0"/>
                  </a:lnTo>
                  <a:close/>
                </a:path>
                <a:path w="317500" h="314325">
                  <a:moveTo>
                    <a:pt x="56134" y="0"/>
                  </a:moveTo>
                  <a:lnTo>
                    <a:pt x="49529" y="0"/>
                  </a:lnTo>
                  <a:lnTo>
                    <a:pt x="47117" y="2412"/>
                  </a:lnTo>
                  <a:lnTo>
                    <a:pt x="47117" y="9016"/>
                  </a:lnTo>
                  <a:lnTo>
                    <a:pt x="49529" y="11811"/>
                  </a:lnTo>
                  <a:lnTo>
                    <a:pt x="56134" y="11811"/>
                  </a:lnTo>
                  <a:lnTo>
                    <a:pt x="58674" y="9016"/>
                  </a:lnTo>
                  <a:lnTo>
                    <a:pt x="58674" y="2412"/>
                  </a:lnTo>
                  <a:lnTo>
                    <a:pt x="56134" y="0"/>
                  </a:lnTo>
                  <a:close/>
                </a:path>
                <a:path w="317500" h="314325">
                  <a:moveTo>
                    <a:pt x="32766" y="0"/>
                  </a:moveTo>
                  <a:lnTo>
                    <a:pt x="26543" y="0"/>
                  </a:lnTo>
                  <a:lnTo>
                    <a:pt x="23622" y="2412"/>
                  </a:lnTo>
                  <a:lnTo>
                    <a:pt x="23622" y="9016"/>
                  </a:lnTo>
                  <a:lnTo>
                    <a:pt x="26543" y="11811"/>
                  </a:lnTo>
                  <a:lnTo>
                    <a:pt x="32766" y="11811"/>
                  </a:lnTo>
                  <a:lnTo>
                    <a:pt x="35178" y="9016"/>
                  </a:lnTo>
                  <a:lnTo>
                    <a:pt x="35178" y="2412"/>
                  </a:lnTo>
                  <a:lnTo>
                    <a:pt x="32766" y="0"/>
                  </a:lnTo>
                  <a:close/>
                </a:path>
                <a:path w="317500" h="314325">
                  <a:moveTo>
                    <a:pt x="9144" y="0"/>
                  </a:moveTo>
                  <a:lnTo>
                    <a:pt x="2921" y="0"/>
                  </a:lnTo>
                  <a:lnTo>
                    <a:pt x="0" y="2412"/>
                  </a:lnTo>
                  <a:lnTo>
                    <a:pt x="0" y="9016"/>
                  </a:lnTo>
                  <a:lnTo>
                    <a:pt x="2921" y="11811"/>
                  </a:lnTo>
                  <a:lnTo>
                    <a:pt x="9144" y="11811"/>
                  </a:lnTo>
                  <a:lnTo>
                    <a:pt x="11556" y="9016"/>
                  </a:lnTo>
                  <a:lnTo>
                    <a:pt x="11556" y="241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7" name="组合 26"/>
          <p:cNvGrpSpPr>
            <a:grpSpLocks noChangeAspect="1"/>
          </p:cNvGrpSpPr>
          <p:nvPr/>
        </p:nvGrpSpPr>
        <p:grpSpPr>
          <a:xfrm>
            <a:off x="8511398" y="4583463"/>
            <a:ext cx="437548" cy="432000"/>
            <a:chOff x="8269007" y="2787537"/>
            <a:chExt cx="350520" cy="346075"/>
          </a:xfrm>
        </p:grpSpPr>
        <p:sp>
          <p:nvSpPr>
            <p:cNvPr id="28" name="object 32"/>
            <p:cNvSpPr/>
            <p:nvPr/>
          </p:nvSpPr>
          <p:spPr>
            <a:xfrm>
              <a:off x="8269007" y="2787537"/>
              <a:ext cx="350520" cy="346075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solidFill>
              <a:srgbClr val="3051DA"/>
            </a:solidFill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9" name="object 33"/>
            <p:cNvSpPr/>
            <p:nvPr/>
          </p:nvSpPr>
          <p:spPr>
            <a:xfrm>
              <a:off x="8285517" y="2800998"/>
              <a:ext cx="317500" cy="314325"/>
            </a:xfrm>
            <a:custGeom>
              <a:avLst/>
              <a:gdLst/>
              <a:ahLst/>
              <a:cxnLst/>
              <a:rect l="l" t="t" r="r" b="b"/>
              <a:pathLst>
                <a:path w="317500" h="314325">
                  <a:moveTo>
                    <a:pt x="314071" y="302387"/>
                  </a:moveTo>
                  <a:lnTo>
                    <a:pt x="307594" y="302387"/>
                  </a:lnTo>
                  <a:lnTo>
                    <a:pt x="305053" y="304926"/>
                  </a:lnTo>
                  <a:lnTo>
                    <a:pt x="305053" y="311530"/>
                  </a:lnTo>
                  <a:lnTo>
                    <a:pt x="307594" y="313943"/>
                  </a:lnTo>
                  <a:lnTo>
                    <a:pt x="314071" y="313943"/>
                  </a:lnTo>
                  <a:lnTo>
                    <a:pt x="316992" y="311530"/>
                  </a:lnTo>
                  <a:lnTo>
                    <a:pt x="316992" y="304926"/>
                  </a:lnTo>
                  <a:lnTo>
                    <a:pt x="314071" y="302387"/>
                  </a:lnTo>
                  <a:close/>
                </a:path>
                <a:path w="317500" h="314325">
                  <a:moveTo>
                    <a:pt x="290956" y="302387"/>
                  </a:moveTo>
                  <a:lnTo>
                    <a:pt x="284606" y="302387"/>
                  </a:lnTo>
                  <a:lnTo>
                    <a:pt x="281940" y="305053"/>
                  </a:lnTo>
                  <a:lnTo>
                    <a:pt x="281940" y="311403"/>
                  </a:lnTo>
                  <a:lnTo>
                    <a:pt x="284606" y="313943"/>
                  </a:lnTo>
                  <a:lnTo>
                    <a:pt x="290956" y="313943"/>
                  </a:lnTo>
                  <a:lnTo>
                    <a:pt x="293497" y="311403"/>
                  </a:lnTo>
                  <a:lnTo>
                    <a:pt x="293497" y="305053"/>
                  </a:lnTo>
                  <a:lnTo>
                    <a:pt x="290956" y="302387"/>
                  </a:lnTo>
                  <a:close/>
                </a:path>
                <a:path w="317500" h="314325">
                  <a:moveTo>
                    <a:pt x="267462" y="302387"/>
                  </a:moveTo>
                  <a:lnTo>
                    <a:pt x="261112" y="302387"/>
                  </a:lnTo>
                  <a:lnTo>
                    <a:pt x="258445" y="305053"/>
                  </a:lnTo>
                  <a:lnTo>
                    <a:pt x="258445" y="311403"/>
                  </a:lnTo>
                  <a:lnTo>
                    <a:pt x="261112" y="313943"/>
                  </a:lnTo>
                  <a:lnTo>
                    <a:pt x="267462" y="313943"/>
                  </a:lnTo>
                  <a:lnTo>
                    <a:pt x="270128" y="311403"/>
                  </a:lnTo>
                  <a:lnTo>
                    <a:pt x="270128" y="305053"/>
                  </a:lnTo>
                  <a:lnTo>
                    <a:pt x="267462" y="302387"/>
                  </a:lnTo>
                  <a:close/>
                </a:path>
                <a:path w="317500" h="314325">
                  <a:moveTo>
                    <a:pt x="243840" y="302387"/>
                  </a:moveTo>
                  <a:lnTo>
                    <a:pt x="237236" y="302387"/>
                  </a:lnTo>
                  <a:lnTo>
                    <a:pt x="234569" y="305053"/>
                  </a:lnTo>
                  <a:lnTo>
                    <a:pt x="234569" y="311403"/>
                  </a:lnTo>
                  <a:lnTo>
                    <a:pt x="237236" y="313943"/>
                  </a:lnTo>
                  <a:lnTo>
                    <a:pt x="243840" y="313943"/>
                  </a:lnTo>
                  <a:lnTo>
                    <a:pt x="246506" y="311403"/>
                  </a:lnTo>
                  <a:lnTo>
                    <a:pt x="246506" y="305053"/>
                  </a:lnTo>
                  <a:lnTo>
                    <a:pt x="243840" y="302387"/>
                  </a:lnTo>
                  <a:close/>
                </a:path>
                <a:path w="317500" h="314325">
                  <a:moveTo>
                    <a:pt x="220345" y="302387"/>
                  </a:moveTo>
                  <a:lnTo>
                    <a:pt x="213614" y="302387"/>
                  </a:lnTo>
                  <a:lnTo>
                    <a:pt x="210947" y="305053"/>
                  </a:lnTo>
                  <a:lnTo>
                    <a:pt x="210947" y="311403"/>
                  </a:lnTo>
                  <a:lnTo>
                    <a:pt x="213614" y="313943"/>
                  </a:lnTo>
                  <a:lnTo>
                    <a:pt x="220345" y="313943"/>
                  </a:lnTo>
                  <a:lnTo>
                    <a:pt x="223012" y="311403"/>
                  </a:lnTo>
                  <a:lnTo>
                    <a:pt x="223012" y="305053"/>
                  </a:lnTo>
                  <a:lnTo>
                    <a:pt x="220345" y="302387"/>
                  </a:lnTo>
                  <a:close/>
                </a:path>
                <a:path w="317500" h="314325">
                  <a:moveTo>
                    <a:pt x="196850" y="302387"/>
                  </a:moveTo>
                  <a:lnTo>
                    <a:pt x="190373" y="302387"/>
                  </a:lnTo>
                  <a:lnTo>
                    <a:pt x="187833" y="305053"/>
                  </a:lnTo>
                  <a:lnTo>
                    <a:pt x="187833" y="311403"/>
                  </a:lnTo>
                  <a:lnTo>
                    <a:pt x="190373" y="313943"/>
                  </a:lnTo>
                  <a:lnTo>
                    <a:pt x="196850" y="313943"/>
                  </a:lnTo>
                  <a:lnTo>
                    <a:pt x="199390" y="311403"/>
                  </a:lnTo>
                  <a:lnTo>
                    <a:pt x="199390" y="305053"/>
                  </a:lnTo>
                  <a:lnTo>
                    <a:pt x="196850" y="302387"/>
                  </a:lnTo>
                  <a:close/>
                </a:path>
                <a:path w="317500" h="314325">
                  <a:moveTo>
                    <a:pt x="173354" y="302387"/>
                  </a:moveTo>
                  <a:lnTo>
                    <a:pt x="167004" y="302387"/>
                  </a:lnTo>
                  <a:lnTo>
                    <a:pt x="164338" y="305053"/>
                  </a:lnTo>
                  <a:lnTo>
                    <a:pt x="164338" y="311403"/>
                  </a:lnTo>
                  <a:lnTo>
                    <a:pt x="167004" y="313943"/>
                  </a:lnTo>
                  <a:lnTo>
                    <a:pt x="173354" y="313943"/>
                  </a:lnTo>
                  <a:lnTo>
                    <a:pt x="175895" y="311403"/>
                  </a:lnTo>
                  <a:lnTo>
                    <a:pt x="175895" y="305053"/>
                  </a:lnTo>
                  <a:lnTo>
                    <a:pt x="173354" y="302387"/>
                  </a:lnTo>
                  <a:close/>
                </a:path>
                <a:path w="317500" h="314325">
                  <a:moveTo>
                    <a:pt x="150114" y="302387"/>
                  </a:moveTo>
                  <a:lnTo>
                    <a:pt x="143383" y="302387"/>
                  </a:lnTo>
                  <a:lnTo>
                    <a:pt x="140716" y="305053"/>
                  </a:lnTo>
                  <a:lnTo>
                    <a:pt x="140716" y="311403"/>
                  </a:lnTo>
                  <a:lnTo>
                    <a:pt x="143383" y="313943"/>
                  </a:lnTo>
                  <a:lnTo>
                    <a:pt x="150114" y="313943"/>
                  </a:lnTo>
                  <a:lnTo>
                    <a:pt x="152780" y="311403"/>
                  </a:lnTo>
                  <a:lnTo>
                    <a:pt x="152780" y="305053"/>
                  </a:lnTo>
                  <a:lnTo>
                    <a:pt x="150114" y="302387"/>
                  </a:lnTo>
                  <a:close/>
                </a:path>
                <a:path w="317500" h="314325">
                  <a:moveTo>
                    <a:pt x="126619" y="302387"/>
                  </a:moveTo>
                  <a:lnTo>
                    <a:pt x="120015" y="302387"/>
                  </a:lnTo>
                  <a:lnTo>
                    <a:pt x="117348" y="305053"/>
                  </a:lnTo>
                  <a:lnTo>
                    <a:pt x="117348" y="311403"/>
                  </a:lnTo>
                  <a:lnTo>
                    <a:pt x="120015" y="313943"/>
                  </a:lnTo>
                  <a:lnTo>
                    <a:pt x="126619" y="313943"/>
                  </a:lnTo>
                  <a:lnTo>
                    <a:pt x="129286" y="311403"/>
                  </a:lnTo>
                  <a:lnTo>
                    <a:pt x="129286" y="305053"/>
                  </a:lnTo>
                  <a:lnTo>
                    <a:pt x="126619" y="302387"/>
                  </a:lnTo>
                  <a:close/>
                </a:path>
                <a:path w="317500" h="314325">
                  <a:moveTo>
                    <a:pt x="103124" y="302387"/>
                  </a:moveTo>
                  <a:lnTo>
                    <a:pt x="96774" y="302387"/>
                  </a:lnTo>
                  <a:lnTo>
                    <a:pt x="94106" y="305053"/>
                  </a:lnTo>
                  <a:lnTo>
                    <a:pt x="94106" y="311403"/>
                  </a:lnTo>
                  <a:lnTo>
                    <a:pt x="96774" y="313943"/>
                  </a:lnTo>
                  <a:lnTo>
                    <a:pt x="103124" y="313943"/>
                  </a:lnTo>
                  <a:lnTo>
                    <a:pt x="105664" y="311403"/>
                  </a:lnTo>
                  <a:lnTo>
                    <a:pt x="105664" y="305053"/>
                  </a:lnTo>
                  <a:lnTo>
                    <a:pt x="103124" y="302387"/>
                  </a:lnTo>
                  <a:close/>
                </a:path>
                <a:path w="317500" h="314325">
                  <a:moveTo>
                    <a:pt x="79628" y="302387"/>
                  </a:moveTo>
                  <a:lnTo>
                    <a:pt x="73278" y="302387"/>
                  </a:lnTo>
                  <a:lnTo>
                    <a:pt x="70739" y="305053"/>
                  </a:lnTo>
                  <a:lnTo>
                    <a:pt x="70739" y="311403"/>
                  </a:lnTo>
                  <a:lnTo>
                    <a:pt x="73278" y="313943"/>
                  </a:lnTo>
                  <a:lnTo>
                    <a:pt x="79628" y="313943"/>
                  </a:lnTo>
                  <a:lnTo>
                    <a:pt x="82296" y="311403"/>
                  </a:lnTo>
                  <a:lnTo>
                    <a:pt x="82296" y="305053"/>
                  </a:lnTo>
                  <a:lnTo>
                    <a:pt x="79628" y="302387"/>
                  </a:lnTo>
                  <a:close/>
                </a:path>
                <a:path w="317500" h="314325">
                  <a:moveTo>
                    <a:pt x="56006" y="302387"/>
                  </a:moveTo>
                  <a:lnTo>
                    <a:pt x="49656" y="302387"/>
                  </a:lnTo>
                  <a:lnTo>
                    <a:pt x="47117" y="305053"/>
                  </a:lnTo>
                  <a:lnTo>
                    <a:pt x="47117" y="311403"/>
                  </a:lnTo>
                  <a:lnTo>
                    <a:pt x="49656" y="313943"/>
                  </a:lnTo>
                  <a:lnTo>
                    <a:pt x="56006" y="313943"/>
                  </a:lnTo>
                  <a:lnTo>
                    <a:pt x="58674" y="311403"/>
                  </a:lnTo>
                  <a:lnTo>
                    <a:pt x="58674" y="305053"/>
                  </a:lnTo>
                  <a:lnTo>
                    <a:pt x="56006" y="302387"/>
                  </a:lnTo>
                  <a:close/>
                </a:path>
                <a:path w="317500" h="314325">
                  <a:moveTo>
                    <a:pt x="32639" y="302387"/>
                  </a:moveTo>
                  <a:lnTo>
                    <a:pt x="26162" y="302387"/>
                  </a:lnTo>
                  <a:lnTo>
                    <a:pt x="23622" y="305053"/>
                  </a:lnTo>
                  <a:lnTo>
                    <a:pt x="23622" y="311403"/>
                  </a:lnTo>
                  <a:lnTo>
                    <a:pt x="26162" y="313943"/>
                  </a:lnTo>
                  <a:lnTo>
                    <a:pt x="32639" y="313943"/>
                  </a:lnTo>
                  <a:lnTo>
                    <a:pt x="35178" y="311403"/>
                  </a:lnTo>
                  <a:lnTo>
                    <a:pt x="35178" y="305053"/>
                  </a:lnTo>
                  <a:lnTo>
                    <a:pt x="32639" y="302387"/>
                  </a:lnTo>
                  <a:close/>
                </a:path>
                <a:path w="317500" h="314325">
                  <a:moveTo>
                    <a:pt x="9017" y="302387"/>
                  </a:moveTo>
                  <a:lnTo>
                    <a:pt x="2540" y="302387"/>
                  </a:lnTo>
                  <a:lnTo>
                    <a:pt x="0" y="305053"/>
                  </a:lnTo>
                  <a:lnTo>
                    <a:pt x="0" y="311403"/>
                  </a:lnTo>
                  <a:lnTo>
                    <a:pt x="2540" y="313943"/>
                  </a:lnTo>
                  <a:lnTo>
                    <a:pt x="9017" y="313943"/>
                  </a:lnTo>
                  <a:lnTo>
                    <a:pt x="11556" y="311403"/>
                  </a:lnTo>
                  <a:lnTo>
                    <a:pt x="11556" y="305053"/>
                  </a:lnTo>
                  <a:lnTo>
                    <a:pt x="9017" y="302387"/>
                  </a:lnTo>
                  <a:close/>
                </a:path>
                <a:path w="317500" h="314325">
                  <a:moveTo>
                    <a:pt x="314071" y="278891"/>
                  </a:moveTo>
                  <a:lnTo>
                    <a:pt x="307594" y="278891"/>
                  </a:lnTo>
                  <a:lnTo>
                    <a:pt x="305053" y="281813"/>
                  </a:lnTo>
                  <a:lnTo>
                    <a:pt x="305053" y="288036"/>
                  </a:lnTo>
                  <a:lnTo>
                    <a:pt x="307594" y="290449"/>
                  </a:lnTo>
                  <a:lnTo>
                    <a:pt x="314071" y="290449"/>
                  </a:lnTo>
                  <a:lnTo>
                    <a:pt x="316992" y="288036"/>
                  </a:lnTo>
                  <a:lnTo>
                    <a:pt x="316992" y="281813"/>
                  </a:lnTo>
                  <a:lnTo>
                    <a:pt x="314071" y="278891"/>
                  </a:lnTo>
                  <a:close/>
                </a:path>
                <a:path w="317500" h="314325">
                  <a:moveTo>
                    <a:pt x="290956" y="278891"/>
                  </a:moveTo>
                  <a:lnTo>
                    <a:pt x="284606" y="278891"/>
                  </a:lnTo>
                  <a:lnTo>
                    <a:pt x="281940" y="281559"/>
                  </a:lnTo>
                  <a:lnTo>
                    <a:pt x="281940" y="287909"/>
                  </a:lnTo>
                  <a:lnTo>
                    <a:pt x="284606" y="290449"/>
                  </a:lnTo>
                  <a:lnTo>
                    <a:pt x="290956" y="290449"/>
                  </a:lnTo>
                  <a:lnTo>
                    <a:pt x="293497" y="287909"/>
                  </a:lnTo>
                  <a:lnTo>
                    <a:pt x="293497" y="281559"/>
                  </a:lnTo>
                  <a:lnTo>
                    <a:pt x="290956" y="278891"/>
                  </a:lnTo>
                  <a:close/>
                </a:path>
                <a:path w="317500" h="314325">
                  <a:moveTo>
                    <a:pt x="267462" y="278891"/>
                  </a:moveTo>
                  <a:lnTo>
                    <a:pt x="261112" y="278891"/>
                  </a:lnTo>
                  <a:lnTo>
                    <a:pt x="258445" y="281559"/>
                  </a:lnTo>
                  <a:lnTo>
                    <a:pt x="258445" y="287909"/>
                  </a:lnTo>
                  <a:lnTo>
                    <a:pt x="261112" y="290449"/>
                  </a:lnTo>
                  <a:lnTo>
                    <a:pt x="267462" y="290449"/>
                  </a:lnTo>
                  <a:lnTo>
                    <a:pt x="270128" y="287909"/>
                  </a:lnTo>
                  <a:lnTo>
                    <a:pt x="270128" y="281559"/>
                  </a:lnTo>
                  <a:lnTo>
                    <a:pt x="267462" y="278891"/>
                  </a:lnTo>
                  <a:close/>
                </a:path>
                <a:path w="317500" h="314325">
                  <a:moveTo>
                    <a:pt x="243840" y="278891"/>
                  </a:moveTo>
                  <a:lnTo>
                    <a:pt x="237236" y="278891"/>
                  </a:lnTo>
                  <a:lnTo>
                    <a:pt x="234569" y="281559"/>
                  </a:lnTo>
                  <a:lnTo>
                    <a:pt x="234569" y="287909"/>
                  </a:lnTo>
                  <a:lnTo>
                    <a:pt x="237236" y="290449"/>
                  </a:lnTo>
                  <a:lnTo>
                    <a:pt x="243840" y="290449"/>
                  </a:lnTo>
                  <a:lnTo>
                    <a:pt x="246506" y="287909"/>
                  </a:lnTo>
                  <a:lnTo>
                    <a:pt x="246506" y="281559"/>
                  </a:lnTo>
                  <a:lnTo>
                    <a:pt x="243840" y="278891"/>
                  </a:lnTo>
                  <a:close/>
                </a:path>
                <a:path w="317500" h="314325">
                  <a:moveTo>
                    <a:pt x="220345" y="278891"/>
                  </a:moveTo>
                  <a:lnTo>
                    <a:pt x="213614" y="278891"/>
                  </a:lnTo>
                  <a:lnTo>
                    <a:pt x="210947" y="281559"/>
                  </a:lnTo>
                  <a:lnTo>
                    <a:pt x="210947" y="287909"/>
                  </a:lnTo>
                  <a:lnTo>
                    <a:pt x="213614" y="290449"/>
                  </a:lnTo>
                  <a:lnTo>
                    <a:pt x="220345" y="290449"/>
                  </a:lnTo>
                  <a:lnTo>
                    <a:pt x="223012" y="287909"/>
                  </a:lnTo>
                  <a:lnTo>
                    <a:pt x="223012" y="281559"/>
                  </a:lnTo>
                  <a:lnTo>
                    <a:pt x="220345" y="278891"/>
                  </a:lnTo>
                  <a:close/>
                </a:path>
                <a:path w="317500" h="314325">
                  <a:moveTo>
                    <a:pt x="196850" y="278891"/>
                  </a:moveTo>
                  <a:lnTo>
                    <a:pt x="190373" y="278891"/>
                  </a:lnTo>
                  <a:lnTo>
                    <a:pt x="187833" y="281559"/>
                  </a:lnTo>
                  <a:lnTo>
                    <a:pt x="187833" y="287909"/>
                  </a:lnTo>
                  <a:lnTo>
                    <a:pt x="190373" y="290449"/>
                  </a:lnTo>
                  <a:lnTo>
                    <a:pt x="196850" y="290449"/>
                  </a:lnTo>
                  <a:lnTo>
                    <a:pt x="199390" y="287909"/>
                  </a:lnTo>
                  <a:lnTo>
                    <a:pt x="199390" y="281559"/>
                  </a:lnTo>
                  <a:lnTo>
                    <a:pt x="196850" y="278891"/>
                  </a:lnTo>
                  <a:close/>
                </a:path>
                <a:path w="317500" h="314325">
                  <a:moveTo>
                    <a:pt x="173354" y="278891"/>
                  </a:moveTo>
                  <a:lnTo>
                    <a:pt x="167004" y="278891"/>
                  </a:lnTo>
                  <a:lnTo>
                    <a:pt x="164338" y="281559"/>
                  </a:lnTo>
                  <a:lnTo>
                    <a:pt x="164338" y="287909"/>
                  </a:lnTo>
                  <a:lnTo>
                    <a:pt x="167004" y="290449"/>
                  </a:lnTo>
                  <a:lnTo>
                    <a:pt x="173354" y="290449"/>
                  </a:lnTo>
                  <a:lnTo>
                    <a:pt x="175895" y="287909"/>
                  </a:lnTo>
                  <a:lnTo>
                    <a:pt x="175895" y="281559"/>
                  </a:lnTo>
                  <a:lnTo>
                    <a:pt x="173354" y="278891"/>
                  </a:lnTo>
                  <a:close/>
                </a:path>
                <a:path w="317500" h="314325">
                  <a:moveTo>
                    <a:pt x="150114" y="278891"/>
                  </a:moveTo>
                  <a:lnTo>
                    <a:pt x="143383" y="278891"/>
                  </a:lnTo>
                  <a:lnTo>
                    <a:pt x="140716" y="281559"/>
                  </a:lnTo>
                  <a:lnTo>
                    <a:pt x="140716" y="287909"/>
                  </a:lnTo>
                  <a:lnTo>
                    <a:pt x="143383" y="290449"/>
                  </a:lnTo>
                  <a:lnTo>
                    <a:pt x="150114" y="290449"/>
                  </a:lnTo>
                  <a:lnTo>
                    <a:pt x="152780" y="287909"/>
                  </a:lnTo>
                  <a:lnTo>
                    <a:pt x="152780" y="281559"/>
                  </a:lnTo>
                  <a:lnTo>
                    <a:pt x="150114" y="278891"/>
                  </a:lnTo>
                  <a:close/>
                </a:path>
                <a:path w="317500" h="314325">
                  <a:moveTo>
                    <a:pt x="126619" y="278891"/>
                  </a:moveTo>
                  <a:lnTo>
                    <a:pt x="120015" y="278891"/>
                  </a:lnTo>
                  <a:lnTo>
                    <a:pt x="117348" y="281559"/>
                  </a:lnTo>
                  <a:lnTo>
                    <a:pt x="117348" y="287909"/>
                  </a:lnTo>
                  <a:lnTo>
                    <a:pt x="120015" y="290449"/>
                  </a:lnTo>
                  <a:lnTo>
                    <a:pt x="126619" y="290449"/>
                  </a:lnTo>
                  <a:lnTo>
                    <a:pt x="129286" y="287909"/>
                  </a:lnTo>
                  <a:lnTo>
                    <a:pt x="129286" y="281559"/>
                  </a:lnTo>
                  <a:lnTo>
                    <a:pt x="126619" y="278891"/>
                  </a:lnTo>
                  <a:close/>
                </a:path>
                <a:path w="317500" h="314325">
                  <a:moveTo>
                    <a:pt x="103124" y="278891"/>
                  </a:moveTo>
                  <a:lnTo>
                    <a:pt x="96774" y="278891"/>
                  </a:lnTo>
                  <a:lnTo>
                    <a:pt x="94106" y="281559"/>
                  </a:lnTo>
                  <a:lnTo>
                    <a:pt x="94106" y="287909"/>
                  </a:lnTo>
                  <a:lnTo>
                    <a:pt x="96774" y="290449"/>
                  </a:lnTo>
                  <a:lnTo>
                    <a:pt x="103124" y="290449"/>
                  </a:lnTo>
                  <a:lnTo>
                    <a:pt x="105664" y="287909"/>
                  </a:lnTo>
                  <a:lnTo>
                    <a:pt x="105664" y="281559"/>
                  </a:lnTo>
                  <a:lnTo>
                    <a:pt x="103124" y="278891"/>
                  </a:lnTo>
                  <a:close/>
                </a:path>
                <a:path w="317500" h="314325">
                  <a:moveTo>
                    <a:pt x="79628" y="278891"/>
                  </a:moveTo>
                  <a:lnTo>
                    <a:pt x="73278" y="278891"/>
                  </a:lnTo>
                  <a:lnTo>
                    <a:pt x="70739" y="281559"/>
                  </a:lnTo>
                  <a:lnTo>
                    <a:pt x="70739" y="287909"/>
                  </a:lnTo>
                  <a:lnTo>
                    <a:pt x="73278" y="290449"/>
                  </a:lnTo>
                  <a:lnTo>
                    <a:pt x="79628" y="290449"/>
                  </a:lnTo>
                  <a:lnTo>
                    <a:pt x="82296" y="287909"/>
                  </a:lnTo>
                  <a:lnTo>
                    <a:pt x="82296" y="281559"/>
                  </a:lnTo>
                  <a:lnTo>
                    <a:pt x="79628" y="278891"/>
                  </a:lnTo>
                  <a:close/>
                </a:path>
                <a:path w="317500" h="314325">
                  <a:moveTo>
                    <a:pt x="56006" y="278891"/>
                  </a:moveTo>
                  <a:lnTo>
                    <a:pt x="49656" y="278891"/>
                  </a:lnTo>
                  <a:lnTo>
                    <a:pt x="47117" y="281559"/>
                  </a:lnTo>
                  <a:lnTo>
                    <a:pt x="47117" y="287909"/>
                  </a:lnTo>
                  <a:lnTo>
                    <a:pt x="49656" y="290449"/>
                  </a:lnTo>
                  <a:lnTo>
                    <a:pt x="56006" y="290449"/>
                  </a:lnTo>
                  <a:lnTo>
                    <a:pt x="58674" y="287909"/>
                  </a:lnTo>
                  <a:lnTo>
                    <a:pt x="58674" y="281559"/>
                  </a:lnTo>
                  <a:lnTo>
                    <a:pt x="56006" y="278891"/>
                  </a:lnTo>
                  <a:close/>
                </a:path>
                <a:path w="317500" h="314325">
                  <a:moveTo>
                    <a:pt x="32639" y="278891"/>
                  </a:moveTo>
                  <a:lnTo>
                    <a:pt x="26162" y="278891"/>
                  </a:lnTo>
                  <a:lnTo>
                    <a:pt x="23622" y="281559"/>
                  </a:lnTo>
                  <a:lnTo>
                    <a:pt x="23622" y="287909"/>
                  </a:lnTo>
                  <a:lnTo>
                    <a:pt x="26162" y="290449"/>
                  </a:lnTo>
                  <a:lnTo>
                    <a:pt x="32639" y="290449"/>
                  </a:lnTo>
                  <a:lnTo>
                    <a:pt x="35178" y="287909"/>
                  </a:lnTo>
                  <a:lnTo>
                    <a:pt x="35178" y="281559"/>
                  </a:lnTo>
                  <a:lnTo>
                    <a:pt x="32639" y="278891"/>
                  </a:lnTo>
                  <a:close/>
                </a:path>
                <a:path w="317500" h="314325">
                  <a:moveTo>
                    <a:pt x="9017" y="278891"/>
                  </a:moveTo>
                  <a:lnTo>
                    <a:pt x="2540" y="278891"/>
                  </a:lnTo>
                  <a:lnTo>
                    <a:pt x="0" y="281559"/>
                  </a:lnTo>
                  <a:lnTo>
                    <a:pt x="0" y="287909"/>
                  </a:lnTo>
                  <a:lnTo>
                    <a:pt x="2540" y="290449"/>
                  </a:lnTo>
                  <a:lnTo>
                    <a:pt x="9017" y="290449"/>
                  </a:lnTo>
                  <a:lnTo>
                    <a:pt x="11556" y="287909"/>
                  </a:lnTo>
                  <a:lnTo>
                    <a:pt x="11556" y="281559"/>
                  </a:lnTo>
                  <a:lnTo>
                    <a:pt x="9017" y="278891"/>
                  </a:lnTo>
                  <a:close/>
                </a:path>
                <a:path w="317500" h="314325">
                  <a:moveTo>
                    <a:pt x="314071" y="255650"/>
                  </a:moveTo>
                  <a:lnTo>
                    <a:pt x="307594" y="255650"/>
                  </a:lnTo>
                  <a:lnTo>
                    <a:pt x="305053" y="258445"/>
                  </a:lnTo>
                  <a:lnTo>
                    <a:pt x="305053" y="264540"/>
                  </a:lnTo>
                  <a:lnTo>
                    <a:pt x="307594" y="267462"/>
                  </a:lnTo>
                  <a:lnTo>
                    <a:pt x="314071" y="267462"/>
                  </a:lnTo>
                  <a:lnTo>
                    <a:pt x="316992" y="264540"/>
                  </a:lnTo>
                  <a:lnTo>
                    <a:pt x="316992" y="258445"/>
                  </a:lnTo>
                  <a:lnTo>
                    <a:pt x="314071" y="255650"/>
                  </a:lnTo>
                  <a:close/>
                </a:path>
                <a:path w="317500" h="314325">
                  <a:moveTo>
                    <a:pt x="290956" y="255650"/>
                  </a:moveTo>
                  <a:lnTo>
                    <a:pt x="284606" y="255650"/>
                  </a:lnTo>
                  <a:lnTo>
                    <a:pt x="281940" y="258190"/>
                  </a:lnTo>
                  <a:lnTo>
                    <a:pt x="281940" y="264795"/>
                  </a:lnTo>
                  <a:lnTo>
                    <a:pt x="284606" y="267462"/>
                  </a:lnTo>
                  <a:lnTo>
                    <a:pt x="290956" y="267462"/>
                  </a:lnTo>
                  <a:lnTo>
                    <a:pt x="293497" y="264795"/>
                  </a:lnTo>
                  <a:lnTo>
                    <a:pt x="293497" y="258190"/>
                  </a:lnTo>
                  <a:lnTo>
                    <a:pt x="290956" y="255650"/>
                  </a:lnTo>
                  <a:close/>
                </a:path>
                <a:path w="317500" h="314325">
                  <a:moveTo>
                    <a:pt x="32639" y="255650"/>
                  </a:moveTo>
                  <a:lnTo>
                    <a:pt x="26162" y="255650"/>
                  </a:lnTo>
                  <a:lnTo>
                    <a:pt x="23622" y="258190"/>
                  </a:lnTo>
                  <a:lnTo>
                    <a:pt x="23622" y="264795"/>
                  </a:lnTo>
                  <a:lnTo>
                    <a:pt x="26162" y="267462"/>
                  </a:lnTo>
                  <a:lnTo>
                    <a:pt x="32639" y="267462"/>
                  </a:lnTo>
                  <a:lnTo>
                    <a:pt x="35178" y="264795"/>
                  </a:lnTo>
                  <a:lnTo>
                    <a:pt x="35178" y="258190"/>
                  </a:lnTo>
                  <a:lnTo>
                    <a:pt x="32639" y="255650"/>
                  </a:lnTo>
                  <a:close/>
                </a:path>
                <a:path w="317500" h="314325">
                  <a:moveTo>
                    <a:pt x="9017" y="255650"/>
                  </a:moveTo>
                  <a:lnTo>
                    <a:pt x="2540" y="255650"/>
                  </a:lnTo>
                  <a:lnTo>
                    <a:pt x="0" y="258190"/>
                  </a:lnTo>
                  <a:lnTo>
                    <a:pt x="0" y="264795"/>
                  </a:lnTo>
                  <a:lnTo>
                    <a:pt x="2540" y="267462"/>
                  </a:lnTo>
                  <a:lnTo>
                    <a:pt x="9017" y="267462"/>
                  </a:lnTo>
                  <a:lnTo>
                    <a:pt x="11556" y="264795"/>
                  </a:lnTo>
                  <a:lnTo>
                    <a:pt x="11556" y="258190"/>
                  </a:lnTo>
                  <a:lnTo>
                    <a:pt x="9017" y="255650"/>
                  </a:lnTo>
                  <a:close/>
                </a:path>
                <a:path w="317500" h="314325">
                  <a:moveTo>
                    <a:pt x="314071" y="232537"/>
                  </a:moveTo>
                  <a:lnTo>
                    <a:pt x="307594" y="232537"/>
                  </a:lnTo>
                  <a:lnTo>
                    <a:pt x="305053" y="235076"/>
                  </a:lnTo>
                  <a:lnTo>
                    <a:pt x="305053" y="241680"/>
                  </a:lnTo>
                  <a:lnTo>
                    <a:pt x="307594" y="244093"/>
                  </a:lnTo>
                  <a:lnTo>
                    <a:pt x="314071" y="244093"/>
                  </a:lnTo>
                  <a:lnTo>
                    <a:pt x="316992" y="241680"/>
                  </a:lnTo>
                  <a:lnTo>
                    <a:pt x="316992" y="235076"/>
                  </a:lnTo>
                  <a:lnTo>
                    <a:pt x="314071" y="232537"/>
                  </a:lnTo>
                  <a:close/>
                </a:path>
                <a:path w="317500" h="314325">
                  <a:moveTo>
                    <a:pt x="290956" y="232537"/>
                  </a:moveTo>
                  <a:lnTo>
                    <a:pt x="284606" y="232537"/>
                  </a:lnTo>
                  <a:lnTo>
                    <a:pt x="281940" y="235203"/>
                  </a:lnTo>
                  <a:lnTo>
                    <a:pt x="281940" y="241553"/>
                  </a:lnTo>
                  <a:lnTo>
                    <a:pt x="284606" y="244093"/>
                  </a:lnTo>
                  <a:lnTo>
                    <a:pt x="290956" y="244093"/>
                  </a:lnTo>
                  <a:lnTo>
                    <a:pt x="293497" y="241553"/>
                  </a:lnTo>
                  <a:lnTo>
                    <a:pt x="293497" y="235203"/>
                  </a:lnTo>
                  <a:lnTo>
                    <a:pt x="290956" y="232537"/>
                  </a:lnTo>
                  <a:close/>
                </a:path>
                <a:path w="317500" h="314325">
                  <a:moveTo>
                    <a:pt x="32639" y="232537"/>
                  </a:moveTo>
                  <a:lnTo>
                    <a:pt x="26162" y="232537"/>
                  </a:lnTo>
                  <a:lnTo>
                    <a:pt x="23622" y="235203"/>
                  </a:lnTo>
                  <a:lnTo>
                    <a:pt x="23622" y="241553"/>
                  </a:lnTo>
                  <a:lnTo>
                    <a:pt x="26162" y="244093"/>
                  </a:lnTo>
                  <a:lnTo>
                    <a:pt x="32639" y="244093"/>
                  </a:lnTo>
                  <a:lnTo>
                    <a:pt x="35178" y="241553"/>
                  </a:lnTo>
                  <a:lnTo>
                    <a:pt x="35178" y="235203"/>
                  </a:lnTo>
                  <a:lnTo>
                    <a:pt x="32639" y="232537"/>
                  </a:lnTo>
                  <a:close/>
                </a:path>
                <a:path w="317500" h="314325">
                  <a:moveTo>
                    <a:pt x="9017" y="232537"/>
                  </a:moveTo>
                  <a:lnTo>
                    <a:pt x="2540" y="232537"/>
                  </a:lnTo>
                  <a:lnTo>
                    <a:pt x="0" y="235203"/>
                  </a:lnTo>
                  <a:lnTo>
                    <a:pt x="0" y="241553"/>
                  </a:lnTo>
                  <a:lnTo>
                    <a:pt x="2540" y="244093"/>
                  </a:lnTo>
                  <a:lnTo>
                    <a:pt x="9017" y="244093"/>
                  </a:lnTo>
                  <a:lnTo>
                    <a:pt x="11556" y="241553"/>
                  </a:lnTo>
                  <a:lnTo>
                    <a:pt x="11556" y="235203"/>
                  </a:lnTo>
                  <a:lnTo>
                    <a:pt x="9017" y="232537"/>
                  </a:lnTo>
                  <a:close/>
                </a:path>
                <a:path w="317500" h="314325">
                  <a:moveTo>
                    <a:pt x="314071" y="209041"/>
                  </a:moveTo>
                  <a:lnTo>
                    <a:pt x="307594" y="209041"/>
                  </a:lnTo>
                  <a:lnTo>
                    <a:pt x="305053" y="211582"/>
                  </a:lnTo>
                  <a:lnTo>
                    <a:pt x="305053" y="218186"/>
                  </a:lnTo>
                  <a:lnTo>
                    <a:pt x="307594" y="220599"/>
                  </a:lnTo>
                  <a:lnTo>
                    <a:pt x="314071" y="220599"/>
                  </a:lnTo>
                  <a:lnTo>
                    <a:pt x="316992" y="218186"/>
                  </a:lnTo>
                  <a:lnTo>
                    <a:pt x="316992" y="211582"/>
                  </a:lnTo>
                  <a:lnTo>
                    <a:pt x="314071" y="209041"/>
                  </a:lnTo>
                  <a:close/>
                </a:path>
                <a:path w="317500" h="314325">
                  <a:moveTo>
                    <a:pt x="290956" y="209041"/>
                  </a:moveTo>
                  <a:lnTo>
                    <a:pt x="284606" y="209041"/>
                  </a:lnTo>
                  <a:lnTo>
                    <a:pt x="281940" y="211709"/>
                  </a:lnTo>
                  <a:lnTo>
                    <a:pt x="281940" y="218059"/>
                  </a:lnTo>
                  <a:lnTo>
                    <a:pt x="284606" y="220599"/>
                  </a:lnTo>
                  <a:lnTo>
                    <a:pt x="290956" y="220599"/>
                  </a:lnTo>
                  <a:lnTo>
                    <a:pt x="293497" y="218059"/>
                  </a:lnTo>
                  <a:lnTo>
                    <a:pt x="293497" y="211709"/>
                  </a:lnTo>
                  <a:lnTo>
                    <a:pt x="290956" y="209041"/>
                  </a:lnTo>
                  <a:close/>
                </a:path>
                <a:path w="317500" h="314325">
                  <a:moveTo>
                    <a:pt x="32639" y="209041"/>
                  </a:moveTo>
                  <a:lnTo>
                    <a:pt x="26162" y="209041"/>
                  </a:lnTo>
                  <a:lnTo>
                    <a:pt x="23622" y="211709"/>
                  </a:lnTo>
                  <a:lnTo>
                    <a:pt x="23622" y="218059"/>
                  </a:lnTo>
                  <a:lnTo>
                    <a:pt x="26162" y="220599"/>
                  </a:lnTo>
                  <a:lnTo>
                    <a:pt x="32639" y="220599"/>
                  </a:lnTo>
                  <a:lnTo>
                    <a:pt x="35178" y="218059"/>
                  </a:lnTo>
                  <a:lnTo>
                    <a:pt x="35178" y="211709"/>
                  </a:lnTo>
                  <a:lnTo>
                    <a:pt x="32639" y="209041"/>
                  </a:lnTo>
                  <a:close/>
                </a:path>
                <a:path w="317500" h="314325">
                  <a:moveTo>
                    <a:pt x="9017" y="209041"/>
                  </a:moveTo>
                  <a:lnTo>
                    <a:pt x="2540" y="209041"/>
                  </a:lnTo>
                  <a:lnTo>
                    <a:pt x="0" y="211709"/>
                  </a:lnTo>
                  <a:lnTo>
                    <a:pt x="0" y="218059"/>
                  </a:lnTo>
                  <a:lnTo>
                    <a:pt x="2540" y="220599"/>
                  </a:lnTo>
                  <a:lnTo>
                    <a:pt x="9017" y="220599"/>
                  </a:lnTo>
                  <a:lnTo>
                    <a:pt x="11556" y="218059"/>
                  </a:lnTo>
                  <a:lnTo>
                    <a:pt x="11556" y="211709"/>
                  </a:lnTo>
                  <a:lnTo>
                    <a:pt x="9017" y="209041"/>
                  </a:lnTo>
                  <a:close/>
                </a:path>
                <a:path w="317500" h="314325">
                  <a:moveTo>
                    <a:pt x="314071" y="185800"/>
                  </a:moveTo>
                  <a:lnTo>
                    <a:pt x="307594" y="185800"/>
                  </a:lnTo>
                  <a:lnTo>
                    <a:pt x="305053" y="188595"/>
                  </a:lnTo>
                  <a:lnTo>
                    <a:pt x="305053" y="195072"/>
                  </a:lnTo>
                  <a:lnTo>
                    <a:pt x="307594" y="197612"/>
                  </a:lnTo>
                  <a:lnTo>
                    <a:pt x="314071" y="197612"/>
                  </a:lnTo>
                  <a:lnTo>
                    <a:pt x="316992" y="195072"/>
                  </a:lnTo>
                  <a:lnTo>
                    <a:pt x="316992" y="188595"/>
                  </a:lnTo>
                  <a:lnTo>
                    <a:pt x="314071" y="185800"/>
                  </a:lnTo>
                  <a:close/>
                </a:path>
                <a:path w="317500" h="314325">
                  <a:moveTo>
                    <a:pt x="290702" y="185800"/>
                  </a:moveTo>
                  <a:lnTo>
                    <a:pt x="284479" y="185800"/>
                  </a:lnTo>
                  <a:lnTo>
                    <a:pt x="281940" y="188595"/>
                  </a:lnTo>
                  <a:lnTo>
                    <a:pt x="281940" y="195072"/>
                  </a:lnTo>
                  <a:lnTo>
                    <a:pt x="284479" y="197612"/>
                  </a:lnTo>
                  <a:lnTo>
                    <a:pt x="290702" y="197612"/>
                  </a:lnTo>
                  <a:lnTo>
                    <a:pt x="293497" y="195072"/>
                  </a:lnTo>
                  <a:lnTo>
                    <a:pt x="293497" y="188595"/>
                  </a:lnTo>
                  <a:lnTo>
                    <a:pt x="290702" y="185800"/>
                  </a:lnTo>
                  <a:close/>
                </a:path>
                <a:path w="317500" h="314325">
                  <a:moveTo>
                    <a:pt x="32766" y="185800"/>
                  </a:moveTo>
                  <a:lnTo>
                    <a:pt x="26543" y="185800"/>
                  </a:lnTo>
                  <a:lnTo>
                    <a:pt x="23622" y="188595"/>
                  </a:lnTo>
                  <a:lnTo>
                    <a:pt x="23622" y="195072"/>
                  </a:lnTo>
                  <a:lnTo>
                    <a:pt x="26543" y="197612"/>
                  </a:lnTo>
                  <a:lnTo>
                    <a:pt x="32766" y="197612"/>
                  </a:lnTo>
                  <a:lnTo>
                    <a:pt x="35178" y="195072"/>
                  </a:lnTo>
                  <a:lnTo>
                    <a:pt x="35178" y="188595"/>
                  </a:lnTo>
                  <a:lnTo>
                    <a:pt x="32766" y="185800"/>
                  </a:lnTo>
                  <a:close/>
                </a:path>
                <a:path w="317500" h="314325">
                  <a:moveTo>
                    <a:pt x="9144" y="185800"/>
                  </a:moveTo>
                  <a:lnTo>
                    <a:pt x="2921" y="185800"/>
                  </a:lnTo>
                  <a:lnTo>
                    <a:pt x="0" y="188595"/>
                  </a:lnTo>
                  <a:lnTo>
                    <a:pt x="0" y="195072"/>
                  </a:lnTo>
                  <a:lnTo>
                    <a:pt x="2921" y="197612"/>
                  </a:lnTo>
                  <a:lnTo>
                    <a:pt x="9144" y="197612"/>
                  </a:lnTo>
                  <a:lnTo>
                    <a:pt x="11556" y="195072"/>
                  </a:lnTo>
                  <a:lnTo>
                    <a:pt x="11556" y="188595"/>
                  </a:lnTo>
                  <a:lnTo>
                    <a:pt x="9144" y="185800"/>
                  </a:lnTo>
                  <a:close/>
                </a:path>
                <a:path w="317500" h="314325">
                  <a:moveTo>
                    <a:pt x="314071" y="162687"/>
                  </a:moveTo>
                  <a:lnTo>
                    <a:pt x="307594" y="162687"/>
                  </a:lnTo>
                  <a:lnTo>
                    <a:pt x="305053" y="165608"/>
                  </a:lnTo>
                  <a:lnTo>
                    <a:pt x="305053" y="171830"/>
                  </a:lnTo>
                  <a:lnTo>
                    <a:pt x="307594" y="174243"/>
                  </a:lnTo>
                  <a:lnTo>
                    <a:pt x="314071" y="174243"/>
                  </a:lnTo>
                  <a:lnTo>
                    <a:pt x="316992" y="171830"/>
                  </a:lnTo>
                  <a:lnTo>
                    <a:pt x="316992" y="165608"/>
                  </a:lnTo>
                  <a:lnTo>
                    <a:pt x="314071" y="162687"/>
                  </a:lnTo>
                  <a:close/>
                </a:path>
                <a:path w="317500" h="314325">
                  <a:moveTo>
                    <a:pt x="290956" y="162687"/>
                  </a:moveTo>
                  <a:lnTo>
                    <a:pt x="284606" y="162687"/>
                  </a:lnTo>
                  <a:lnTo>
                    <a:pt x="281940" y="165353"/>
                  </a:lnTo>
                  <a:lnTo>
                    <a:pt x="281940" y="171703"/>
                  </a:lnTo>
                  <a:lnTo>
                    <a:pt x="284606" y="174243"/>
                  </a:lnTo>
                  <a:lnTo>
                    <a:pt x="290956" y="174243"/>
                  </a:lnTo>
                  <a:lnTo>
                    <a:pt x="293497" y="171703"/>
                  </a:lnTo>
                  <a:lnTo>
                    <a:pt x="293497" y="165353"/>
                  </a:lnTo>
                  <a:lnTo>
                    <a:pt x="290956" y="162687"/>
                  </a:lnTo>
                  <a:close/>
                </a:path>
                <a:path w="317500" h="314325">
                  <a:moveTo>
                    <a:pt x="32639" y="162687"/>
                  </a:moveTo>
                  <a:lnTo>
                    <a:pt x="26162" y="162687"/>
                  </a:lnTo>
                  <a:lnTo>
                    <a:pt x="23622" y="165353"/>
                  </a:lnTo>
                  <a:lnTo>
                    <a:pt x="23622" y="171703"/>
                  </a:lnTo>
                  <a:lnTo>
                    <a:pt x="26162" y="174243"/>
                  </a:lnTo>
                  <a:lnTo>
                    <a:pt x="32639" y="174243"/>
                  </a:lnTo>
                  <a:lnTo>
                    <a:pt x="35178" y="171703"/>
                  </a:lnTo>
                  <a:lnTo>
                    <a:pt x="35178" y="165353"/>
                  </a:lnTo>
                  <a:lnTo>
                    <a:pt x="32639" y="162687"/>
                  </a:lnTo>
                  <a:close/>
                </a:path>
                <a:path w="317500" h="314325">
                  <a:moveTo>
                    <a:pt x="9017" y="162687"/>
                  </a:moveTo>
                  <a:lnTo>
                    <a:pt x="2540" y="162687"/>
                  </a:lnTo>
                  <a:lnTo>
                    <a:pt x="0" y="165353"/>
                  </a:lnTo>
                  <a:lnTo>
                    <a:pt x="0" y="171703"/>
                  </a:lnTo>
                  <a:lnTo>
                    <a:pt x="2540" y="174243"/>
                  </a:lnTo>
                  <a:lnTo>
                    <a:pt x="9017" y="174243"/>
                  </a:lnTo>
                  <a:lnTo>
                    <a:pt x="11556" y="171703"/>
                  </a:lnTo>
                  <a:lnTo>
                    <a:pt x="11556" y="165353"/>
                  </a:lnTo>
                  <a:lnTo>
                    <a:pt x="9017" y="162687"/>
                  </a:lnTo>
                  <a:close/>
                </a:path>
                <a:path w="317500" h="314325">
                  <a:moveTo>
                    <a:pt x="314071" y="139700"/>
                  </a:moveTo>
                  <a:lnTo>
                    <a:pt x="307594" y="139700"/>
                  </a:lnTo>
                  <a:lnTo>
                    <a:pt x="305053" y="142112"/>
                  </a:lnTo>
                  <a:lnTo>
                    <a:pt x="305053" y="148336"/>
                  </a:lnTo>
                  <a:lnTo>
                    <a:pt x="307594" y="151257"/>
                  </a:lnTo>
                  <a:lnTo>
                    <a:pt x="314071" y="151257"/>
                  </a:lnTo>
                  <a:lnTo>
                    <a:pt x="316992" y="148336"/>
                  </a:lnTo>
                  <a:lnTo>
                    <a:pt x="316992" y="142112"/>
                  </a:lnTo>
                  <a:lnTo>
                    <a:pt x="314071" y="139700"/>
                  </a:lnTo>
                  <a:close/>
                </a:path>
                <a:path w="317500" h="314325">
                  <a:moveTo>
                    <a:pt x="290956" y="139700"/>
                  </a:moveTo>
                  <a:lnTo>
                    <a:pt x="284606" y="139700"/>
                  </a:lnTo>
                  <a:lnTo>
                    <a:pt x="281940" y="142239"/>
                  </a:lnTo>
                  <a:lnTo>
                    <a:pt x="281940" y="148589"/>
                  </a:lnTo>
                  <a:lnTo>
                    <a:pt x="284606" y="151257"/>
                  </a:lnTo>
                  <a:lnTo>
                    <a:pt x="290956" y="151257"/>
                  </a:lnTo>
                  <a:lnTo>
                    <a:pt x="293497" y="148589"/>
                  </a:lnTo>
                  <a:lnTo>
                    <a:pt x="293497" y="142239"/>
                  </a:lnTo>
                  <a:lnTo>
                    <a:pt x="290956" y="139700"/>
                  </a:lnTo>
                  <a:close/>
                </a:path>
                <a:path w="317500" h="314325">
                  <a:moveTo>
                    <a:pt x="32639" y="139700"/>
                  </a:moveTo>
                  <a:lnTo>
                    <a:pt x="26162" y="139700"/>
                  </a:lnTo>
                  <a:lnTo>
                    <a:pt x="23622" y="142239"/>
                  </a:lnTo>
                  <a:lnTo>
                    <a:pt x="23622" y="148589"/>
                  </a:lnTo>
                  <a:lnTo>
                    <a:pt x="26162" y="151257"/>
                  </a:lnTo>
                  <a:lnTo>
                    <a:pt x="32639" y="151257"/>
                  </a:lnTo>
                  <a:lnTo>
                    <a:pt x="35178" y="148589"/>
                  </a:lnTo>
                  <a:lnTo>
                    <a:pt x="35178" y="142239"/>
                  </a:lnTo>
                  <a:lnTo>
                    <a:pt x="32639" y="139700"/>
                  </a:lnTo>
                  <a:close/>
                </a:path>
                <a:path w="317500" h="314325">
                  <a:moveTo>
                    <a:pt x="9017" y="139700"/>
                  </a:moveTo>
                  <a:lnTo>
                    <a:pt x="2540" y="139700"/>
                  </a:lnTo>
                  <a:lnTo>
                    <a:pt x="0" y="142239"/>
                  </a:lnTo>
                  <a:lnTo>
                    <a:pt x="0" y="148589"/>
                  </a:lnTo>
                  <a:lnTo>
                    <a:pt x="2540" y="151257"/>
                  </a:lnTo>
                  <a:lnTo>
                    <a:pt x="9017" y="151257"/>
                  </a:lnTo>
                  <a:lnTo>
                    <a:pt x="11556" y="148589"/>
                  </a:lnTo>
                  <a:lnTo>
                    <a:pt x="11556" y="142239"/>
                  </a:lnTo>
                  <a:lnTo>
                    <a:pt x="9017" y="139700"/>
                  </a:lnTo>
                  <a:close/>
                </a:path>
                <a:path w="317500" h="314325">
                  <a:moveTo>
                    <a:pt x="314071" y="116204"/>
                  </a:moveTo>
                  <a:lnTo>
                    <a:pt x="307594" y="116204"/>
                  </a:lnTo>
                  <a:lnTo>
                    <a:pt x="305053" y="118617"/>
                  </a:lnTo>
                  <a:lnTo>
                    <a:pt x="305053" y="125222"/>
                  </a:lnTo>
                  <a:lnTo>
                    <a:pt x="307594" y="127762"/>
                  </a:lnTo>
                  <a:lnTo>
                    <a:pt x="314071" y="127762"/>
                  </a:lnTo>
                  <a:lnTo>
                    <a:pt x="316992" y="125222"/>
                  </a:lnTo>
                  <a:lnTo>
                    <a:pt x="316992" y="118617"/>
                  </a:lnTo>
                  <a:lnTo>
                    <a:pt x="314071" y="116204"/>
                  </a:lnTo>
                  <a:close/>
                </a:path>
                <a:path w="317500" h="314325">
                  <a:moveTo>
                    <a:pt x="290956" y="116204"/>
                  </a:moveTo>
                  <a:lnTo>
                    <a:pt x="284606" y="116204"/>
                  </a:lnTo>
                  <a:lnTo>
                    <a:pt x="281940" y="118745"/>
                  </a:lnTo>
                  <a:lnTo>
                    <a:pt x="281940" y="125095"/>
                  </a:lnTo>
                  <a:lnTo>
                    <a:pt x="284606" y="127762"/>
                  </a:lnTo>
                  <a:lnTo>
                    <a:pt x="290956" y="127762"/>
                  </a:lnTo>
                  <a:lnTo>
                    <a:pt x="293497" y="125095"/>
                  </a:lnTo>
                  <a:lnTo>
                    <a:pt x="293497" y="118745"/>
                  </a:lnTo>
                  <a:lnTo>
                    <a:pt x="290956" y="116204"/>
                  </a:lnTo>
                  <a:close/>
                </a:path>
                <a:path w="317500" h="314325">
                  <a:moveTo>
                    <a:pt x="32639" y="116204"/>
                  </a:moveTo>
                  <a:lnTo>
                    <a:pt x="26162" y="116204"/>
                  </a:lnTo>
                  <a:lnTo>
                    <a:pt x="23622" y="118745"/>
                  </a:lnTo>
                  <a:lnTo>
                    <a:pt x="23622" y="125095"/>
                  </a:lnTo>
                  <a:lnTo>
                    <a:pt x="26162" y="127762"/>
                  </a:lnTo>
                  <a:lnTo>
                    <a:pt x="32639" y="127762"/>
                  </a:lnTo>
                  <a:lnTo>
                    <a:pt x="35178" y="125095"/>
                  </a:lnTo>
                  <a:lnTo>
                    <a:pt x="35178" y="118745"/>
                  </a:lnTo>
                  <a:lnTo>
                    <a:pt x="32639" y="116204"/>
                  </a:lnTo>
                  <a:close/>
                </a:path>
                <a:path w="317500" h="314325">
                  <a:moveTo>
                    <a:pt x="9017" y="116204"/>
                  </a:moveTo>
                  <a:lnTo>
                    <a:pt x="2540" y="116204"/>
                  </a:lnTo>
                  <a:lnTo>
                    <a:pt x="0" y="118745"/>
                  </a:lnTo>
                  <a:lnTo>
                    <a:pt x="0" y="125095"/>
                  </a:lnTo>
                  <a:lnTo>
                    <a:pt x="2540" y="127762"/>
                  </a:lnTo>
                  <a:lnTo>
                    <a:pt x="9017" y="127762"/>
                  </a:lnTo>
                  <a:lnTo>
                    <a:pt x="11556" y="125095"/>
                  </a:lnTo>
                  <a:lnTo>
                    <a:pt x="11556" y="118745"/>
                  </a:lnTo>
                  <a:lnTo>
                    <a:pt x="9017" y="116204"/>
                  </a:lnTo>
                  <a:close/>
                </a:path>
                <a:path w="317500" h="314325">
                  <a:moveTo>
                    <a:pt x="314071" y="92837"/>
                  </a:moveTo>
                  <a:lnTo>
                    <a:pt x="307594" y="92837"/>
                  </a:lnTo>
                  <a:lnTo>
                    <a:pt x="305053" y="95376"/>
                  </a:lnTo>
                  <a:lnTo>
                    <a:pt x="305053" y="102235"/>
                  </a:lnTo>
                  <a:lnTo>
                    <a:pt x="307594" y="104648"/>
                  </a:lnTo>
                  <a:lnTo>
                    <a:pt x="314071" y="104648"/>
                  </a:lnTo>
                  <a:lnTo>
                    <a:pt x="316992" y="102235"/>
                  </a:lnTo>
                  <a:lnTo>
                    <a:pt x="316992" y="95376"/>
                  </a:lnTo>
                  <a:lnTo>
                    <a:pt x="314071" y="92837"/>
                  </a:lnTo>
                  <a:close/>
                </a:path>
                <a:path w="317500" h="314325">
                  <a:moveTo>
                    <a:pt x="290956" y="92837"/>
                  </a:moveTo>
                  <a:lnTo>
                    <a:pt x="284606" y="92837"/>
                  </a:lnTo>
                  <a:lnTo>
                    <a:pt x="281940" y="95503"/>
                  </a:lnTo>
                  <a:lnTo>
                    <a:pt x="281940" y="102108"/>
                  </a:lnTo>
                  <a:lnTo>
                    <a:pt x="284606" y="104648"/>
                  </a:lnTo>
                  <a:lnTo>
                    <a:pt x="290956" y="104648"/>
                  </a:lnTo>
                  <a:lnTo>
                    <a:pt x="293497" y="102108"/>
                  </a:lnTo>
                  <a:lnTo>
                    <a:pt x="293497" y="95503"/>
                  </a:lnTo>
                  <a:lnTo>
                    <a:pt x="290956" y="92837"/>
                  </a:lnTo>
                  <a:close/>
                </a:path>
                <a:path w="317500" h="314325">
                  <a:moveTo>
                    <a:pt x="32639" y="92837"/>
                  </a:moveTo>
                  <a:lnTo>
                    <a:pt x="26162" y="92837"/>
                  </a:lnTo>
                  <a:lnTo>
                    <a:pt x="23622" y="95503"/>
                  </a:lnTo>
                  <a:lnTo>
                    <a:pt x="23622" y="102108"/>
                  </a:lnTo>
                  <a:lnTo>
                    <a:pt x="26162" y="104648"/>
                  </a:lnTo>
                  <a:lnTo>
                    <a:pt x="32639" y="104648"/>
                  </a:lnTo>
                  <a:lnTo>
                    <a:pt x="35178" y="102108"/>
                  </a:lnTo>
                  <a:lnTo>
                    <a:pt x="35178" y="95503"/>
                  </a:lnTo>
                  <a:lnTo>
                    <a:pt x="32639" y="92837"/>
                  </a:lnTo>
                  <a:close/>
                </a:path>
                <a:path w="317500" h="314325">
                  <a:moveTo>
                    <a:pt x="9017" y="92837"/>
                  </a:moveTo>
                  <a:lnTo>
                    <a:pt x="2540" y="92837"/>
                  </a:lnTo>
                  <a:lnTo>
                    <a:pt x="0" y="95503"/>
                  </a:lnTo>
                  <a:lnTo>
                    <a:pt x="0" y="102108"/>
                  </a:lnTo>
                  <a:lnTo>
                    <a:pt x="2540" y="104648"/>
                  </a:lnTo>
                  <a:lnTo>
                    <a:pt x="9017" y="104648"/>
                  </a:lnTo>
                  <a:lnTo>
                    <a:pt x="11556" y="102108"/>
                  </a:lnTo>
                  <a:lnTo>
                    <a:pt x="11556" y="95503"/>
                  </a:lnTo>
                  <a:lnTo>
                    <a:pt x="9017" y="92837"/>
                  </a:lnTo>
                  <a:close/>
                </a:path>
                <a:path w="317500" h="314325">
                  <a:moveTo>
                    <a:pt x="314071" y="69850"/>
                  </a:moveTo>
                  <a:lnTo>
                    <a:pt x="307594" y="69850"/>
                  </a:lnTo>
                  <a:lnTo>
                    <a:pt x="305053" y="72262"/>
                  </a:lnTo>
                  <a:lnTo>
                    <a:pt x="305053" y="78866"/>
                  </a:lnTo>
                  <a:lnTo>
                    <a:pt x="307594" y="81407"/>
                  </a:lnTo>
                  <a:lnTo>
                    <a:pt x="314071" y="81407"/>
                  </a:lnTo>
                  <a:lnTo>
                    <a:pt x="316992" y="78866"/>
                  </a:lnTo>
                  <a:lnTo>
                    <a:pt x="316992" y="72262"/>
                  </a:lnTo>
                  <a:lnTo>
                    <a:pt x="314071" y="69850"/>
                  </a:lnTo>
                  <a:close/>
                </a:path>
                <a:path w="317500" h="314325">
                  <a:moveTo>
                    <a:pt x="290956" y="69850"/>
                  </a:moveTo>
                  <a:lnTo>
                    <a:pt x="284606" y="69850"/>
                  </a:lnTo>
                  <a:lnTo>
                    <a:pt x="281940" y="72389"/>
                  </a:lnTo>
                  <a:lnTo>
                    <a:pt x="281940" y="78739"/>
                  </a:lnTo>
                  <a:lnTo>
                    <a:pt x="284606" y="81407"/>
                  </a:lnTo>
                  <a:lnTo>
                    <a:pt x="290956" y="81407"/>
                  </a:lnTo>
                  <a:lnTo>
                    <a:pt x="293497" y="78739"/>
                  </a:lnTo>
                  <a:lnTo>
                    <a:pt x="293497" y="72389"/>
                  </a:lnTo>
                  <a:lnTo>
                    <a:pt x="290956" y="69850"/>
                  </a:lnTo>
                  <a:close/>
                </a:path>
                <a:path w="317500" h="314325">
                  <a:moveTo>
                    <a:pt x="32639" y="69850"/>
                  </a:moveTo>
                  <a:lnTo>
                    <a:pt x="26162" y="69850"/>
                  </a:lnTo>
                  <a:lnTo>
                    <a:pt x="23622" y="72389"/>
                  </a:lnTo>
                  <a:lnTo>
                    <a:pt x="23622" y="78739"/>
                  </a:lnTo>
                  <a:lnTo>
                    <a:pt x="26162" y="81407"/>
                  </a:lnTo>
                  <a:lnTo>
                    <a:pt x="32639" y="81407"/>
                  </a:lnTo>
                  <a:lnTo>
                    <a:pt x="35178" y="78739"/>
                  </a:lnTo>
                  <a:lnTo>
                    <a:pt x="35178" y="72389"/>
                  </a:lnTo>
                  <a:lnTo>
                    <a:pt x="32639" y="69850"/>
                  </a:lnTo>
                  <a:close/>
                </a:path>
                <a:path w="317500" h="314325">
                  <a:moveTo>
                    <a:pt x="9017" y="69850"/>
                  </a:moveTo>
                  <a:lnTo>
                    <a:pt x="2540" y="69850"/>
                  </a:lnTo>
                  <a:lnTo>
                    <a:pt x="0" y="72389"/>
                  </a:lnTo>
                  <a:lnTo>
                    <a:pt x="0" y="78739"/>
                  </a:lnTo>
                  <a:lnTo>
                    <a:pt x="2540" y="81407"/>
                  </a:lnTo>
                  <a:lnTo>
                    <a:pt x="9017" y="81407"/>
                  </a:lnTo>
                  <a:lnTo>
                    <a:pt x="11556" y="78739"/>
                  </a:lnTo>
                  <a:lnTo>
                    <a:pt x="11556" y="72389"/>
                  </a:lnTo>
                  <a:lnTo>
                    <a:pt x="9017" y="69850"/>
                  </a:lnTo>
                  <a:close/>
                </a:path>
                <a:path w="317500" h="314325">
                  <a:moveTo>
                    <a:pt x="314071" y="46354"/>
                  </a:moveTo>
                  <a:lnTo>
                    <a:pt x="307594" y="46354"/>
                  </a:lnTo>
                  <a:lnTo>
                    <a:pt x="305053" y="49275"/>
                  </a:lnTo>
                  <a:lnTo>
                    <a:pt x="305053" y="55372"/>
                  </a:lnTo>
                  <a:lnTo>
                    <a:pt x="307594" y="57912"/>
                  </a:lnTo>
                  <a:lnTo>
                    <a:pt x="314071" y="57912"/>
                  </a:lnTo>
                  <a:lnTo>
                    <a:pt x="316992" y="55372"/>
                  </a:lnTo>
                  <a:lnTo>
                    <a:pt x="316992" y="49275"/>
                  </a:lnTo>
                  <a:lnTo>
                    <a:pt x="314071" y="46354"/>
                  </a:lnTo>
                  <a:close/>
                </a:path>
                <a:path w="317500" h="314325">
                  <a:moveTo>
                    <a:pt x="290956" y="46354"/>
                  </a:moveTo>
                  <a:lnTo>
                    <a:pt x="284606" y="46354"/>
                  </a:lnTo>
                  <a:lnTo>
                    <a:pt x="281940" y="48895"/>
                  </a:lnTo>
                  <a:lnTo>
                    <a:pt x="281940" y="55245"/>
                  </a:lnTo>
                  <a:lnTo>
                    <a:pt x="284606" y="57912"/>
                  </a:lnTo>
                  <a:lnTo>
                    <a:pt x="290956" y="57912"/>
                  </a:lnTo>
                  <a:lnTo>
                    <a:pt x="293497" y="55245"/>
                  </a:lnTo>
                  <a:lnTo>
                    <a:pt x="293497" y="48895"/>
                  </a:lnTo>
                  <a:lnTo>
                    <a:pt x="290956" y="46354"/>
                  </a:lnTo>
                  <a:close/>
                </a:path>
                <a:path w="317500" h="314325">
                  <a:moveTo>
                    <a:pt x="32639" y="46354"/>
                  </a:moveTo>
                  <a:lnTo>
                    <a:pt x="26162" y="46354"/>
                  </a:lnTo>
                  <a:lnTo>
                    <a:pt x="23622" y="48895"/>
                  </a:lnTo>
                  <a:lnTo>
                    <a:pt x="23622" y="55245"/>
                  </a:lnTo>
                  <a:lnTo>
                    <a:pt x="26162" y="57912"/>
                  </a:lnTo>
                  <a:lnTo>
                    <a:pt x="32639" y="57912"/>
                  </a:lnTo>
                  <a:lnTo>
                    <a:pt x="35178" y="55245"/>
                  </a:lnTo>
                  <a:lnTo>
                    <a:pt x="35178" y="48895"/>
                  </a:lnTo>
                  <a:lnTo>
                    <a:pt x="32639" y="46354"/>
                  </a:lnTo>
                  <a:close/>
                </a:path>
                <a:path w="317500" h="314325">
                  <a:moveTo>
                    <a:pt x="9017" y="46354"/>
                  </a:moveTo>
                  <a:lnTo>
                    <a:pt x="2540" y="46354"/>
                  </a:lnTo>
                  <a:lnTo>
                    <a:pt x="0" y="48895"/>
                  </a:lnTo>
                  <a:lnTo>
                    <a:pt x="0" y="55245"/>
                  </a:lnTo>
                  <a:lnTo>
                    <a:pt x="2540" y="57912"/>
                  </a:lnTo>
                  <a:lnTo>
                    <a:pt x="9017" y="57912"/>
                  </a:lnTo>
                  <a:lnTo>
                    <a:pt x="11556" y="55245"/>
                  </a:lnTo>
                  <a:lnTo>
                    <a:pt x="11556" y="48895"/>
                  </a:lnTo>
                  <a:lnTo>
                    <a:pt x="9017" y="46354"/>
                  </a:lnTo>
                  <a:close/>
                </a:path>
                <a:path w="317500" h="314325">
                  <a:moveTo>
                    <a:pt x="314071" y="23367"/>
                  </a:moveTo>
                  <a:lnTo>
                    <a:pt x="307594" y="23367"/>
                  </a:lnTo>
                  <a:lnTo>
                    <a:pt x="305053" y="25780"/>
                  </a:lnTo>
                  <a:lnTo>
                    <a:pt x="305053" y="32003"/>
                  </a:lnTo>
                  <a:lnTo>
                    <a:pt x="307594" y="34798"/>
                  </a:lnTo>
                  <a:lnTo>
                    <a:pt x="314071" y="34798"/>
                  </a:lnTo>
                  <a:lnTo>
                    <a:pt x="316992" y="32003"/>
                  </a:lnTo>
                  <a:lnTo>
                    <a:pt x="316992" y="25780"/>
                  </a:lnTo>
                  <a:lnTo>
                    <a:pt x="314071" y="23367"/>
                  </a:lnTo>
                  <a:close/>
                </a:path>
                <a:path w="317500" h="314325">
                  <a:moveTo>
                    <a:pt x="290956" y="23367"/>
                  </a:moveTo>
                  <a:lnTo>
                    <a:pt x="284606" y="23367"/>
                  </a:lnTo>
                  <a:lnTo>
                    <a:pt x="281940" y="25908"/>
                  </a:lnTo>
                  <a:lnTo>
                    <a:pt x="281940" y="32258"/>
                  </a:lnTo>
                  <a:lnTo>
                    <a:pt x="284606" y="34798"/>
                  </a:lnTo>
                  <a:lnTo>
                    <a:pt x="290956" y="34798"/>
                  </a:lnTo>
                  <a:lnTo>
                    <a:pt x="293497" y="32258"/>
                  </a:lnTo>
                  <a:lnTo>
                    <a:pt x="293497" y="25908"/>
                  </a:lnTo>
                  <a:lnTo>
                    <a:pt x="290956" y="23367"/>
                  </a:lnTo>
                  <a:close/>
                </a:path>
                <a:path w="317500" h="314325">
                  <a:moveTo>
                    <a:pt x="267462" y="23367"/>
                  </a:moveTo>
                  <a:lnTo>
                    <a:pt x="261112" y="23367"/>
                  </a:lnTo>
                  <a:lnTo>
                    <a:pt x="258445" y="25908"/>
                  </a:lnTo>
                  <a:lnTo>
                    <a:pt x="258445" y="32258"/>
                  </a:lnTo>
                  <a:lnTo>
                    <a:pt x="261112" y="34798"/>
                  </a:lnTo>
                  <a:lnTo>
                    <a:pt x="267462" y="34798"/>
                  </a:lnTo>
                  <a:lnTo>
                    <a:pt x="270128" y="32258"/>
                  </a:lnTo>
                  <a:lnTo>
                    <a:pt x="270128" y="25908"/>
                  </a:lnTo>
                  <a:lnTo>
                    <a:pt x="267462" y="23367"/>
                  </a:lnTo>
                  <a:close/>
                </a:path>
                <a:path w="317500" h="314325">
                  <a:moveTo>
                    <a:pt x="243840" y="23367"/>
                  </a:moveTo>
                  <a:lnTo>
                    <a:pt x="237236" y="23367"/>
                  </a:lnTo>
                  <a:lnTo>
                    <a:pt x="234569" y="25908"/>
                  </a:lnTo>
                  <a:lnTo>
                    <a:pt x="234569" y="32258"/>
                  </a:lnTo>
                  <a:lnTo>
                    <a:pt x="237236" y="34798"/>
                  </a:lnTo>
                  <a:lnTo>
                    <a:pt x="243840" y="34798"/>
                  </a:lnTo>
                  <a:lnTo>
                    <a:pt x="246506" y="32258"/>
                  </a:lnTo>
                  <a:lnTo>
                    <a:pt x="246506" y="25908"/>
                  </a:lnTo>
                  <a:lnTo>
                    <a:pt x="243840" y="23367"/>
                  </a:lnTo>
                  <a:close/>
                </a:path>
                <a:path w="317500" h="314325">
                  <a:moveTo>
                    <a:pt x="220345" y="23367"/>
                  </a:moveTo>
                  <a:lnTo>
                    <a:pt x="213614" y="23367"/>
                  </a:lnTo>
                  <a:lnTo>
                    <a:pt x="210947" y="25908"/>
                  </a:lnTo>
                  <a:lnTo>
                    <a:pt x="210947" y="32258"/>
                  </a:lnTo>
                  <a:lnTo>
                    <a:pt x="213614" y="34798"/>
                  </a:lnTo>
                  <a:lnTo>
                    <a:pt x="220345" y="34798"/>
                  </a:lnTo>
                  <a:lnTo>
                    <a:pt x="223012" y="32258"/>
                  </a:lnTo>
                  <a:lnTo>
                    <a:pt x="223012" y="25908"/>
                  </a:lnTo>
                  <a:lnTo>
                    <a:pt x="220345" y="23367"/>
                  </a:lnTo>
                  <a:close/>
                </a:path>
                <a:path w="317500" h="314325">
                  <a:moveTo>
                    <a:pt x="196850" y="23367"/>
                  </a:moveTo>
                  <a:lnTo>
                    <a:pt x="190373" y="23367"/>
                  </a:lnTo>
                  <a:lnTo>
                    <a:pt x="187833" y="25908"/>
                  </a:lnTo>
                  <a:lnTo>
                    <a:pt x="187833" y="32258"/>
                  </a:lnTo>
                  <a:lnTo>
                    <a:pt x="190373" y="34798"/>
                  </a:lnTo>
                  <a:lnTo>
                    <a:pt x="196850" y="34798"/>
                  </a:lnTo>
                  <a:lnTo>
                    <a:pt x="199390" y="32258"/>
                  </a:lnTo>
                  <a:lnTo>
                    <a:pt x="199390" y="25908"/>
                  </a:lnTo>
                  <a:lnTo>
                    <a:pt x="196850" y="23367"/>
                  </a:lnTo>
                  <a:close/>
                </a:path>
                <a:path w="317500" h="314325">
                  <a:moveTo>
                    <a:pt x="173354" y="23367"/>
                  </a:moveTo>
                  <a:lnTo>
                    <a:pt x="167004" y="23367"/>
                  </a:lnTo>
                  <a:lnTo>
                    <a:pt x="164338" y="25908"/>
                  </a:lnTo>
                  <a:lnTo>
                    <a:pt x="164338" y="32258"/>
                  </a:lnTo>
                  <a:lnTo>
                    <a:pt x="167004" y="34798"/>
                  </a:lnTo>
                  <a:lnTo>
                    <a:pt x="173354" y="34798"/>
                  </a:lnTo>
                  <a:lnTo>
                    <a:pt x="175895" y="32258"/>
                  </a:lnTo>
                  <a:lnTo>
                    <a:pt x="175895" y="25908"/>
                  </a:lnTo>
                  <a:lnTo>
                    <a:pt x="173354" y="23367"/>
                  </a:lnTo>
                  <a:close/>
                </a:path>
                <a:path w="317500" h="314325">
                  <a:moveTo>
                    <a:pt x="150114" y="23367"/>
                  </a:moveTo>
                  <a:lnTo>
                    <a:pt x="143383" y="23367"/>
                  </a:lnTo>
                  <a:lnTo>
                    <a:pt x="140716" y="25908"/>
                  </a:lnTo>
                  <a:lnTo>
                    <a:pt x="140716" y="32258"/>
                  </a:lnTo>
                  <a:lnTo>
                    <a:pt x="143383" y="34798"/>
                  </a:lnTo>
                  <a:lnTo>
                    <a:pt x="150114" y="34798"/>
                  </a:lnTo>
                  <a:lnTo>
                    <a:pt x="152780" y="32258"/>
                  </a:lnTo>
                  <a:lnTo>
                    <a:pt x="152780" y="25908"/>
                  </a:lnTo>
                  <a:lnTo>
                    <a:pt x="150114" y="23367"/>
                  </a:lnTo>
                  <a:close/>
                </a:path>
                <a:path w="317500" h="314325">
                  <a:moveTo>
                    <a:pt x="126619" y="23367"/>
                  </a:moveTo>
                  <a:lnTo>
                    <a:pt x="120015" y="23367"/>
                  </a:lnTo>
                  <a:lnTo>
                    <a:pt x="117348" y="25908"/>
                  </a:lnTo>
                  <a:lnTo>
                    <a:pt x="117348" y="32258"/>
                  </a:lnTo>
                  <a:lnTo>
                    <a:pt x="120015" y="34798"/>
                  </a:lnTo>
                  <a:lnTo>
                    <a:pt x="126619" y="34798"/>
                  </a:lnTo>
                  <a:lnTo>
                    <a:pt x="129286" y="32258"/>
                  </a:lnTo>
                  <a:lnTo>
                    <a:pt x="129286" y="25908"/>
                  </a:lnTo>
                  <a:lnTo>
                    <a:pt x="126619" y="23367"/>
                  </a:lnTo>
                  <a:close/>
                </a:path>
                <a:path w="317500" h="314325">
                  <a:moveTo>
                    <a:pt x="103124" y="23367"/>
                  </a:moveTo>
                  <a:lnTo>
                    <a:pt x="96774" y="23367"/>
                  </a:lnTo>
                  <a:lnTo>
                    <a:pt x="94106" y="25908"/>
                  </a:lnTo>
                  <a:lnTo>
                    <a:pt x="94106" y="32258"/>
                  </a:lnTo>
                  <a:lnTo>
                    <a:pt x="96774" y="34798"/>
                  </a:lnTo>
                  <a:lnTo>
                    <a:pt x="103124" y="34798"/>
                  </a:lnTo>
                  <a:lnTo>
                    <a:pt x="105664" y="32258"/>
                  </a:lnTo>
                  <a:lnTo>
                    <a:pt x="105664" y="25908"/>
                  </a:lnTo>
                  <a:lnTo>
                    <a:pt x="103124" y="23367"/>
                  </a:lnTo>
                  <a:close/>
                </a:path>
                <a:path w="317500" h="314325">
                  <a:moveTo>
                    <a:pt x="79628" y="23367"/>
                  </a:moveTo>
                  <a:lnTo>
                    <a:pt x="73278" y="23367"/>
                  </a:lnTo>
                  <a:lnTo>
                    <a:pt x="70739" y="25908"/>
                  </a:lnTo>
                  <a:lnTo>
                    <a:pt x="70739" y="32258"/>
                  </a:lnTo>
                  <a:lnTo>
                    <a:pt x="73278" y="34798"/>
                  </a:lnTo>
                  <a:lnTo>
                    <a:pt x="79628" y="34798"/>
                  </a:lnTo>
                  <a:lnTo>
                    <a:pt x="82296" y="32258"/>
                  </a:lnTo>
                  <a:lnTo>
                    <a:pt x="82296" y="25908"/>
                  </a:lnTo>
                  <a:lnTo>
                    <a:pt x="79628" y="23367"/>
                  </a:lnTo>
                  <a:close/>
                </a:path>
                <a:path w="317500" h="314325">
                  <a:moveTo>
                    <a:pt x="56006" y="23367"/>
                  </a:moveTo>
                  <a:lnTo>
                    <a:pt x="49656" y="23367"/>
                  </a:lnTo>
                  <a:lnTo>
                    <a:pt x="47117" y="25908"/>
                  </a:lnTo>
                  <a:lnTo>
                    <a:pt x="47117" y="32258"/>
                  </a:lnTo>
                  <a:lnTo>
                    <a:pt x="49656" y="34798"/>
                  </a:lnTo>
                  <a:lnTo>
                    <a:pt x="56006" y="34798"/>
                  </a:lnTo>
                  <a:lnTo>
                    <a:pt x="58674" y="32258"/>
                  </a:lnTo>
                  <a:lnTo>
                    <a:pt x="58674" y="25908"/>
                  </a:lnTo>
                  <a:lnTo>
                    <a:pt x="56006" y="23367"/>
                  </a:lnTo>
                  <a:close/>
                </a:path>
                <a:path w="317500" h="314325">
                  <a:moveTo>
                    <a:pt x="32639" y="23367"/>
                  </a:moveTo>
                  <a:lnTo>
                    <a:pt x="26162" y="23367"/>
                  </a:lnTo>
                  <a:lnTo>
                    <a:pt x="23622" y="25908"/>
                  </a:lnTo>
                  <a:lnTo>
                    <a:pt x="23622" y="32258"/>
                  </a:lnTo>
                  <a:lnTo>
                    <a:pt x="26162" y="34798"/>
                  </a:lnTo>
                  <a:lnTo>
                    <a:pt x="32639" y="34798"/>
                  </a:lnTo>
                  <a:lnTo>
                    <a:pt x="35178" y="32258"/>
                  </a:lnTo>
                  <a:lnTo>
                    <a:pt x="35178" y="25908"/>
                  </a:lnTo>
                  <a:lnTo>
                    <a:pt x="32639" y="23367"/>
                  </a:lnTo>
                  <a:close/>
                </a:path>
                <a:path w="317500" h="314325">
                  <a:moveTo>
                    <a:pt x="9017" y="23367"/>
                  </a:moveTo>
                  <a:lnTo>
                    <a:pt x="2540" y="23367"/>
                  </a:lnTo>
                  <a:lnTo>
                    <a:pt x="0" y="25908"/>
                  </a:lnTo>
                  <a:lnTo>
                    <a:pt x="0" y="32258"/>
                  </a:lnTo>
                  <a:lnTo>
                    <a:pt x="2540" y="34798"/>
                  </a:lnTo>
                  <a:lnTo>
                    <a:pt x="9017" y="34798"/>
                  </a:lnTo>
                  <a:lnTo>
                    <a:pt x="11556" y="32258"/>
                  </a:lnTo>
                  <a:lnTo>
                    <a:pt x="11556" y="25908"/>
                  </a:lnTo>
                  <a:lnTo>
                    <a:pt x="9017" y="23367"/>
                  </a:lnTo>
                  <a:close/>
                </a:path>
                <a:path w="317500" h="314325">
                  <a:moveTo>
                    <a:pt x="314071" y="0"/>
                  </a:moveTo>
                  <a:lnTo>
                    <a:pt x="307594" y="0"/>
                  </a:lnTo>
                  <a:lnTo>
                    <a:pt x="305053" y="2412"/>
                  </a:lnTo>
                  <a:lnTo>
                    <a:pt x="305053" y="9016"/>
                  </a:lnTo>
                  <a:lnTo>
                    <a:pt x="307594" y="11811"/>
                  </a:lnTo>
                  <a:lnTo>
                    <a:pt x="314071" y="11811"/>
                  </a:lnTo>
                  <a:lnTo>
                    <a:pt x="316992" y="9016"/>
                  </a:lnTo>
                  <a:lnTo>
                    <a:pt x="316992" y="2412"/>
                  </a:lnTo>
                  <a:lnTo>
                    <a:pt x="314071" y="0"/>
                  </a:lnTo>
                  <a:close/>
                </a:path>
                <a:path w="317500" h="314325">
                  <a:moveTo>
                    <a:pt x="290702" y="0"/>
                  </a:moveTo>
                  <a:lnTo>
                    <a:pt x="284479" y="0"/>
                  </a:lnTo>
                  <a:lnTo>
                    <a:pt x="281940" y="2412"/>
                  </a:lnTo>
                  <a:lnTo>
                    <a:pt x="281940" y="9016"/>
                  </a:lnTo>
                  <a:lnTo>
                    <a:pt x="284479" y="11811"/>
                  </a:lnTo>
                  <a:lnTo>
                    <a:pt x="290702" y="11811"/>
                  </a:lnTo>
                  <a:lnTo>
                    <a:pt x="293497" y="9016"/>
                  </a:lnTo>
                  <a:lnTo>
                    <a:pt x="293497" y="2412"/>
                  </a:lnTo>
                  <a:lnTo>
                    <a:pt x="290702" y="0"/>
                  </a:lnTo>
                  <a:close/>
                </a:path>
                <a:path w="317500" h="314325">
                  <a:moveTo>
                    <a:pt x="267208" y="0"/>
                  </a:moveTo>
                  <a:lnTo>
                    <a:pt x="260985" y="0"/>
                  </a:lnTo>
                  <a:lnTo>
                    <a:pt x="258445" y="2412"/>
                  </a:lnTo>
                  <a:lnTo>
                    <a:pt x="258445" y="9016"/>
                  </a:lnTo>
                  <a:lnTo>
                    <a:pt x="260985" y="11811"/>
                  </a:lnTo>
                  <a:lnTo>
                    <a:pt x="267208" y="11811"/>
                  </a:lnTo>
                  <a:lnTo>
                    <a:pt x="270128" y="9016"/>
                  </a:lnTo>
                  <a:lnTo>
                    <a:pt x="270128" y="2412"/>
                  </a:lnTo>
                  <a:lnTo>
                    <a:pt x="267208" y="0"/>
                  </a:lnTo>
                  <a:close/>
                </a:path>
                <a:path w="317500" h="314325">
                  <a:moveTo>
                    <a:pt x="243586" y="0"/>
                  </a:moveTo>
                  <a:lnTo>
                    <a:pt x="237490" y="0"/>
                  </a:lnTo>
                  <a:lnTo>
                    <a:pt x="234569" y="2412"/>
                  </a:lnTo>
                  <a:lnTo>
                    <a:pt x="234569" y="9016"/>
                  </a:lnTo>
                  <a:lnTo>
                    <a:pt x="237490" y="11811"/>
                  </a:lnTo>
                  <a:lnTo>
                    <a:pt x="243586" y="11811"/>
                  </a:lnTo>
                  <a:lnTo>
                    <a:pt x="246506" y="9016"/>
                  </a:lnTo>
                  <a:lnTo>
                    <a:pt x="246506" y="2412"/>
                  </a:lnTo>
                  <a:lnTo>
                    <a:pt x="243586" y="0"/>
                  </a:lnTo>
                  <a:close/>
                </a:path>
                <a:path w="317500" h="314325">
                  <a:moveTo>
                    <a:pt x="220472" y="0"/>
                  </a:moveTo>
                  <a:lnTo>
                    <a:pt x="213868" y="0"/>
                  </a:lnTo>
                  <a:lnTo>
                    <a:pt x="210947" y="2412"/>
                  </a:lnTo>
                  <a:lnTo>
                    <a:pt x="210947" y="9016"/>
                  </a:lnTo>
                  <a:lnTo>
                    <a:pt x="213868" y="11811"/>
                  </a:lnTo>
                  <a:lnTo>
                    <a:pt x="220472" y="11811"/>
                  </a:lnTo>
                  <a:lnTo>
                    <a:pt x="223012" y="9016"/>
                  </a:lnTo>
                  <a:lnTo>
                    <a:pt x="223012" y="2412"/>
                  </a:lnTo>
                  <a:lnTo>
                    <a:pt x="220472" y="0"/>
                  </a:lnTo>
                  <a:close/>
                </a:path>
                <a:path w="317500" h="314325">
                  <a:moveTo>
                    <a:pt x="196850" y="0"/>
                  </a:moveTo>
                  <a:lnTo>
                    <a:pt x="190246" y="0"/>
                  </a:lnTo>
                  <a:lnTo>
                    <a:pt x="187833" y="2412"/>
                  </a:lnTo>
                  <a:lnTo>
                    <a:pt x="187833" y="9016"/>
                  </a:lnTo>
                  <a:lnTo>
                    <a:pt x="190246" y="11811"/>
                  </a:lnTo>
                  <a:lnTo>
                    <a:pt x="196850" y="11811"/>
                  </a:lnTo>
                  <a:lnTo>
                    <a:pt x="199390" y="9016"/>
                  </a:lnTo>
                  <a:lnTo>
                    <a:pt x="199390" y="2412"/>
                  </a:lnTo>
                  <a:lnTo>
                    <a:pt x="196850" y="0"/>
                  </a:lnTo>
                  <a:close/>
                </a:path>
                <a:path w="317500" h="314325">
                  <a:moveTo>
                    <a:pt x="173481" y="0"/>
                  </a:moveTo>
                  <a:lnTo>
                    <a:pt x="166877" y="0"/>
                  </a:lnTo>
                  <a:lnTo>
                    <a:pt x="164338" y="2412"/>
                  </a:lnTo>
                  <a:lnTo>
                    <a:pt x="164338" y="9016"/>
                  </a:lnTo>
                  <a:lnTo>
                    <a:pt x="166877" y="11811"/>
                  </a:lnTo>
                  <a:lnTo>
                    <a:pt x="173481" y="11811"/>
                  </a:lnTo>
                  <a:lnTo>
                    <a:pt x="175895" y="9016"/>
                  </a:lnTo>
                  <a:lnTo>
                    <a:pt x="175895" y="2412"/>
                  </a:lnTo>
                  <a:lnTo>
                    <a:pt x="173481" y="0"/>
                  </a:lnTo>
                  <a:close/>
                </a:path>
                <a:path w="317500" h="314325">
                  <a:moveTo>
                    <a:pt x="150241" y="0"/>
                  </a:moveTo>
                  <a:lnTo>
                    <a:pt x="143255" y="0"/>
                  </a:lnTo>
                  <a:lnTo>
                    <a:pt x="140716" y="2412"/>
                  </a:lnTo>
                  <a:lnTo>
                    <a:pt x="140716" y="9016"/>
                  </a:lnTo>
                  <a:lnTo>
                    <a:pt x="143255" y="11811"/>
                  </a:lnTo>
                  <a:lnTo>
                    <a:pt x="150241" y="11811"/>
                  </a:lnTo>
                  <a:lnTo>
                    <a:pt x="152780" y="9016"/>
                  </a:lnTo>
                  <a:lnTo>
                    <a:pt x="152780" y="2412"/>
                  </a:lnTo>
                  <a:lnTo>
                    <a:pt x="150241" y="0"/>
                  </a:lnTo>
                  <a:close/>
                </a:path>
                <a:path w="317500" h="314325">
                  <a:moveTo>
                    <a:pt x="126873" y="0"/>
                  </a:moveTo>
                  <a:lnTo>
                    <a:pt x="119761" y="0"/>
                  </a:lnTo>
                  <a:lnTo>
                    <a:pt x="117348" y="2412"/>
                  </a:lnTo>
                  <a:lnTo>
                    <a:pt x="117348" y="9016"/>
                  </a:lnTo>
                  <a:lnTo>
                    <a:pt x="119761" y="11811"/>
                  </a:lnTo>
                  <a:lnTo>
                    <a:pt x="126873" y="11811"/>
                  </a:lnTo>
                  <a:lnTo>
                    <a:pt x="129286" y="9016"/>
                  </a:lnTo>
                  <a:lnTo>
                    <a:pt x="129286" y="2412"/>
                  </a:lnTo>
                  <a:lnTo>
                    <a:pt x="126873" y="0"/>
                  </a:lnTo>
                  <a:close/>
                </a:path>
                <a:path w="317500" h="314325">
                  <a:moveTo>
                    <a:pt x="102870" y="0"/>
                  </a:moveTo>
                  <a:lnTo>
                    <a:pt x="96647" y="0"/>
                  </a:lnTo>
                  <a:lnTo>
                    <a:pt x="94106" y="2412"/>
                  </a:lnTo>
                  <a:lnTo>
                    <a:pt x="94106" y="9016"/>
                  </a:lnTo>
                  <a:lnTo>
                    <a:pt x="96647" y="11811"/>
                  </a:lnTo>
                  <a:lnTo>
                    <a:pt x="102870" y="11811"/>
                  </a:lnTo>
                  <a:lnTo>
                    <a:pt x="105664" y="9016"/>
                  </a:lnTo>
                  <a:lnTo>
                    <a:pt x="105664" y="2412"/>
                  </a:lnTo>
                  <a:lnTo>
                    <a:pt x="102870" y="0"/>
                  </a:lnTo>
                  <a:close/>
                </a:path>
                <a:path w="317500" h="314325">
                  <a:moveTo>
                    <a:pt x="79375" y="0"/>
                  </a:moveTo>
                  <a:lnTo>
                    <a:pt x="73151" y="0"/>
                  </a:lnTo>
                  <a:lnTo>
                    <a:pt x="70739" y="2412"/>
                  </a:lnTo>
                  <a:lnTo>
                    <a:pt x="70739" y="9016"/>
                  </a:lnTo>
                  <a:lnTo>
                    <a:pt x="73151" y="11811"/>
                  </a:lnTo>
                  <a:lnTo>
                    <a:pt x="79375" y="11811"/>
                  </a:lnTo>
                  <a:lnTo>
                    <a:pt x="82296" y="9016"/>
                  </a:lnTo>
                  <a:lnTo>
                    <a:pt x="82296" y="2412"/>
                  </a:lnTo>
                  <a:lnTo>
                    <a:pt x="79375" y="0"/>
                  </a:lnTo>
                  <a:close/>
                </a:path>
                <a:path w="317500" h="314325">
                  <a:moveTo>
                    <a:pt x="56134" y="0"/>
                  </a:moveTo>
                  <a:lnTo>
                    <a:pt x="49529" y="0"/>
                  </a:lnTo>
                  <a:lnTo>
                    <a:pt x="47117" y="2412"/>
                  </a:lnTo>
                  <a:lnTo>
                    <a:pt x="47117" y="9016"/>
                  </a:lnTo>
                  <a:lnTo>
                    <a:pt x="49529" y="11811"/>
                  </a:lnTo>
                  <a:lnTo>
                    <a:pt x="56134" y="11811"/>
                  </a:lnTo>
                  <a:lnTo>
                    <a:pt x="58674" y="9016"/>
                  </a:lnTo>
                  <a:lnTo>
                    <a:pt x="58674" y="2412"/>
                  </a:lnTo>
                  <a:lnTo>
                    <a:pt x="56134" y="0"/>
                  </a:lnTo>
                  <a:close/>
                </a:path>
                <a:path w="317500" h="314325">
                  <a:moveTo>
                    <a:pt x="32766" y="0"/>
                  </a:moveTo>
                  <a:lnTo>
                    <a:pt x="26543" y="0"/>
                  </a:lnTo>
                  <a:lnTo>
                    <a:pt x="23622" y="2412"/>
                  </a:lnTo>
                  <a:lnTo>
                    <a:pt x="23622" y="9016"/>
                  </a:lnTo>
                  <a:lnTo>
                    <a:pt x="26543" y="11811"/>
                  </a:lnTo>
                  <a:lnTo>
                    <a:pt x="32766" y="11811"/>
                  </a:lnTo>
                  <a:lnTo>
                    <a:pt x="35178" y="9016"/>
                  </a:lnTo>
                  <a:lnTo>
                    <a:pt x="35178" y="2412"/>
                  </a:lnTo>
                  <a:lnTo>
                    <a:pt x="32766" y="0"/>
                  </a:lnTo>
                  <a:close/>
                </a:path>
                <a:path w="317500" h="314325">
                  <a:moveTo>
                    <a:pt x="9144" y="0"/>
                  </a:moveTo>
                  <a:lnTo>
                    <a:pt x="2921" y="0"/>
                  </a:lnTo>
                  <a:lnTo>
                    <a:pt x="0" y="2412"/>
                  </a:lnTo>
                  <a:lnTo>
                    <a:pt x="0" y="9016"/>
                  </a:lnTo>
                  <a:lnTo>
                    <a:pt x="2921" y="11811"/>
                  </a:lnTo>
                  <a:lnTo>
                    <a:pt x="9144" y="11811"/>
                  </a:lnTo>
                  <a:lnTo>
                    <a:pt x="11556" y="9016"/>
                  </a:lnTo>
                  <a:lnTo>
                    <a:pt x="11556" y="241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10344472" y="1843686"/>
            <a:ext cx="1332049" cy="379381"/>
            <a:chOff x="10364313" y="2026910"/>
            <a:chExt cx="1332049" cy="379381"/>
          </a:xfrm>
        </p:grpSpPr>
        <p:sp>
          <p:nvSpPr>
            <p:cNvPr id="31" name="文本框 30"/>
            <p:cNvSpPr txBox="1"/>
            <p:nvPr/>
          </p:nvSpPr>
          <p:spPr>
            <a:xfrm>
              <a:off x="10603139" y="2026910"/>
              <a:ext cx="109322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defRPr sz="1600">
                  <a:solidFill>
                    <a:srgbClr val="080B85"/>
                  </a:solidFill>
                  <a:latin typeface="楷体" panose="02010609060101010101" pitchFamily="49" charset="-122"/>
                  <a:ea typeface="楷体" panose="02010609060101010101" pitchFamily="49" charset="-122"/>
                </a:defRPr>
              </a:lvl1pPr>
            </a:lstStyle>
            <a:p>
              <a:r>
                <a:rPr lang="zh-CN" altLang="en-US" sz="1200" dirty="0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超强算力</a:t>
              </a:r>
              <a:endParaRPr lang="zh-CN" altLang="en-US" sz="1200" dirty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2" name="object 32"/>
            <p:cNvSpPr>
              <a:spLocks noChangeAspect="1"/>
            </p:cNvSpPr>
            <p:nvPr/>
          </p:nvSpPr>
          <p:spPr>
            <a:xfrm>
              <a:off x="10364313" y="2118291"/>
              <a:ext cx="288000" cy="288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noFill/>
            <a:ln>
              <a:solidFill>
                <a:srgbClr val="080B85"/>
              </a:solidFill>
            </a:ln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10488488" y="5365088"/>
            <a:ext cx="1690882" cy="288000"/>
            <a:chOff x="10363749" y="5548312"/>
            <a:chExt cx="1690882" cy="288000"/>
          </a:xfrm>
        </p:grpSpPr>
        <p:sp>
          <p:nvSpPr>
            <p:cNvPr id="34" name="矩形 33"/>
            <p:cNvSpPr/>
            <p:nvPr/>
          </p:nvSpPr>
          <p:spPr>
            <a:xfrm>
              <a:off x="10625294" y="5553813"/>
              <a:ext cx="142933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rgbClr val="3051DA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高性价比</a:t>
              </a:r>
              <a:endParaRPr lang="zh-CN" altLang="en-US" sz="1200" dirty="0">
                <a:solidFill>
                  <a:srgbClr val="3051DA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" name="object 32"/>
            <p:cNvSpPr>
              <a:spLocks noChangeAspect="1"/>
            </p:cNvSpPr>
            <p:nvPr/>
          </p:nvSpPr>
          <p:spPr>
            <a:xfrm>
              <a:off x="10363749" y="5548312"/>
              <a:ext cx="288000" cy="288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noFill/>
            <a:ln>
              <a:solidFill>
                <a:srgbClr val="3051DA"/>
              </a:solidFill>
            </a:ln>
            <a:effectLst/>
          </p:spPr>
          <p:txBody>
            <a:bodyPr wrap="square" lIns="0" tIns="0" rIns="0" bIns="0" rtlCol="0"/>
            <a:lstStyle/>
            <a:p>
              <a:endParaRPr dirty="0">
                <a:solidFill>
                  <a:srgbClr val="3051DA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10608088" y="4509194"/>
            <a:ext cx="1362909" cy="313277"/>
            <a:chOff x="10368307" y="4798645"/>
            <a:chExt cx="1362909" cy="313277"/>
          </a:xfrm>
        </p:grpSpPr>
        <p:sp>
          <p:nvSpPr>
            <p:cNvPr id="37" name="矩形 36"/>
            <p:cNvSpPr/>
            <p:nvPr/>
          </p:nvSpPr>
          <p:spPr>
            <a:xfrm>
              <a:off x="10636651" y="4798645"/>
              <a:ext cx="1094565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rgbClr val="0386C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离在线一体</a:t>
              </a:r>
              <a:endParaRPr lang="zh-CN" altLang="en-US" sz="1200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8" name="object 32"/>
            <p:cNvSpPr>
              <a:spLocks noChangeAspect="1"/>
            </p:cNvSpPr>
            <p:nvPr/>
          </p:nvSpPr>
          <p:spPr>
            <a:xfrm>
              <a:off x="10368307" y="4823922"/>
              <a:ext cx="288000" cy="288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noFill/>
            <a:ln>
              <a:solidFill>
                <a:srgbClr val="0386C1"/>
              </a:solidFill>
            </a:ln>
            <a:effectLst/>
          </p:spPr>
          <p:txBody>
            <a:bodyPr wrap="square" lIns="0" tIns="0" rIns="0" bIns="0" rtlCol="0"/>
            <a:lstStyle/>
            <a:p>
              <a:endParaRPr sz="140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9408368" y="4093887"/>
            <a:ext cx="1690882" cy="288000"/>
            <a:chOff x="9421760" y="4431567"/>
            <a:chExt cx="1690882" cy="288000"/>
          </a:xfrm>
        </p:grpSpPr>
        <p:sp>
          <p:nvSpPr>
            <p:cNvPr id="40" name="矩形 39"/>
            <p:cNvSpPr/>
            <p:nvPr/>
          </p:nvSpPr>
          <p:spPr>
            <a:xfrm>
              <a:off x="9683305" y="4437068"/>
              <a:ext cx="142933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rgbClr val="21B9CE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低误唤醒率</a:t>
              </a:r>
              <a:endParaRPr lang="zh-CN" altLang="en-US" sz="1200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" name="object 32"/>
            <p:cNvSpPr>
              <a:spLocks noChangeAspect="1"/>
            </p:cNvSpPr>
            <p:nvPr/>
          </p:nvSpPr>
          <p:spPr>
            <a:xfrm>
              <a:off x="9421760" y="4431567"/>
              <a:ext cx="288000" cy="288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noFill/>
            <a:ln>
              <a:solidFill>
                <a:srgbClr val="21B9CE"/>
              </a:solidFill>
            </a:ln>
            <a:effectLst/>
          </p:spPr>
          <p:txBody>
            <a:bodyPr wrap="square" lIns="0" tIns="0" rIns="0" bIns="0" rtlCol="0"/>
            <a:lstStyle/>
            <a:p>
              <a:endParaRPr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9408368" y="3263273"/>
            <a:ext cx="1690882" cy="288000"/>
            <a:chOff x="9421760" y="3658778"/>
            <a:chExt cx="1690882" cy="288000"/>
          </a:xfrm>
        </p:grpSpPr>
        <p:sp>
          <p:nvSpPr>
            <p:cNvPr id="43" name="矩形 42"/>
            <p:cNvSpPr/>
            <p:nvPr/>
          </p:nvSpPr>
          <p:spPr>
            <a:xfrm>
              <a:off x="9683305" y="3664279"/>
              <a:ext cx="142933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rgbClr val="21B9CE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高识别率</a:t>
              </a:r>
              <a:endParaRPr lang="zh-CN" altLang="en-US" sz="1200"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4" name="object 32"/>
            <p:cNvSpPr>
              <a:spLocks noChangeAspect="1"/>
            </p:cNvSpPr>
            <p:nvPr/>
          </p:nvSpPr>
          <p:spPr>
            <a:xfrm>
              <a:off x="9421760" y="3658778"/>
              <a:ext cx="288000" cy="288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noFill/>
            <a:ln>
              <a:solidFill>
                <a:srgbClr val="21B9CE"/>
              </a:solidFill>
            </a:ln>
            <a:effectLst/>
          </p:spPr>
          <p:txBody>
            <a:bodyPr wrap="square" lIns="0" tIns="0" rIns="0" bIns="0" rtlCol="0"/>
            <a:lstStyle/>
            <a:p>
              <a:endParaRPr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9661541" y="2432659"/>
            <a:ext cx="1690882" cy="288000"/>
            <a:chOff x="9421760" y="2603349"/>
            <a:chExt cx="1690882" cy="288000"/>
          </a:xfrm>
        </p:grpSpPr>
        <p:sp>
          <p:nvSpPr>
            <p:cNvPr id="46" name="矩形 45"/>
            <p:cNvSpPr/>
            <p:nvPr/>
          </p:nvSpPr>
          <p:spPr>
            <a:xfrm>
              <a:off x="9683305" y="2608850"/>
              <a:ext cx="1429337" cy="27699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rgbClr val="20B9CE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AI</a:t>
              </a:r>
              <a:r>
                <a:rPr lang="zh-CN" altLang="en-US" sz="1200" dirty="0">
                  <a:solidFill>
                    <a:srgbClr val="20B9CE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降噪</a:t>
              </a:r>
              <a:endParaRPr lang="zh-CN" altLang="en-US" sz="1200" dirty="0">
                <a:solidFill>
                  <a:srgbClr val="20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7" name="object 32"/>
            <p:cNvSpPr>
              <a:spLocks noChangeAspect="1"/>
            </p:cNvSpPr>
            <p:nvPr/>
          </p:nvSpPr>
          <p:spPr>
            <a:xfrm>
              <a:off x="9421760" y="2603349"/>
              <a:ext cx="288000" cy="288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noFill/>
            <a:ln>
              <a:solidFill>
                <a:srgbClr val="20B9CE"/>
              </a:solidFill>
            </a:ln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10603530" y="2847966"/>
            <a:ext cx="1690882" cy="288000"/>
            <a:chOff x="10363749" y="3156158"/>
            <a:chExt cx="1690882" cy="288000"/>
          </a:xfrm>
        </p:grpSpPr>
        <p:sp>
          <p:nvSpPr>
            <p:cNvPr id="49" name="矩形 48"/>
            <p:cNvSpPr/>
            <p:nvPr/>
          </p:nvSpPr>
          <p:spPr>
            <a:xfrm>
              <a:off x="10625294" y="3161659"/>
              <a:ext cx="142933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rgbClr val="0070C0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高度集成</a:t>
              </a:r>
              <a:endParaRPr lang="zh-CN" altLang="en-US" sz="1200" dirty="0">
                <a:solidFill>
                  <a:srgbClr val="0070C0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50" name="object 32"/>
            <p:cNvSpPr>
              <a:spLocks noChangeAspect="1"/>
            </p:cNvSpPr>
            <p:nvPr/>
          </p:nvSpPr>
          <p:spPr>
            <a:xfrm>
              <a:off x="10363749" y="3156158"/>
              <a:ext cx="288000" cy="288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noFill/>
            <a:ln>
              <a:solidFill>
                <a:srgbClr val="0070C0"/>
              </a:solidFill>
            </a:ln>
            <a:effectLst/>
          </p:spPr>
          <p:txBody>
            <a:bodyPr wrap="square" lIns="0" tIns="0" rIns="0" bIns="0" rtlCol="0"/>
            <a:lstStyle/>
            <a:p>
              <a:endParaRPr dirty="0">
                <a:solidFill>
                  <a:srgbClr val="21B9CE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1" name="组合 50"/>
          <p:cNvGrpSpPr/>
          <p:nvPr/>
        </p:nvGrpSpPr>
        <p:grpSpPr>
          <a:xfrm>
            <a:off x="9661541" y="4949778"/>
            <a:ext cx="1690882" cy="288000"/>
            <a:chOff x="9421760" y="5217471"/>
            <a:chExt cx="1690882" cy="288000"/>
          </a:xfrm>
        </p:grpSpPr>
        <p:sp>
          <p:nvSpPr>
            <p:cNvPr id="52" name="矩形 51"/>
            <p:cNvSpPr/>
            <p:nvPr/>
          </p:nvSpPr>
          <p:spPr>
            <a:xfrm>
              <a:off x="9683305" y="5222972"/>
              <a:ext cx="142933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rgbClr val="0386C1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快速响应</a:t>
              </a:r>
              <a:endParaRPr lang="zh-CN" altLang="en-US" sz="1200" dirty="0">
                <a:solidFill>
                  <a:srgbClr val="0386C1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53" name="object 32"/>
            <p:cNvSpPr>
              <a:spLocks noChangeAspect="1"/>
            </p:cNvSpPr>
            <p:nvPr/>
          </p:nvSpPr>
          <p:spPr>
            <a:xfrm>
              <a:off x="9421760" y="5217471"/>
              <a:ext cx="288000" cy="288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noFill/>
            <a:ln>
              <a:solidFill>
                <a:srgbClr val="0386C1"/>
              </a:solidFill>
            </a:ln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10272464" y="3678580"/>
            <a:ext cx="1690882" cy="288000"/>
            <a:chOff x="10363749" y="4030861"/>
            <a:chExt cx="1690882" cy="288000"/>
          </a:xfrm>
        </p:grpSpPr>
        <p:sp>
          <p:nvSpPr>
            <p:cNvPr id="55" name="矩形 54"/>
            <p:cNvSpPr/>
            <p:nvPr/>
          </p:nvSpPr>
          <p:spPr>
            <a:xfrm>
              <a:off x="10625294" y="4036362"/>
              <a:ext cx="142933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rgbClr val="3051DA"/>
                  </a:solidFill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rPr>
                <a:t>极低待机功耗</a:t>
              </a:r>
              <a:endParaRPr lang="zh-CN" altLang="en-US" sz="1200" dirty="0">
                <a:solidFill>
                  <a:srgbClr val="3051DA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56" name="object 32"/>
            <p:cNvSpPr>
              <a:spLocks noChangeAspect="1"/>
            </p:cNvSpPr>
            <p:nvPr/>
          </p:nvSpPr>
          <p:spPr>
            <a:xfrm>
              <a:off x="10363749" y="4030861"/>
              <a:ext cx="288000" cy="288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noFill/>
            <a:ln>
              <a:solidFill>
                <a:srgbClr val="3051DA"/>
              </a:solidFill>
            </a:ln>
            <a:effectLst/>
          </p:spPr>
          <p:txBody>
            <a:bodyPr wrap="square" lIns="0" tIns="0" rIns="0" bIns="0" rtlCol="0"/>
            <a:lstStyle/>
            <a:p>
              <a:endParaRPr>
                <a:solidFill>
                  <a:srgbClr val="3051DA"/>
                </a:solidFill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69" name="object 32"/>
          <p:cNvSpPr>
            <a:spLocks noChangeAspect="1"/>
          </p:cNvSpPr>
          <p:nvPr/>
        </p:nvSpPr>
        <p:spPr>
          <a:xfrm>
            <a:off x="7360826" y="282314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0" name="object 32"/>
          <p:cNvSpPr>
            <a:spLocks noChangeAspect="1"/>
          </p:cNvSpPr>
          <p:nvPr/>
        </p:nvSpPr>
        <p:spPr>
          <a:xfrm>
            <a:off x="7553111" y="290460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1" name="object 32"/>
          <p:cNvSpPr>
            <a:spLocks noChangeAspect="1"/>
          </p:cNvSpPr>
          <p:nvPr/>
        </p:nvSpPr>
        <p:spPr>
          <a:xfrm>
            <a:off x="7737719" y="293936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2" name="object 32"/>
          <p:cNvSpPr>
            <a:spLocks noChangeAspect="1"/>
          </p:cNvSpPr>
          <p:nvPr/>
        </p:nvSpPr>
        <p:spPr>
          <a:xfrm>
            <a:off x="8086928" y="291549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3" name="object 32"/>
          <p:cNvSpPr>
            <a:spLocks noChangeAspect="1"/>
          </p:cNvSpPr>
          <p:nvPr/>
        </p:nvSpPr>
        <p:spPr>
          <a:xfrm>
            <a:off x="7234392" y="308979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4" name="object 32"/>
          <p:cNvSpPr>
            <a:spLocks noChangeAspect="1"/>
          </p:cNvSpPr>
          <p:nvPr/>
        </p:nvSpPr>
        <p:spPr>
          <a:xfrm>
            <a:off x="7148512" y="294711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5" name="object 32"/>
          <p:cNvSpPr>
            <a:spLocks noChangeAspect="1"/>
          </p:cNvSpPr>
          <p:nvPr/>
        </p:nvSpPr>
        <p:spPr>
          <a:xfrm>
            <a:off x="7504419" y="268811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6" name="object 32"/>
          <p:cNvSpPr>
            <a:spLocks noChangeAspect="1"/>
          </p:cNvSpPr>
          <p:nvPr/>
        </p:nvSpPr>
        <p:spPr>
          <a:xfrm>
            <a:off x="7878083" y="264439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7" name="object 32"/>
          <p:cNvSpPr>
            <a:spLocks noChangeAspect="1"/>
          </p:cNvSpPr>
          <p:nvPr/>
        </p:nvSpPr>
        <p:spPr>
          <a:xfrm>
            <a:off x="7662058" y="2744271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8" name="object 32"/>
          <p:cNvSpPr>
            <a:spLocks noChangeAspect="1"/>
          </p:cNvSpPr>
          <p:nvPr/>
        </p:nvSpPr>
        <p:spPr>
          <a:xfrm>
            <a:off x="8096313" y="268811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79" name="object 32"/>
          <p:cNvSpPr>
            <a:spLocks noChangeAspect="1"/>
          </p:cNvSpPr>
          <p:nvPr/>
        </p:nvSpPr>
        <p:spPr>
          <a:xfrm>
            <a:off x="7930946" y="301136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0" name="object 32"/>
          <p:cNvSpPr>
            <a:spLocks noChangeAspect="1"/>
          </p:cNvSpPr>
          <p:nvPr/>
        </p:nvSpPr>
        <p:spPr>
          <a:xfrm>
            <a:off x="7570533" y="305846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1" name="object 32"/>
          <p:cNvSpPr>
            <a:spLocks noChangeAspect="1"/>
          </p:cNvSpPr>
          <p:nvPr/>
        </p:nvSpPr>
        <p:spPr>
          <a:xfrm>
            <a:off x="7371191" y="301136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2" name="object 32"/>
          <p:cNvSpPr>
            <a:spLocks noChangeAspect="1"/>
          </p:cNvSpPr>
          <p:nvPr/>
        </p:nvSpPr>
        <p:spPr>
          <a:xfrm>
            <a:off x="7792194" y="281987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3" name="object 32"/>
          <p:cNvSpPr>
            <a:spLocks noChangeAspect="1"/>
          </p:cNvSpPr>
          <p:nvPr/>
        </p:nvSpPr>
        <p:spPr>
          <a:xfrm>
            <a:off x="7950083" y="280563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4" name="object 32"/>
          <p:cNvSpPr>
            <a:spLocks noChangeAspect="1"/>
          </p:cNvSpPr>
          <p:nvPr/>
        </p:nvSpPr>
        <p:spPr>
          <a:xfrm>
            <a:off x="7601236" y="340749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5" name="object 32"/>
          <p:cNvSpPr>
            <a:spLocks noChangeAspect="1"/>
          </p:cNvSpPr>
          <p:nvPr/>
        </p:nvSpPr>
        <p:spPr>
          <a:xfrm>
            <a:off x="7793521" y="348895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6" name="object 32"/>
          <p:cNvSpPr>
            <a:spLocks noChangeAspect="1"/>
          </p:cNvSpPr>
          <p:nvPr/>
        </p:nvSpPr>
        <p:spPr>
          <a:xfrm>
            <a:off x="7978129" y="352371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7" name="object 32"/>
          <p:cNvSpPr>
            <a:spLocks noChangeAspect="1"/>
          </p:cNvSpPr>
          <p:nvPr/>
        </p:nvSpPr>
        <p:spPr>
          <a:xfrm>
            <a:off x="8327338" y="349984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8" name="object 32"/>
          <p:cNvSpPr>
            <a:spLocks noChangeAspect="1"/>
          </p:cNvSpPr>
          <p:nvPr/>
        </p:nvSpPr>
        <p:spPr>
          <a:xfrm>
            <a:off x="7226580" y="342403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89" name="object 32"/>
          <p:cNvSpPr>
            <a:spLocks noChangeAspect="1"/>
          </p:cNvSpPr>
          <p:nvPr/>
        </p:nvSpPr>
        <p:spPr>
          <a:xfrm>
            <a:off x="7388922" y="353146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0" name="object 32"/>
          <p:cNvSpPr>
            <a:spLocks noChangeAspect="1"/>
          </p:cNvSpPr>
          <p:nvPr/>
        </p:nvSpPr>
        <p:spPr>
          <a:xfrm>
            <a:off x="7448372" y="3348921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1" name="object 32"/>
          <p:cNvSpPr>
            <a:spLocks noChangeAspect="1"/>
          </p:cNvSpPr>
          <p:nvPr/>
        </p:nvSpPr>
        <p:spPr>
          <a:xfrm>
            <a:off x="8118493" y="322874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2" name="object 32"/>
          <p:cNvSpPr>
            <a:spLocks noChangeAspect="1"/>
          </p:cNvSpPr>
          <p:nvPr/>
        </p:nvSpPr>
        <p:spPr>
          <a:xfrm>
            <a:off x="7902468" y="3328621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3" name="object 32"/>
          <p:cNvSpPr>
            <a:spLocks noChangeAspect="1"/>
          </p:cNvSpPr>
          <p:nvPr/>
        </p:nvSpPr>
        <p:spPr>
          <a:xfrm>
            <a:off x="8336723" y="327246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4" name="object 32"/>
          <p:cNvSpPr>
            <a:spLocks noChangeAspect="1"/>
          </p:cNvSpPr>
          <p:nvPr/>
        </p:nvSpPr>
        <p:spPr>
          <a:xfrm>
            <a:off x="8171356" y="359571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5" name="object 32"/>
          <p:cNvSpPr>
            <a:spLocks noChangeAspect="1"/>
          </p:cNvSpPr>
          <p:nvPr/>
        </p:nvSpPr>
        <p:spPr>
          <a:xfrm>
            <a:off x="7810943" y="364281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6" name="object 32"/>
          <p:cNvSpPr>
            <a:spLocks noChangeAspect="1"/>
          </p:cNvSpPr>
          <p:nvPr/>
        </p:nvSpPr>
        <p:spPr>
          <a:xfrm>
            <a:off x="7611601" y="359571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7" name="object 32"/>
          <p:cNvSpPr>
            <a:spLocks noChangeAspect="1"/>
          </p:cNvSpPr>
          <p:nvPr/>
        </p:nvSpPr>
        <p:spPr>
          <a:xfrm>
            <a:off x="8032604" y="340422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8" name="object 32"/>
          <p:cNvSpPr>
            <a:spLocks noChangeAspect="1"/>
          </p:cNvSpPr>
          <p:nvPr/>
        </p:nvSpPr>
        <p:spPr>
          <a:xfrm>
            <a:off x="8190493" y="338998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99" name="object 32"/>
          <p:cNvSpPr>
            <a:spLocks noChangeAspect="1"/>
          </p:cNvSpPr>
          <p:nvPr/>
        </p:nvSpPr>
        <p:spPr>
          <a:xfrm>
            <a:off x="7602408" y="407646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0" name="object 32"/>
          <p:cNvSpPr>
            <a:spLocks noChangeAspect="1"/>
          </p:cNvSpPr>
          <p:nvPr/>
        </p:nvSpPr>
        <p:spPr>
          <a:xfrm>
            <a:off x="7432419" y="411201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1" name="object 32"/>
          <p:cNvSpPr>
            <a:spLocks noChangeAspect="1"/>
          </p:cNvSpPr>
          <p:nvPr/>
        </p:nvSpPr>
        <p:spPr>
          <a:xfrm>
            <a:off x="8098111" y="419595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2" name="object 32"/>
          <p:cNvSpPr>
            <a:spLocks noChangeAspect="1"/>
          </p:cNvSpPr>
          <p:nvPr/>
        </p:nvSpPr>
        <p:spPr>
          <a:xfrm>
            <a:off x="8447320" y="417208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3" name="object 32"/>
          <p:cNvSpPr>
            <a:spLocks noChangeAspect="1"/>
          </p:cNvSpPr>
          <p:nvPr/>
        </p:nvSpPr>
        <p:spPr>
          <a:xfrm>
            <a:off x="7594784" y="434638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4" name="object 32"/>
          <p:cNvSpPr>
            <a:spLocks noChangeAspect="1"/>
          </p:cNvSpPr>
          <p:nvPr/>
        </p:nvSpPr>
        <p:spPr>
          <a:xfrm>
            <a:off x="7420830" y="427569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5" name="object 32"/>
          <p:cNvSpPr>
            <a:spLocks noChangeAspect="1"/>
          </p:cNvSpPr>
          <p:nvPr/>
        </p:nvSpPr>
        <p:spPr>
          <a:xfrm>
            <a:off x="7179753" y="415555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6" name="object 32"/>
          <p:cNvSpPr>
            <a:spLocks noChangeAspect="1"/>
          </p:cNvSpPr>
          <p:nvPr/>
        </p:nvSpPr>
        <p:spPr>
          <a:xfrm>
            <a:off x="8238475" y="390098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7" name="object 32"/>
          <p:cNvSpPr>
            <a:spLocks noChangeAspect="1"/>
          </p:cNvSpPr>
          <p:nvPr/>
        </p:nvSpPr>
        <p:spPr>
          <a:xfrm>
            <a:off x="7886821" y="401670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8" name="object 32"/>
          <p:cNvSpPr>
            <a:spLocks noChangeAspect="1"/>
          </p:cNvSpPr>
          <p:nvPr/>
        </p:nvSpPr>
        <p:spPr>
          <a:xfrm>
            <a:off x="8456705" y="3944704"/>
            <a:ext cx="72000" cy="72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9" name="object 32"/>
          <p:cNvSpPr>
            <a:spLocks noChangeAspect="1"/>
          </p:cNvSpPr>
          <p:nvPr/>
        </p:nvSpPr>
        <p:spPr>
          <a:xfrm>
            <a:off x="8291338" y="426795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0" name="object 32"/>
          <p:cNvSpPr>
            <a:spLocks noChangeAspect="1"/>
          </p:cNvSpPr>
          <p:nvPr/>
        </p:nvSpPr>
        <p:spPr>
          <a:xfrm>
            <a:off x="7930925" y="431505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1" name="object 32"/>
          <p:cNvSpPr>
            <a:spLocks noChangeAspect="1"/>
          </p:cNvSpPr>
          <p:nvPr/>
        </p:nvSpPr>
        <p:spPr>
          <a:xfrm>
            <a:off x="7731583" y="426795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2" name="object 32"/>
          <p:cNvSpPr>
            <a:spLocks noChangeAspect="1"/>
          </p:cNvSpPr>
          <p:nvPr/>
        </p:nvSpPr>
        <p:spPr>
          <a:xfrm>
            <a:off x="8152586" y="407646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3" name="object 32"/>
          <p:cNvSpPr>
            <a:spLocks noChangeAspect="1"/>
          </p:cNvSpPr>
          <p:nvPr/>
        </p:nvSpPr>
        <p:spPr>
          <a:xfrm>
            <a:off x="8310475" y="406222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4" name="object 32"/>
          <p:cNvSpPr>
            <a:spLocks noChangeAspect="1"/>
          </p:cNvSpPr>
          <p:nvPr/>
        </p:nvSpPr>
        <p:spPr>
          <a:xfrm>
            <a:off x="7379928" y="456211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5" name="object 32"/>
          <p:cNvSpPr>
            <a:spLocks noChangeAspect="1"/>
          </p:cNvSpPr>
          <p:nvPr/>
        </p:nvSpPr>
        <p:spPr>
          <a:xfrm>
            <a:off x="7704658" y="478065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6" name="object 32"/>
          <p:cNvSpPr>
            <a:spLocks noChangeAspect="1"/>
          </p:cNvSpPr>
          <p:nvPr/>
        </p:nvSpPr>
        <p:spPr>
          <a:xfrm>
            <a:off x="7889266" y="481541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7" name="object 32"/>
          <p:cNvSpPr>
            <a:spLocks noChangeAspect="1"/>
          </p:cNvSpPr>
          <p:nvPr/>
        </p:nvSpPr>
        <p:spPr>
          <a:xfrm>
            <a:off x="8238475" y="479154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8" name="object 32"/>
          <p:cNvSpPr>
            <a:spLocks noChangeAspect="1"/>
          </p:cNvSpPr>
          <p:nvPr/>
        </p:nvSpPr>
        <p:spPr>
          <a:xfrm>
            <a:off x="7142983" y="470636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19" name="object 32"/>
          <p:cNvSpPr>
            <a:spLocks noChangeAspect="1"/>
          </p:cNvSpPr>
          <p:nvPr/>
        </p:nvSpPr>
        <p:spPr>
          <a:xfrm>
            <a:off x="7102424" y="448839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0" name="object 32"/>
          <p:cNvSpPr>
            <a:spLocks noChangeAspect="1"/>
          </p:cNvSpPr>
          <p:nvPr/>
        </p:nvSpPr>
        <p:spPr>
          <a:xfrm>
            <a:off x="7655966" y="456416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1" name="object 32"/>
          <p:cNvSpPr>
            <a:spLocks noChangeAspect="1"/>
          </p:cNvSpPr>
          <p:nvPr/>
        </p:nvSpPr>
        <p:spPr>
          <a:xfrm>
            <a:off x="8029630" y="452044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2" name="object 32"/>
          <p:cNvSpPr>
            <a:spLocks noChangeAspect="1"/>
          </p:cNvSpPr>
          <p:nvPr/>
        </p:nvSpPr>
        <p:spPr>
          <a:xfrm>
            <a:off x="7813605" y="4620321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3" name="object 32"/>
          <p:cNvSpPr>
            <a:spLocks noChangeAspect="1"/>
          </p:cNvSpPr>
          <p:nvPr/>
        </p:nvSpPr>
        <p:spPr>
          <a:xfrm>
            <a:off x="8247860" y="456416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4" name="object 32"/>
          <p:cNvSpPr>
            <a:spLocks noChangeAspect="1"/>
          </p:cNvSpPr>
          <p:nvPr/>
        </p:nvSpPr>
        <p:spPr>
          <a:xfrm>
            <a:off x="8082493" y="488741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5" name="object 32"/>
          <p:cNvSpPr>
            <a:spLocks noChangeAspect="1"/>
          </p:cNvSpPr>
          <p:nvPr/>
        </p:nvSpPr>
        <p:spPr>
          <a:xfrm>
            <a:off x="6863177" y="455305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6" name="object 32"/>
          <p:cNvSpPr>
            <a:spLocks noChangeAspect="1"/>
          </p:cNvSpPr>
          <p:nvPr/>
        </p:nvSpPr>
        <p:spPr>
          <a:xfrm>
            <a:off x="7450511" y="475614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7" name="object 32"/>
          <p:cNvSpPr>
            <a:spLocks noChangeAspect="1"/>
          </p:cNvSpPr>
          <p:nvPr/>
        </p:nvSpPr>
        <p:spPr>
          <a:xfrm>
            <a:off x="7943741" y="469592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8" name="object 32"/>
          <p:cNvSpPr>
            <a:spLocks noChangeAspect="1"/>
          </p:cNvSpPr>
          <p:nvPr/>
        </p:nvSpPr>
        <p:spPr>
          <a:xfrm>
            <a:off x="8101630" y="468168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29" name="object 32"/>
          <p:cNvSpPr>
            <a:spLocks noChangeAspect="1"/>
          </p:cNvSpPr>
          <p:nvPr/>
        </p:nvSpPr>
        <p:spPr>
          <a:xfrm>
            <a:off x="4284692" y="2970100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0" name="object 32"/>
          <p:cNvSpPr>
            <a:spLocks noChangeAspect="1"/>
          </p:cNvSpPr>
          <p:nvPr/>
        </p:nvSpPr>
        <p:spPr>
          <a:xfrm>
            <a:off x="4476977" y="305156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1" name="object 32"/>
          <p:cNvSpPr>
            <a:spLocks noChangeAspect="1"/>
          </p:cNvSpPr>
          <p:nvPr/>
        </p:nvSpPr>
        <p:spPr>
          <a:xfrm>
            <a:off x="4661585" y="308632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2" name="object 32"/>
          <p:cNvSpPr>
            <a:spLocks noChangeAspect="1"/>
          </p:cNvSpPr>
          <p:nvPr/>
        </p:nvSpPr>
        <p:spPr>
          <a:xfrm>
            <a:off x="5010794" y="3062451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3" name="object 32"/>
          <p:cNvSpPr>
            <a:spLocks noChangeAspect="1"/>
          </p:cNvSpPr>
          <p:nvPr/>
        </p:nvSpPr>
        <p:spPr>
          <a:xfrm>
            <a:off x="4158258" y="323675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4" name="object 32"/>
          <p:cNvSpPr>
            <a:spLocks noChangeAspect="1"/>
          </p:cNvSpPr>
          <p:nvPr/>
        </p:nvSpPr>
        <p:spPr>
          <a:xfrm>
            <a:off x="4072378" y="309406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5" name="object 32"/>
          <p:cNvSpPr>
            <a:spLocks noChangeAspect="1"/>
          </p:cNvSpPr>
          <p:nvPr/>
        </p:nvSpPr>
        <p:spPr>
          <a:xfrm>
            <a:off x="4428285" y="2835072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6" name="object 32"/>
          <p:cNvSpPr>
            <a:spLocks noChangeAspect="1"/>
          </p:cNvSpPr>
          <p:nvPr/>
        </p:nvSpPr>
        <p:spPr>
          <a:xfrm>
            <a:off x="4801949" y="279135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7" name="object 32"/>
          <p:cNvSpPr>
            <a:spLocks noChangeAspect="1"/>
          </p:cNvSpPr>
          <p:nvPr/>
        </p:nvSpPr>
        <p:spPr>
          <a:xfrm>
            <a:off x="3712542" y="275013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8" name="object 32"/>
          <p:cNvSpPr>
            <a:spLocks noChangeAspect="1"/>
          </p:cNvSpPr>
          <p:nvPr/>
        </p:nvSpPr>
        <p:spPr>
          <a:xfrm>
            <a:off x="5020179" y="2835072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39" name="object 32"/>
          <p:cNvSpPr>
            <a:spLocks noChangeAspect="1"/>
          </p:cNvSpPr>
          <p:nvPr/>
        </p:nvSpPr>
        <p:spPr>
          <a:xfrm>
            <a:off x="4854812" y="315832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0" name="object 32"/>
          <p:cNvSpPr>
            <a:spLocks noChangeAspect="1"/>
          </p:cNvSpPr>
          <p:nvPr/>
        </p:nvSpPr>
        <p:spPr>
          <a:xfrm>
            <a:off x="4494399" y="3205421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1" name="object 32"/>
          <p:cNvSpPr>
            <a:spLocks noChangeAspect="1"/>
          </p:cNvSpPr>
          <p:nvPr/>
        </p:nvSpPr>
        <p:spPr>
          <a:xfrm>
            <a:off x="4295057" y="315832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2" name="object 32"/>
          <p:cNvSpPr>
            <a:spLocks noChangeAspect="1"/>
          </p:cNvSpPr>
          <p:nvPr/>
        </p:nvSpPr>
        <p:spPr>
          <a:xfrm>
            <a:off x="4595668" y="273900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3" name="object 32"/>
          <p:cNvSpPr>
            <a:spLocks noChangeAspect="1"/>
          </p:cNvSpPr>
          <p:nvPr/>
        </p:nvSpPr>
        <p:spPr>
          <a:xfrm>
            <a:off x="4873949" y="295259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4" name="object 32"/>
          <p:cNvSpPr>
            <a:spLocks noChangeAspect="1"/>
          </p:cNvSpPr>
          <p:nvPr/>
        </p:nvSpPr>
        <p:spPr>
          <a:xfrm>
            <a:off x="3659635" y="327894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5" name="object 32"/>
          <p:cNvSpPr>
            <a:spLocks noChangeAspect="1"/>
          </p:cNvSpPr>
          <p:nvPr/>
        </p:nvSpPr>
        <p:spPr>
          <a:xfrm>
            <a:off x="3939900" y="353057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6" name="object 32"/>
          <p:cNvSpPr>
            <a:spLocks noChangeAspect="1"/>
          </p:cNvSpPr>
          <p:nvPr/>
        </p:nvSpPr>
        <p:spPr>
          <a:xfrm>
            <a:off x="4014687" y="279290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7" name="object 32"/>
          <p:cNvSpPr>
            <a:spLocks noChangeAspect="1"/>
          </p:cNvSpPr>
          <p:nvPr/>
        </p:nvSpPr>
        <p:spPr>
          <a:xfrm>
            <a:off x="4859136" y="361286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8" name="object 32"/>
          <p:cNvSpPr>
            <a:spLocks noChangeAspect="1"/>
          </p:cNvSpPr>
          <p:nvPr/>
        </p:nvSpPr>
        <p:spPr>
          <a:xfrm>
            <a:off x="4006600" y="378716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49" name="object 32"/>
          <p:cNvSpPr>
            <a:spLocks noChangeAspect="1"/>
          </p:cNvSpPr>
          <p:nvPr/>
        </p:nvSpPr>
        <p:spPr>
          <a:xfrm>
            <a:off x="3549676" y="3730710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0" name="object 32"/>
          <p:cNvSpPr>
            <a:spLocks noChangeAspect="1"/>
          </p:cNvSpPr>
          <p:nvPr/>
        </p:nvSpPr>
        <p:spPr>
          <a:xfrm>
            <a:off x="4276627" y="338548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1" name="object 32"/>
          <p:cNvSpPr>
            <a:spLocks noChangeAspect="1"/>
          </p:cNvSpPr>
          <p:nvPr/>
        </p:nvSpPr>
        <p:spPr>
          <a:xfrm>
            <a:off x="4650291" y="334176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2" name="object 32"/>
          <p:cNvSpPr>
            <a:spLocks noChangeAspect="1"/>
          </p:cNvSpPr>
          <p:nvPr/>
        </p:nvSpPr>
        <p:spPr>
          <a:xfrm>
            <a:off x="4434266" y="344163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3" name="object 32"/>
          <p:cNvSpPr>
            <a:spLocks noChangeAspect="1"/>
          </p:cNvSpPr>
          <p:nvPr/>
        </p:nvSpPr>
        <p:spPr>
          <a:xfrm>
            <a:off x="4868521" y="338548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4" name="object 32"/>
          <p:cNvSpPr>
            <a:spLocks noChangeAspect="1"/>
          </p:cNvSpPr>
          <p:nvPr/>
        </p:nvSpPr>
        <p:spPr>
          <a:xfrm>
            <a:off x="5262599" y="285914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5" name="object 32"/>
          <p:cNvSpPr>
            <a:spLocks noChangeAspect="1"/>
          </p:cNvSpPr>
          <p:nvPr/>
        </p:nvSpPr>
        <p:spPr>
          <a:xfrm>
            <a:off x="4342741" y="375583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6" name="object 32"/>
          <p:cNvSpPr>
            <a:spLocks noChangeAspect="1"/>
          </p:cNvSpPr>
          <p:nvPr/>
        </p:nvSpPr>
        <p:spPr>
          <a:xfrm>
            <a:off x="4143399" y="370873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7" name="object 32"/>
          <p:cNvSpPr>
            <a:spLocks noChangeAspect="1"/>
          </p:cNvSpPr>
          <p:nvPr/>
        </p:nvSpPr>
        <p:spPr>
          <a:xfrm>
            <a:off x="4564402" y="3517244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8" name="object 32"/>
          <p:cNvSpPr>
            <a:spLocks noChangeAspect="1"/>
          </p:cNvSpPr>
          <p:nvPr/>
        </p:nvSpPr>
        <p:spPr>
          <a:xfrm>
            <a:off x="4722291" y="350300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59" name="object 32"/>
          <p:cNvSpPr>
            <a:spLocks noChangeAspect="1"/>
          </p:cNvSpPr>
          <p:nvPr/>
        </p:nvSpPr>
        <p:spPr>
          <a:xfrm>
            <a:off x="4159554" y="400428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0" name="object 32"/>
          <p:cNvSpPr>
            <a:spLocks noChangeAspect="1"/>
          </p:cNvSpPr>
          <p:nvPr/>
        </p:nvSpPr>
        <p:spPr>
          <a:xfrm>
            <a:off x="4309670" y="414801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1" name="object 32"/>
          <p:cNvSpPr>
            <a:spLocks noChangeAspect="1"/>
          </p:cNvSpPr>
          <p:nvPr/>
        </p:nvSpPr>
        <p:spPr>
          <a:xfrm>
            <a:off x="4618000" y="4221472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2" name="object 32"/>
          <p:cNvSpPr>
            <a:spLocks noChangeAspect="1"/>
          </p:cNvSpPr>
          <p:nvPr/>
        </p:nvSpPr>
        <p:spPr>
          <a:xfrm>
            <a:off x="4967209" y="4197600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3" name="object 32"/>
          <p:cNvSpPr>
            <a:spLocks noChangeAspect="1"/>
          </p:cNvSpPr>
          <p:nvPr/>
        </p:nvSpPr>
        <p:spPr>
          <a:xfrm>
            <a:off x="4114673" y="437190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4" name="object 32"/>
          <p:cNvSpPr>
            <a:spLocks noChangeAspect="1"/>
          </p:cNvSpPr>
          <p:nvPr/>
        </p:nvSpPr>
        <p:spPr>
          <a:xfrm>
            <a:off x="3647808" y="4204530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5" name="object 32"/>
          <p:cNvSpPr>
            <a:spLocks noChangeAspect="1"/>
          </p:cNvSpPr>
          <p:nvPr/>
        </p:nvSpPr>
        <p:spPr>
          <a:xfrm>
            <a:off x="4384700" y="3970221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6" name="object 32"/>
          <p:cNvSpPr>
            <a:spLocks noChangeAspect="1"/>
          </p:cNvSpPr>
          <p:nvPr/>
        </p:nvSpPr>
        <p:spPr>
          <a:xfrm>
            <a:off x="4758364" y="392650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7" name="object 32"/>
          <p:cNvSpPr>
            <a:spLocks noChangeAspect="1"/>
          </p:cNvSpPr>
          <p:nvPr/>
        </p:nvSpPr>
        <p:spPr>
          <a:xfrm>
            <a:off x="4542339" y="4026375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8" name="object 32"/>
          <p:cNvSpPr>
            <a:spLocks noChangeAspect="1"/>
          </p:cNvSpPr>
          <p:nvPr/>
        </p:nvSpPr>
        <p:spPr>
          <a:xfrm>
            <a:off x="4976594" y="3970221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9" name="object 32"/>
          <p:cNvSpPr>
            <a:spLocks noChangeAspect="1"/>
          </p:cNvSpPr>
          <p:nvPr/>
        </p:nvSpPr>
        <p:spPr>
          <a:xfrm>
            <a:off x="4811227" y="4293472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0" name="object 32"/>
          <p:cNvSpPr>
            <a:spLocks noChangeAspect="1"/>
          </p:cNvSpPr>
          <p:nvPr/>
        </p:nvSpPr>
        <p:spPr>
          <a:xfrm>
            <a:off x="4450814" y="4340570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1" name="object 32"/>
          <p:cNvSpPr>
            <a:spLocks noChangeAspect="1"/>
          </p:cNvSpPr>
          <p:nvPr/>
        </p:nvSpPr>
        <p:spPr>
          <a:xfrm>
            <a:off x="3907918" y="424408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2" name="object 32"/>
          <p:cNvSpPr>
            <a:spLocks noChangeAspect="1"/>
          </p:cNvSpPr>
          <p:nvPr/>
        </p:nvSpPr>
        <p:spPr>
          <a:xfrm>
            <a:off x="5162506" y="3320732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3" name="object 32"/>
          <p:cNvSpPr>
            <a:spLocks noChangeAspect="1"/>
          </p:cNvSpPr>
          <p:nvPr/>
        </p:nvSpPr>
        <p:spPr>
          <a:xfrm>
            <a:off x="4830364" y="408774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4" name="object 32"/>
          <p:cNvSpPr>
            <a:spLocks noChangeAspect="1"/>
          </p:cNvSpPr>
          <p:nvPr/>
        </p:nvSpPr>
        <p:spPr>
          <a:xfrm>
            <a:off x="3817701" y="484825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5" name="object 32"/>
          <p:cNvSpPr>
            <a:spLocks noChangeAspect="1"/>
          </p:cNvSpPr>
          <p:nvPr/>
        </p:nvSpPr>
        <p:spPr>
          <a:xfrm>
            <a:off x="4625118" y="461744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6" name="object 32"/>
          <p:cNvSpPr>
            <a:spLocks noChangeAspect="1"/>
          </p:cNvSpPr>
          <p:nvPr/>
        </p:nvSpPr>
        <p:spPr>
          <a:xfrm>
            <a:off x="4809726" y="465220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7" name="object 32"/>
          <p:cNvSpPr>
            <a:spLocks noChangeAspect="1"/>
          </p:cNvSpPr>
          <p:nvPr/>
        </p:nvSpPr>
        <p:spPr>
          <a:xfrm>
            <a:off x="5158935" y="462833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8" name="object 32"/>
          <p:cNvSpPr>
            <a:spLocks noChangeAspect="1"/>
          </p:cNvSpPr>
          <p:nvPr/>
        </p:nvSpPr>
        <p:spPr>
          <a:xfrm>
            <a:off x="4306399" y="480263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9" name="object 32"/>
          <p:cNvSpPr>
            <a:spLocks noChangeAspect="1"/>
          </p:cNvSpPr>
          <p:nvPr/>
        </p:nvSpPr>
        <p:spPr>
          <a:xfrm>
            <a:off x="3966178" y="456931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386C1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80" name="object 32"/>
          <p:cNvSpPr>
            <a:spLocks noChangeAspect="1"/>
          </p:cNvSpPr>
          <p:nvPr/>
        </p:nvSpPr>
        <p:spPr>
          <a:xfrm>
            <a:off x="4576426" y="440095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81" name="object 32"/>
          <p:cNvSpPr>
            <a:spLocks noChangeAspect="1"/>
          </p:cNvSpPr>
          <p:nvPr/>
        </p:nvSpPr>
        <p:spPr>
          <a:xfrm>
            <a:off x="4950090" y="435723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82" name="object 32"/>
          <p:cNvSpPr>
            <a:spLocks noChangeAspect="1"/>
          </p:cNvSpPr>
          <p:nvPr/>
        </p:nvSpPr>
        <p:spPr>
          <a:xfrm>
            <a:off x="4734065" y="4457111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92D14F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83" name="object 32"/>
          <p:cNvSpPr>
            <a:spLocks noChangeAspect="1"/>
          </p:cNvSpPr>
          <p:nvPr/>
        </p:nvSpPr>
        <p:spPr>
          <a:xfrm>
            <a:off x="5168320" y="440095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84" name="object 32"/>
          <p:cNvSpPr>
            <a:spLocks noChangeAspect="1"/>
          </p:cNvSpPr>
          <p:nvPr/>
        </p:nvSpPr>
        <p:spPr>
          <a:xfrm>
            <a:off x="4176263" y="4629303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85" name="object 32"/>
          <p:cNvSpPr>
            <a:spLocks noChangeAspect="1"/>
          </p:cNvSpPr>
          <p:nvPr/>
        </p:nvSpPr>
        <p:spPr>
          <a:xfrm>
            <a:off x="4642540" y="4771306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86" name="object 32"/>
          <p:cNvSpPr>
            <a:spLocks noChangeAspect="1"/>
          </p:cNvSpPr>
          <p:nvPr/>
        </p:nvSpPr>
        <p:spPr>
          <a:xfrm>
            <a:off x="4443198" y="4724208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87" name="object 32"/>
          <p:cNvSpPr>
            <a:spLocks noChangeAspect="1"/>
          </p:cNvSpPr>
          <p:nvPr/>
        </p:nvSpPr>
        <p:spPr>
          <a:xfrm>
            <a:off x="4864201" y="4532717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080B85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88" name="object 32"/>
          <p:cNvSpPr>
            <a:spLocks noChangeAspect="1"/>
          </p:cNvSpPr>
          <p:nvPr/>
        </p:nvSpPr>
        <p:spPr>
          <a:xfrm>
            <a:off x="5022090" y="4518479"/>
            <a:ext cx="54000" cy="54000"/>
          </a:xfrm>
          <a:custGeom>
            <a:avLst/>
            <a:gdLst/>
            <a:ahLst/>
            <a:cxnLst/>
            <a:rect l="l" t="t" r="r" b="b"/>
            <a:pathLst>
              <a:path w="350520" h="346075">
                <a:moveTo>
                  <a:pt x="345312" y="0"/>
                </a:moveTo>
                <a:lnTo>
                  <a:pt x="5206" y="0"/>
                </a:lnTo>
                <a:lnTo>
                  <a:pt x="0" y="5079"/>
                </a:lnTo>
                <a:lnTo>
                  <a:pt x="0" y="340867"/>
                </a:lnTo>
                <a:lnTo>
                  <a:pt x="5206" y="345948"/>
                </a:lnTo>
                <a:lnTo>
                  <a:pt x="345312" y="345948"/>
                </a:lnTo>
                <a:lnTo>
                  <a:pt x="350519" y="340867"/>
                </a:lnTo>
                <a:lnTo>
                  <a:pt x="350519" y="5079"/>
                </a:lnTo>
                <a:close/>
              </a:path>
            </a:pathLst>
          </a:custGeom>
          <a:solidFill>
            <a:srgbClr val="C4227C"/>
          </a:solidFill>
          <a:effectLst/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pSp>
        <p:nvGrpSpPr>
          <p:cNvPr id="189" name="图形 210"/>
          <p:cNvGrpSpPr>
            <a:grpSpLocks noChangeAspect="1"/>
          </p:cNvGrpSpPr>
          <p:nvPr/>
        </p:nvGrpSpPr>
        <p:grpSpPr>
          <a:xfrm>
            <a:off x="2604819" y="2219467"/>
            <a:ext cx="720000" cy="720000"/>
            <a:chOff x="3657600" y="990600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90" name="任意形状 189"/>
            <p:cNvSpPr/>
            <p:nvPr/>
          </p:nvSpPr>
          <p:spPr>
            <a:xfrm>
              <a:off x="6527025" y="4813173"/>
              <a:ext cx="287273" cy="163601"/>
            </a:xfrm>
            <a:custGeom>
              <a:avLst/>
              <a:gdLst>
                <a:gd name="connsiteX0" fmla="*/ 287274 w 287273"/>
                <a:gd name="connsiteY0" fmla="*/ 0 h 163601"/>
                <a:gd name="connsiteX1" fmla="*/ 287274 w 287273"/>
                <a:gd name="connsiteY1" fmla="*/ 140741 h 163601"/>
                <a:gd name="connsiteX2" fmla="*/ 264414 w 287273"/>
                <a:gd name="connsiteY2" fmla="*/ 163601 h 163601"/>
                <a:gd name="connsiteX3" fmla="*/ 22860 w 287273"/>
                <a:gd name="connsiteY3" fmla="*/ 163601 h 163601"/>
                <a:gd name="connsiteX4" fmla="*/ 0 w 287273"/>
                <a:gd name="connsiteY4" fmla="*/ 140741 h 163601"/>
                <a:gd name="connsiteX5" fmla="*/ 0 w 287273"/>
                <a:gd name="connsiteY5" fmla="*/ 0 h 16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273" h="163601">
                  <a:moveTo>
                    <a:pt x="287274" y="0"/>
                  </a:moveTo>
                  <a:lnTo>
                    <a:pt x="287274" y="140741"/>
                  </a:lnTo>
                  <a:cubicBezTo>
                    <a:pt x="287274" y="153353"/>
                    <a:pt x="277040" y="163601"/>
                    <a:pt x="264414" y="163601"/>
                  </a:cubicBezTo>
                  <a:lnTo>
                    <a:pt x="22860" y="163601"/>
                  </a:lnTo>
                  <a:cubicBezTo>
                    <a:pt x="10233" y="163601"/>
                    <a:pt x="0" y="153353"/>
                    <a:pt x="0" y="14074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91" name="任意形状 190"/>
            <p:cNvSpPr/>
            <p:nvPr/>
          </p:nvSpPr>
          <p:spPr>
            <a:xfrm>
              <a:off x="5377700" y="4813173"/>
              <a:ext cx="287274" cy="163601"/>
            </a:xfrm>
            <a:custGeom>
              <a:avLst/>
              <a:gdLst>
                <a:gd name="connsiteX0" fmla="*/ 287274 w 287274"/>
                <a:gd name="connsiteY0" fmla="*/ 0 h 163601"/>
                <a:gd name="connsiteX1" fmla="*/ 287274 w 287274"/>
                <a:gd name="connsiteY1" fmla="*/ 140741 h 163601"/>
                <a:gd name="connsiteX2" fmla="*/ 264414 w 287274"/>
                <a:gd name="connsiteY2" fmla="*/ 163601 h 163601"/>
                <a:gd name="connsiteX3" fmla="*/ 22860 w 287274"/>
                <a:gd name="connsiteY3" fmla="*/ 163601 h 163601"/>
                <a:gd name="connsiteX4" fmla="*/ 0 w 287274"/>
                <a:gd name="connsiteY4" fmla="*/ 140741 h 163601"/>
                <a:gd name="connsiteX5" fmla="*/ 0 w 287274"/>
                <a:gd name="connsiteY5" fmla="*/ 0 h 16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274" h="163601">
                  <a:moveTo>
                    <a:pt x="287274" y="0"/>
                  </a:moveTo>
                  <a:lnTo>
                    <a:pt x="287274" y="140741"/>
                  </a:lnTo>
                  <a:cubicBezTo>
                    <a:pt x="287274" y="153353"/>
                    <a:pt x="277040" y="163601"/>
                    <a:pt x="264414" y="163601"/>
                  </a:cubicBezTo>
                  <a:lnTo>
                    <a:pt x="22860" y="163601"/>
                  </a:lnTo>
                  <a:cubicBezTo>
                    <a:pt x="10234" y="163601"/>
                    <a:pt x="0" y="153353"/>
                    <a:pt x="0" y="14074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92" name="任意形状 191"/>
            <p:cNvSpPr/>
            <p:nvPr/>
          </p:nvSpPr>
          <p:spPr>
            <a:xfrm>
              <a:off x="5245608" y="1881187"/>
              <a:ext cx="1700593" cy="3000908"/>
            </a:xfrm>
            <a:custGeom>
              <a:avLst/>
              <a:gdLst>
                <a:gd name="connsiteX0" fmla="*/ 1624394 w 1700593"/>
                <a:gd name="connsiteY0" fmla="*/ 0 h 3000908"/>
                <a:gd name="connsiteX1" fmla="*/ 1700594 w 1700593"/>
                <a:gd name="connsiteY1" fmla="*/ 0 h 3000908"/>
                <a:gd name="connsiteX2" fmla="*/ 1700594 w 1700593"/>
                <a:gd name="connsiteY2" fmla="*/ 3000909 h 3000908"/>
                <a:gd name="connsiteX3" fmla="*/ 1624394 w 1700593"/>
                <a:gd name="connsiteY3" fmla="*/ 3000909 h 3000908"/>
                <a:gd name="connsiteX4" fmla="*/ 76200 w 1700593"/>
                <a:gd name="connsiteY4" fmla="*/ 3000909 h 3000908"/>
                <a:gd name="connsiteX5" fmla="*/ 0 w 1700593"/>
                <a:gd name="connsiteY5" fmla="*/ 3000909 h 3000908"/>
                <a:gd name="connsiteX6" fmla="*/ 0 w 1700593"/>
                <a:gd name="connsiteY6" fmla="*/ 0 h 3000908"/>
                <a:gd name="connsiteX7" fmla="*/ 76200 w 1700593"/>
                <a:gd name="connsiteY7" fmla="*/ 0 h 300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0593" h="3000908">
                  <a:moveTo>
                    <a:pt x="1624394" y="0"/>
                  </a:moveTo>
                  <a:cubicBezTo>
                    <a:pt x="1666478" y="0"/>
                    <a:pt x="1700594" y="0"/>
                    <a:pt x="1700594" y="0"/>
                  </a:cubicBezTo>
                  <a:lnTo>
                    <a:pt x="1700594" y="3000909"/>
                  </a:lnTo>
                  <a:cubicBezTo>
                    <a:pt x="1700594" y="3000909"/>
                    <a:pt x="1666478" y="3000909"/>
                    <a:pt x="1624394" y="3000909"/>
                  </a:cubicBezTo>
                  <a:lnTo>
                    <a:pt x="76200" y="3000909"/>
                  </a:lnTo>
                  <a:cubicBezTo>
                    <a:pt x="34116" y="3000909"/>
                    <a:pt x="0" y="3000909"/>
                    <a:pt x="0" y="3000909"/>
                  </a:cubicBezTo>
                  <a:lnTo>
                    <a:pt x="0" y="0"/>
                  </a:lnTo>
                  <a:cubicBezTo>
                    <a:pt x="0" y="0"/>
                    <a:pt x="34116" y="0"/>
                    <a:pt x="76200" y="0"/>
                  </a:cubicBez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93" name="任意形状 192"/>
            <p:cNvSpPr/>
            <p:nvPr/>
          </p:nvSpPr>
          <p:spPr>
            <a:xfrm>
              <a:off x="5467616" y="2162594"/>
              <a:ext cx="91744" cy="454571"/>
            </a:xfrm>
            <a:custGeom>
              <a:avLst/>
              <a:gdLst>
                <a:gd name="connsiteX0" fmla="*/ 45872 w 91744"/>
                <a:gd name="connsiteY0" fmla="*/ 0 h 454571"/>
                <a:gd name="connsiteX1" fmla="*/ 91745 w 91744"/>
                <a:gd name="connsiteY1" fmla="*/ 0 h 454571"/>
                <a:gd name="connsiteX2" fmla="*/ 91745 w 91744"/>
                <a:gd name="connsiteY2" fmla="*/ 454571 h 454571"/>
                <a:gd name="connsiteX3" fmla="*/ 45872 w 91744"/>
                <a:gd name="connsiteY3" fmla="*/ 454571 h 454571"/>
                <a:gd name="connsiteX4" fmla="*/ 45872 w 91744"/>
                <a:gd name="connsiteY4" fmla="*/ 454571 h 454571"/>
                <a:gd name="connsiteX5" fmla="*/ 0 w 91744"/>
                <a:gd name="connsiteY5" fmla="*/ 454571 h 454571"/>
                <a:gd name="connsiteX6" fmla="*/ 0 w 91744"/>
                <a:gd name="connsiteY6" fmla="*/ 0 h 454571"/>
                <a:gd name="connsiteX7" fmla="*/ 45872 w 91744"/>
                <a:gd name="connsiteY7" fmla="*/ 0 h 45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44" h="454571">
                  <a:moveTo>
                    <a:pt x="45872" y="0"/>
                  </a:moveTo>
                  <a:cubicBezTo>
                    <a:pt x="71207" y="0"/>
                    <a:pt x="91745" y="0"/>
                    <a:pt x="91745" y="0"/>
                  </a:cubicBezTo>
                  <a:lnTo>
                    <a:pt x="91745" y="454571"/>
                  </a:lnTo>
                  <a:cubicBezTo>
                    <a:pt x="91745" y="454571"/>
                    <a:pt x="71207" y="454571"/>
                    <a:pt x="45872" y="454571"/>
                  </a:cubicBezTo>
                  <a:lnTo>
                    <a:pt x="45872" y="454571"/>
                  </a:lnTo>
                  <a:cubicBezTo>
                    <a:pt x="20538" y="454571"/>
                    <a:pt x="0" y="454571"/>
                    <a:pt x="0" y="454571"/>
                  </a:cubicBezTo>
                  <a:lnTo>
                    <a:pt x="0" y="0"/>
                  </a:lnTo>
                  <a:cubicBezTo>
                    <a:pt x="0" y="0"/>
                    <a:pt x="20538" y="0"/>
                    <a:pt x="45872" y="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194" name="任意形状 193"/>
            <p:cNvSpPr/>
            <p:nvPr/>
          </p:nvSpPr>
          <p:spPr>
            <a:xfrm>
              <a:off x="5467616" y="3154375"/>
              <a:ext cx="91744" cy="454571"/>
            </a:xfrm>
            <a:custGeom>
              <a:avLst/>
              <a:gdLst>
                <a:gd name="connsiteX0" fmla="*/ 45872 w 91744"/>
                <a:gd name="connsiteY0" fmla="*/ 0 h 454571"/>
                <a:gd name="connsiteX1" fmla="*/ 91745 w 91744"/>
                <a:gd name="connsiteY1" fmla="*/ 0 h 454571"/>
                <a:gd name="connsiteX2" fmla="*/ 91745 w 91744"/>
                <a:gd name="connsiteY2" fmla="*/ 454571 h 454571"/>
                <a:gd name="connsiteX3" fmla="*/ 45872 w 91744"/>
                <a:gd name="connsiteY3" fmla="*/ 454571 h 454571"/>
                <a:gd name="connsiteX4" fmla="*/ 45872 w 91744"/>
                <a:gd name="connsiteY4" fmla="*/ 454571 h 454571"/>
                <a:gd name="connsiteX5" fmla="*/ 0 w 91744"/>
                <a:gd name="connsiteY5" fmla="*/ 454571 h 454571"/>
                <a:gd name="connsiteX6" fmla="*/ 0 w 91744"/>
                <a:gd name="connsiteY6" fmla="*/ 0 h 454571"/>
                <a:gd name="connsiteX7" fmla="*/ 45872 w 91744"/>
                <a:gd name="connsiteY7" fmla="*/ 0 h 45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744" h="454571">
                  <a:moveTo>
                    <a:pt x="45872" y="0"/>
                  </a:moveTo>
                  <a:cubicBezTo>
                    <a:pt x="71207" y="0"/>
                    <a:pt x="91745" y="0"/>
                    <a:pt x="91745" y="0"/>
                  </a:cubicBezTo>
                  <a:lnTo>
                    <a:pt x="91745" y="454571"/>
                  </a:lnTo>
                  <a:cubicBezTo>
                    <a:pt x="91745" y="454571"/>
                    <a:pt x="71207" y="454571"/>
                    <a:pt x="45872" y="454571"/>
                  </a:cubicBezTo>
                  <a:lnTo>
                    <a:pt x="45872" y="454571"/>
                  </a:lnTo>
                  <a:cubicBezTo>
                    <a:pt x="20538" y="454571"/>
                    <a:pt x="0" y="454571"/>
                    <a:pt x="0" y="454571"/>
                  </a:cubicBezTo>
                  <a:lnTo>
                    <a:pt x="0" y="0"/>
                  </a:lnTo>
                  <a:cubicBezTo>
                    <a:pt x="0" y="0"/>
                    <a:pt x="20538" y="0"/>
                    <a:pt x="45872" y="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195" name="图形 210"/>
            <p:cNvGrpSpPr/>
            <p:nvPr/>
          </p:nvGrpSpPr>
          <p:grpSpPr>
            <a:xfrm>
              <a:off x="5699607" y="1881187"/>
              <a:ext cx="1017231" cy="3000908"/>
              <a:chOff x="5699607" y="1881187"/>
              <a:chExt cx="1017231" cy="3000908"/>
            </a:xfrm>
            <a:solidFill>
              <a:srgbClr val="FFFFFF"/>
            </a:solidFill>
          </p:grpSpPr>
          <p:sp>
            <p:nvSpPr>
              <p:cNvPr id="197" name="任意形状 196"/>
              <p:cNvSpPr/>
              <p:nvPr/>
            </p:nvSpPr>
            <p:spPr>
              <a:xfrm>
                <a:off x="5699607" y="1881187"/>
                <a:ext cx="651967" cy="3000908"/>
              </a:xfrm>
              <a:custGeom>
                <a:avLst/>
                <a:gdLst>
                  <a:gd name="connsiteX0" fmla="*/ 42367 w 651967"/>
                  <a:gd name="connsiteY0" fmla="*/ 3000909 h 3000908"/>
                  <a:gd name="connsiteX1" fmla="*/ 0 w 651967"/>
                  <a:gd name="connsiteY1" fmla="*/ 3000909 h 3000908"/>
                  <a:gd name="connsiteX2" fmla="*/ 609600 w 651967"/>
                  <a:gd name="connsiteY2" fmla="*/ 0 h 3000908"/>
                  <a:gd name="connsiteX3" fmla="*/ 651967 w 651967"/>
                  <a:gd name="connsiteY3" fmla="*/ 0 h 300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1967" h="3000908">
                    <a:moveTo>
                      <a:pt x="42367" y="3000909"/>
                    </a:moveTo>
                    <a:lnTo>
                      <a:pt x="0" y="3000909"/>
                    </a:lnTo>
                    <a:lnTo>
                      <a:pt x="609600" y="0"/>
                    </a:lnTo>
                    <a:lnTo>
                      <a:pt x="651967" y="0"/>
                    </a:lnTo>
                    <a:close/>
                  </a:path>
                </a:pathLst>
              </a:custGeom>
              <a:solidFill>
                <a:srgbClr val="FFFFFF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98" name="任意形状 197"/>
              <p:cNvSpPr/>
              <p:nvPr/>
            </p:nvSpPr>
            <p:spPr>
              <a:xfrm>
                <a:off x="5884887" y="1881187"/>
                <a:ext cx="831951" cy="3000908"/>
              </a:xfrm>
              <a:custGeom>
                <a:avLst/>
                <a:gdLst>
                  <a:gd name="connsiteX0" fmla="*/ 222352 w 831951"/>
                  <a:gd name="connsiteY0" fmla="*/ 3000909 h 3000908"/>
                  <a:gd name="connsiteX1" fmla="*/ 0 w 831951"/>
                  <a:gd name="connsiteY1" fmla="*/ 3000909 h 3000908"/>
                  <a:gd name="connsiteX2" fmla="*/ 609600 w 831951"/>
                  <a:gd name="connsiteY2" fmla="*/ 0 h 3000908"/>
                  <a:gd name="connsiteX3" fmla="*/ 831952 w 831951"/>
                  <a:gd name="connsiteY3" fmla="*/ 0 h 3000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1951" h="3000908">
                    <a:moveTo>
                      <a:pt x="222352" y="3000909"/>
                    </a:moveTo>
                    <a:lnTo>
                      <a:pt x="0" y="3000909"/>
                    </a:lnTo>
                    <a:lnTo>
                      <a:pt x="609600" y="0"/>
                    </a:lnTo>
                    <a:lnTo>
                      <a:pt x="831952" y="0"/>
                    </a:lnTo>
                    <a:close/>
                  </a:path>
                </a:pathLst>
              </a:custGeom>
              <a:solidFill>
                <a:srgbClr val="FFFFFF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96" name="任意形状 195"/>
            <p:cNvSpPr/>
            <p:nvPr/>
          </p:nvSpPr>
          <p:spPr>
            <a:xfrm>
              <a:off x="5245608" y="2898533"/>
              <a:ext cx="1700745" cy="75476"/>
            </a:xfrm>
            <a:custGeom>
              <a:avLst/>
              <a:gdLst>
                <a:gd name="connsiteX0" fmla="*/ 0 w 1700745"/>
                <a:gd name="connsiteY0" fmla="*/ 0 h 75476"/>
                <a:gd name="connsiteX1" fmla="*/ 1700746 w 1700745"/>
                <a:gd name="connsiteY1" fmla="*/ 0 h 75476"/>
                <a:gd name="connsiteX2" fmla="*/ 1700746 w 1700745"/>
                <a:gd name="connsiteY2" fmla="*/ 75476 h 75476"/>
                <a:gd name="connsiteX3" fmla="*/ 0 w 1700745"/>
                <a:gd name="connsiteY3" fmla="*/ 75476 h 7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0745" h="75476">
                  <a:moveTo>
                    <a:pt x="0" y="0"/>
                  </a:moveTo>
                  <a:lnTo>
                    <a:pt x="1700746" y="0"/>
                  </a:lnTo>
                  <a:lnTo>
                    <a:pt x="1700746" y="75476"/>
                  </a:lnTo>
                  <a:lnTo>
                    <a:pt x="0" y="75476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99" name="图形 204"/>
          <p:cNvGrpSpPr>
            <a:grpSpLocks noChangeAspect="1"/>
          </p:cNvGrpSpPr>
          <p:nvPr/>
        </p:nvGrpSpPr>
        <p:grpSpPr>
          <a:xfrm>
            <a:off x="1699947" y="2750754"/>
            <a:ext cx="720000" cy="720000"/>
            <a:chOff x="-694248" y="-2015809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00" name="任意形状 199"/>
            <p:cNvSpPr/>
            <p:nvPr/>
          </p:nvSpPr>
          <p:spPr>
            <a:xfrm>
              <a:off x="2742714" y="-239853"/>
              <a:ext cx="88430" cy="348996"/>
            </a:xfrm>
            <a:custGeom>
              <a:avLst/>
              <a:gdLst>
                <a:gd name="connsiteX0" fmla="*/ 88430 w 88430"/>
                <a:gd name="connsiteY0" fmla="*/ 44196 h 348996"/>
                <a:gd name="connsiteX1" fmla="*/ 88430 w 88430"/>
                <a:gd name="connsiteY1" fmla="*/ 348996 h 348996"/>
                <a:gd name="connsiteX2" fmla="*/ 0 w 88430"/>
                <a:gd name="connsiteY2" fmla="*/ 348996 h 348996"/>
                <a:gd name="connsiteX3" fmla="*/ 0 w 88430"/>
                <a:gd name="connsiteY3" fmla="*/ 44196 h 348996"/>
                <a:gd name="connsiteX4" fmla="*/ 44196 w 88430"/>
                <a:gd name="connsiteY4" fmla="*/ 0 h 348996"/>
                <a:gd name="connsiteX5" fmla="*/ 88430 w 88430"/>
                <a:gd name="connsiteY5" fmla="*/ 44158 h 348996"/>
                <a:gd name="connsiteX6" fmla="*/ 88430 w 88430"/>
                <a:gd name="connsiteY6" fmla="*/ 44196 h 348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430" h="348996">
                  <a:moveTo>
                    <a:pt x="88430" y="44196"/>
                  </a:moveTo>
                  <a:lnTo>
                    <a:pt x="88430" y="348996"/>
                  </a:lnTo>
                  <a:lnTo>
                    <a:pt x="0" y="348996"/>
                  </a:lnTo>
                  <a:lnTo>
                    <a:pt x="0" y="44196"/>
                  </a:lnTo>
                  <a:cubicBezTo>
                    <a:pt x="0" y="19785"/>
                    <a:pt x="19785" y="0"/>
                    <a:pt x="44196" y="0"/>
                  </a:cubicBezTo>
                  <a:cubicBezTo>
                    <a:pt x="68607" y="-23"/>
                    <a:pt x="88407" y="19747"/>
                    <a:pt x="88430" y="44158"/>
                  </a:cubicBezTo>
                  <a:cubicBezTo>
                    <a:pt x="88430" y="44169"/>
                    <a:pt x="88430" y="44185"/>
                    <a:pt x="88430" y="44196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01" name="任意形状 200"/>
            <p:cNvSpPr/>
            <p:nvPr/>
          </p:nvSpPr>
          <p:spPr>
            <a:xfrm>
              <a:off x="2456621" y="-239853"/>
              <a:ext cx="88353" cy="348995"/>
            </a:xfrm>
            <a:custGeom>
              <a:avLst/>
              <a:gdLst>
                <a:gd name="connsiteX0" fmla="*/ 88354 w 88353"/>
                <a:gd name="connsiteY0" fmla="*/ 44196 h 348995"/>
                <a:gd name="connsiteX1" fmla="*/ 88354 w 88353"/>
                <a:gd name="connsiteY1" fmla="*/ 348996 h 348995"/>
                <a:gd name="connsiteX2" fmla="*/ 0 w 88353"/>
                <a:gd name="connsiteY2" fmla="*/ 348996 h 348995"/>
                <a:gd name="connsiteX3" fmla="*/ 0 w 88353"/>
                <a:gd name="connsiteY3" fmla="*/ 44196 h 348995"/>
                <a:gd name="connsiteX4" fmla="*/ 44196 w 88353"/>
                <a:gd name="connsiteY4" fmla="*/ 0 h 348995"/>
                <a:gd name="connsiteX5" fmla="*/ 88354 w 88353"/>
                <a:gd name="connsiteY5" fmla="*/ 44196 h 348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353" h="348995">
                  <a:moveTo>
                    <a:pt x="88354" y="44196"/>
                  </a:moveTo>
                  <a:lnTo>
                    <a:pt x="88354" y="348996"/>
                  </a:lnTo>
                  <a:lnTo>
                    <a:pt x="0" y="348996"/>
                  </a:lnTo>
                  <a:lnTo>
                    <a:pt x="0" y="44196"/>
                  </a:lnTo>
                  <a:cubicBezTo>
                    <a:pt x="0" y="19785"/>
                    <a:pt x="19785" y="0"/>
                    <a:pt x="44196" y="0"/>
                  </a:cubicBezTo>
                  <a:cubicBezTo>
                    <a:pt x="68591" y="23"/>
                    <a:pt x="88354" y="19801"/>
                    <a:pt x="88354" y="44196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02" name="任意形状 201"/>
            <p:cNvSpPr/>
            <p:nvPr/>
          </p:nvSpPr>
          <p:spPr>
            <a:xfrm>
              <a:off x="1051570" y="-1139509"/>
              <a:ext cx="1644396" cy="2556052"/>
            </a:xfrm>
            <a:custGeom>
              <a:avLst/>
              <a:gdLst>
                <a:gd name="connsiteX0" fmla="*/ 1258634 w 1644396"/>
                <a:gd name="connsiteY0" fmla="*/ 2556053 h 2556052"/>
                <a:gd name="connsiteX1" fmla="*/ 872833 w 1644396"/>
                <a:gd name="connsiteY1" fmla="*/ 2170290 h 2556052"/>
                <a:gd name="connsiteX2" fmla="*/ 872833 w 1644396"/>
                <a:gd name="connsiteY2" fmla="*/ 486842 h 2556052"/>
                <a:gd name="connsiteX3" fmla="*/ 499834 w 1644396"/>
                <a:gd name="connsiteY3" fmla="*/ 113843 h 2556052"/>
                <a:gd name="connsiteX4" fmla="*/ 486842 w 1644396"/>
                <a:gd name="connsiteY4" fmla="*/ 113843 h 2556052"/>
                <a:gd name="connsiteX5" fmla="*/ 113843 w 1644396"/>
                <a:gd name="connsiteY5" fmla="*/ 486842 h 2556052"/>
                <a:gd name="connsiteX6" fmla="*/ 0 w 1644396"/>
                <a:gd name="connsiteY6" fmla="*/ 486842 h 2556052"/>
                <a:gd name="connsiteX7" fmla="*/ 486842 w 1644396"/>
                <a:gd name="connsiteY7" fmla="*/ 0 h 2556052"/>
                <a:gd name="connsiteX8" fmla="*/ 499720 w 1644396"/>
                <a:gd name="connsiteY8" fmla="*/ 0 h 2556052"/>
                <a:gd name="connsiteX9" fmla="*/ 986676 w 1644396"/>
                <a:gd name="connsiteY9" fmla="*/ 486842 h 2556052"/>
                <a:gd name="connsiteX10" fmla="*/ 986676 w 1644396"/>
                <a:gd name="connsiteY10" fmla="*/ 2170290 h 2556052"/>
                <a:gd name="connsiteX11" fmla="*/ 1258615 w 1644396"/>
                <a:gd name="connsiteY11" fmla="*/ 2442229 h 2556052"/>
                <a:gd name="connsiteX12" fmla="*/ 1530553 w 1644396"/>
                <a:gd name="connsiteY12" fmla="*/ 2170290 h 2556052"/>
                <a:gd name="connsiteX13" fmla="*/ 1530553 w 1644396"/>
                <a:gd name="connsiteY13" fmla="*/ 1694917 h 2556052"/>
                <a:gd name="connsiteX14" fmla="*/ 1644396 w 1644396"/>
                <a:gd name="connsiteY14" fmla="*/ 1694917 h 2556052"/>
                <a:gd name="connsiteX15" fmla="*/ 1644396 w 1644396"/>
                <a:gd name="connsiteY15" fmla="*/ 2170290 h 2556052"/>
                <a:gd name="connsiteX16" fmla="*/ 1258634 w 1644396"/>
                <a:gd name="connsiteY16" fmla="*/ 2556053 h 2556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44396" h="2556052">
                  <a:moveTo>
                    <a:pt x="1258634" y="2556053"/>
                  </a:moveTo>
                  <a:cubicBezTo>
                    <a:pt x="1045674" y="2555821"/>
                    <a:pt x="873085" y="2383250"/>
                    <a:pt x="872833" y="2170290"/>
                  </a:cubicBezTo>
                  <a:lnTo>
                    <a:pt x="872833" y="486842"/>
                  </a:lnTo>
                  <a:cubicBezTo>
                    <a:pt x="872624" y="280927"/>
                    <a:pt x="705749" y="114052"/>
                    <a:pt x="499834" y="113843"/>
                  </a:cubicBezTo>
                  <a:lnTo>
                    <a:pt x="486842" y="113843"/>
                  </a:lnTo>
                  <a:cubicBezTo>
                    <a:pt x="280927" y="114052"/>
                    <a:pt x="114052" y="280927"/>
                    <a:pt x="113843" y="486842"/>
                  </a:cubicBezTo>
                  <a:lnTo>
                    <a:pt x="0" y="486842"/>
                  </a:lnTo>
                  <a:cubicBezTo>
                    <a:pt x="316" y="218096"/>
                    <a:pt x="218096" y="316"/>
                    <a:pt x="486842" y="0"/>
                  </a:cubicBezTo>
                  <a:lnTo>
                    <a:pt x="499720" y="0"/>
                  </a:lnTo>
                  <a:cubicBezTo>
                    <a:pt x="768507" y="251"/>
                    <a:pt x="986360" y="218054"/>
                    <a:pt x="986676" y="486842"/>
                  </a:cubicBezTo>
                  <a:lnTo>
                    <a:pt x="986676" y="2170290"/>
                  </a:lnTo>
                  <a:cubicBezTo>
                    <a:pt x="986676" y="2320477"/>
                    <a:pt x="1108428" y="2442229"/>
                    <a:pt x="1258615" y="2442229"/>
                  </a:cubicBezTo>
                  <a:cubicBezTo>
                    <a:pt x="1408801" y="2442229"/>
                    <a:pt x="1530553" y="2320477"/>
                    <a:pt x="1530553" y="2170290"/>
                  </a:cubicBezTo>
                  <a:lnTo>
                    <a:pt x="1530553" y="1694917"/>
                  </a:lnTo>
                  <a:lnTo>
                    <a:pt x="1644396" y="1694917"/>
                  </a:lnTo>
                  <a:lnTo>
                    <a:pt x="1644396" y="2170290"/>
                  </a:lnTo>
                  <a:cubicBezTo>
                    <a:pt x="1644145" y="2383235"/>
                    <a:pt x="1471578" y="2555801"/>
                    <a:pt x="1258634" y="2556053"/>
                  </a:cubicBez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03" name="任意形状 202"/>
            <p:cNvSpPr/>
            <p:nvPr/>
          </p:nvSpPr>
          <p:spPr>
            <a:xfrm>
              <a:off x="558365" y="-690462"/>
              <a:ext cx="1100442" cy="2675153"/>
            </a:xfrm>
            <a:custGeom>
              <a:avLst/>
              <a:gdLst>
                <a:gd name="connsiteX0" fmla="*/ 948652 w 1100442"/>
                <a:gd name="connsiteY0" fmla="*/ 0 h 2675153"/>
                <a:gd name="connsiteX1" fmla="*/ 1100442 w 1100442"/>
                <a:gd name="connsiteY1" fmla="*/ 0 h 2675153"/>
                <a:gd name="connsiteX2" fmla="*/ 1100442 w 1100442"/>
                <a:gd name="connsiteY2" fmla="*/ 2675154 h 2675153"/>
                <a:gd name="connsiteX3" fmla="*/ 948652 w 1100442"/>
                <a:gd name="connsiteY3" fmla="*/ 2675154 h 2675153"/>
                <a:gd name="connsiteX4" fmla="*/ 151790 w 1100442"/>
                <a:gd name="connsiteY4" fmla="*/ 2675154 h 2675153"/>
                <a:gd name="connsiteX5" fmla="*/ 0 w 1100442"/>
                <a:gd name="connsiteY5" fmla="*/ 2675154 h 2675153"/>
                <a:gd name="connsiteX6" fmla="*/ 0 w 1100442"/>
                <a:gd name="connsiteY6" fmla="*/ 0 h 2675153"/>
                <a:gd name="connsiteX7" fmla="*/ 151790 w 1100442"/>
                <a:gd name="connsiteY7" fmla="*/ 0 h 267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0442" h="2675153">
                  <a:moveTo>
                    <a:pt x="948652" y="0"/>
                  </a:moveTo>
                  <a:cubicBezTo>
                    <a:pt x="1032483" y="0"/>
                    <a:pt x="1100442" y="0"/>
                    <a:pt x="1100442" y="0"/>
                  </a:cubicBezTo>
                  <a:lnTo>
                    <a:pt x="1100442" y="2675154"/>
                  </a:lnTo>
                  <a:cubicBezTo>
                    <a:pt x="1100442" y="2675154"/>
                    <a:pt x="1032483" y="2675154"/>
                    <a:pt x="948652" y="2675154"/>
                  </a:cubicBezTo>
                  <a:lnTo>
                    <a:pt x="151790" y="2675154"/>
                  </a:lnTo>
                  <a:cubicBezTo>
                    <a:pt x="67959" y="2675154"/>
                    <a:pt x="0" y="2675154"/>
                    <a:pt x="0" y="2675154"/>
                  </a:cubicBezTo>
                  <a:lnTo>
                    <a:pt x="0" y="0"/>
                  </a:lnTo>
                  <a:cubicBezTo>
                    <a:pt x="0" y="0"/>
                    <a:pt x="67959" y="0"/>
                    <a:pt x="151790" y="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04" name="任意形状 203"/>
            <p:cNvSpPr/>
            <p:nvPr/>
          </p:nvSpPr>
          <p:spPr>
            <a:xfrm>
              <a:off x="558365" y="-235129"/>
              <a:ext cx="1100442" cy="82219"/>
            </a:xfrm>
            <a:custGeom>
              <a:avLst/>
              <a:gdLst>
                <a:gd name="connsiteX0" fmla="*/ 0 w 1100442"/>
                <a:gd name="connsiteY0" fmla="*/ 0 h 82219"/>
                <a:gd name="connsiteX1" fmla="*/ 1100442 w 1100442"/>
                <a:gd name="connsiteY1" fmla="*/ 0 h 82219"/>
                <a:gd name="connsiteX2" fmla="*/ 1100442 w 1100442"/>
                <a:gd name="connsiteY2" fmla="*/ 82220 h 82219"/>
                <a:gd name="connsiteX3" fmla="*/ 0 w 1100442"/>
                <a:gd name="connsiteY3" fmla="*/ 82220 h 82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0442" h="82219">
                  <a:moveTo>
                    <a:pt x="0" y="0"/>
                  </a:moveTo>
                  <a:lnTo>
                    <a:pt x="1100442" y="0"/>
                  </a:lnTo>
                  <a:lnTo>
                    <a:pt x="1100442" y="82220"/>
                  </a:lnTo>
                  <a:lnTo>
                    <a:pt x="0" y="82220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05" name="任意形状 204"/>
            <p:cNvSpPr/>
            <p:nvPr/>
          </p:nvSpPr>
          <p:spPr>
            <a:xfrm>
              <a:off x="1007450" y="-554636"/>
              <a:ext cx="202234" cy="202235"/>
            </a:xfrm>
            <a:custGeom>
              <a:avLst/>
              <a:gdLst>
                <a:gd name="connsiteX0" fmla="*/ 202235 w 202234"/>
                <a:gd name="connsiteY0" fmla="*/ 101308 h 202235"/>
                <a:gd name="connsiteX1" fmla="*/ 100927 w 202234"/>
                <a:gd name="connsiteY1" fmla="*/ 202235 h 202235"/>
                <a:gd name="connsiteX2" fmla="*/ 0 w 202234"/>
                <a:gd name="connsiteY2" fmla="*/ 100927 h 202235"/>
                <a:gd name="connsiteX3" fmla="*/ 101308 w 202234"/>
                <a:gd name="connsiteY3" fmla="*/ 0 h 202235"/>
                <a:gd name="connsiteX4" fmla="*/ 202235 w 202234"/>
                <a:gd name="connsiteY4" fmla="*/ 101308 h 20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234" h="202235">
                  <a:moveTo>
                    <a:pt x="202235" y="101308"/>
                  </a:moveTo>
                  <a:cubicBezTo>
                    <a:pt x="202128" y="157155"/>
                    <a:pt x="156774" y="202342"/>
                    <a:pt x="100927" y="202235"/>
                  </a:cubicBezTo>
                  <a:cubicBezTo>
                    <a:pt x="45080" y="202128"/>
                    <a:pt x="-106" y="156774"/>
                    <a:pt x="0" y="100927"/>
                  </a:cubicBezTo>
                  <a:cubicBezTo>
                    <a:pt x="107" y="45080"/>
                    <a:pt x="45461" y="-106"/>
                    <a:pt x="101308" y="0"/>
                  </a:cubicBezTo>
                  <a:cubicBezTo>
                    <a:pt x="157128" y="168"/>
                    <a:pt x="202277" y="45488"/>
                    <a:pt x="202235" y="101308"/>
                  </a:cubicBezTo>
                  <a:close/>
                </a:path>
              </a:pathLst>
            </a:custGeom>
            <a:solidFill>
              <a:srgbClr val="EF526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206" name="图形 204"/>
            <p:cNvGrpSpPr/>
            <p:nvPr/>
          </p:nvGrpSpPr>
          <p:grpSpPr>
            <a:xfrm>
              <a:off x="800224" y="-28132"/>
              <a:ext cx="616686" cy="1852612"/>
              <a:chOff x="800224" y="-28132"/>
              <a:chExt cx="616686" cy="1852612"/>
            </a:xfrm>
            <a:solidFill>
              <a:srgbClr val="575B6D"/>
            </a:solidFill>
          </p:grpSpPr>
          <p:sp>
            <p:nvSpPr>
              <p:cNvPr id="209" name="任意形状 208"/>
              <p:cNvSpPr/>
              <p:nvPr/>
            </p:nvSpPr>
            <p:spPr>
              <a:xfrm>
                <a:off x="800224" y="-28132"/>
                <a:ext cx="253098" cy="142303"/>
              </a:xfrm>
              <a:custGeom>
                <a:avLst/>
                <a:gdLst>
                  <a:gd name="connsiteX0" fmla="*/ 215151 w 253098"/>
                  <a:gd name="connsiteY0" fmla="*/ 0 h 142303"/>
                  <a:gd name="connsiteX1" fmla="*/ 253098 w 253098"/>
                  <a:gd name="connsiteY1" fmla="*/ 0 h 142303"/>
                  <a:gd name="connsiteX2" fmla="*/ 253098 w 253098"/>
                  <a:gd name="connsiteY2" fmla="*/ 142303 h 142303"/>
                  <a:gd name="connsiteX3" fmla="*/ 215151 w 253098"/>
                  <a:gd name="connsiteY3" fmla="*/ 142303 h 142303"/>
                  <a:gd name="connsiteX4" fmla="*/ 37948 w 253098"/>
                  <a:gd name="connsiteY4" fmla="*/ 142303 h 142303"/>
                  <a:gd name="connsiteX5" fmla="*/ 0 w 253098"/>
                  <a:gd name="connsiteY5" fmla="*/ 142303 h 142303"/>
                  <a:gd name="connsiteX6" fmla="*/ 0 w 253098"/>
                  <a:gd name="connsiteY6" fmla="*/ 0 h 142303"/>
                  <a:gd name="connsiteX7" fmla="*/ 37948 w 253098"/>
                  <a:gd name="connsiteY7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098" h="142303">
                    <a:moveTo>
                      <a:pt x="215151" y="0"/>
                    </a:moveTo>
                    <a:cubicBezTo>
                      <a:pt x="236109" y="0"/>
                      <a:pt x="253098" y="0"/>
                      <a:pt x="253098" y="0"/>
                    </a:cubicBezTo>
                    <a:lnTo>
                      <a:pt x="253098" y="142303"/>
                    </a:lnTo>
                    <a:cubicBezTo>
                      <a:pt x="253098" y="142303"/>
                      <a:pt x="236109" y="142303"/>
                      <a:pt x="215151" y="142303"/>
                    </a:cubicBezTo>
                    <a:lnTo>
                      <a:pt x="37948" y="142303"/>
                    </a:lnTo>
                    <a:cubicBezTo>
                      <a:pt x="16990" y="142303"/>
                      <a:pt x="0" y="142303"/>
                      <a:pt x="0" y="142303"/>
                    </a:cubicBezTo>
                    <a:lnTo>
                      <a:pt x="0" y="0"/>
                    </a:lnTo>
                    <a:cubicBezTo>
                      <a:pt x="0" y="0"/>
                      <a:pt x="16990" y="0"/>
                      <a:pt x="37948" y="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0" name="任意形状 209"/>
              <p:cNvSpPr/>
              <p:nvPr/>
            </p:nvSpPr>
            <p:spPr>
              <a:xfrm>
                <a:off x="800224" y="294384"/>
                <a:ext cx="253098" cy="142303"/>
              </a:xfrm>
              <a:custGeom>
                <a:avLst/>
                <a:gdLst>
                  <a:gd name="connsiteX0" fmla="*/ 215151 w 253098"/>
                  <a:gd name="connsiteY0" fmla="*/ 0 h 142303"/>
                  <a:gd name="connsiteX1" fmla="*/ 253098 w 253098"/>
                  <a:gd name="connsiteY1" fmla="*/ 0 h 142303"/>
                  <a:gd name="connsiteX2" fmla="*/ 253098 w 253098"/>
                  <a:gd name="connsiteY2" fmla="*/ 142303 h 142303"/>
                  <a:gd name="connsiteX3" fmla="*/ 215151 w 253098"/>
                  <a:gd name="connsiteY3" fmla="*/ 142303 h 142303"/>
                  <a:gd name="connsiteX4" fmla="*/ 37948 w 253098"/>
                  <a:gd name="connsiteY4" fmla="*/ 142303 h 142303"/>
                  <a:gd name="connsiteX5" fmla="*/ 0 w 253098"/>
                  <a:gd name="connsiteY5" fmla="*/ 142303 h 142303"/>
                  <a:gd name="connsiteX6" fmla="*/ 0 w 253098"/>
                  <a:gd name="connsiteY6" fmla="*/ 0 h 142303"/>
                  <a:gd name="connsiteX7" fmla="*/ 37948 w 253098"/>
                  <a:gd name="connsiteY7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098" h="142303">
                    <a:moveTo>
                      <a:pt x="215151" y="0"/>
                    </a:moveTo>
                    <a:cubicBezTo>
                      <a:pt x="236109" y="0"/>
                      <a:pt x="253098" y="0"/>
                      <a:pt x="253098" y="0"/>
                    </a:cubicBezTo>
                    <a:lnTo>
                      <a:pt x="253098" y="142303"/>
                    </a:lnTo>
                    <a:cubicBezTo>
                      <a:pt x="253098" y="142303"/>
                      <a:pt x="236109" y="142303"/>
                      <a:pt x="215151" y="142303"/>
                    </a:cubicBezTo>
                    <a:lnTo>
                      <a:pt x="37948" y="142303"/>
                    </a:lnTo>
                    <a:cubicBezTo>
                      <a:pt x="16990" y="142303"/>
                      <a:pt x="0" y="142303"/>
                      <a:pt x="0" y="142303"/>
                    </a:cubicBezTo>
                    <a:lnTo>
                      <a:pt x="0" y="0"/>
                    </a:lnTo>
                    <a:cubicBezTo>
                      <a:pt x="0" y="0"/>
                      <a:pt x="16990" y="0"/>
                      <a:pt x="37948" y="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1" name="任意形状 210"/>
              <p:cNvSpPr/>
              <p:nvPr/>
            </p:nvSpPr>
            <p:spPr>
              <a:xfrm>
                <a:off x="1163812" y="99274"/>
                <a:ext cx="253098" cy="172059"/>
              </a:xfrm>
              <a:custGeom>
                <a:avLst/>
                <a:gdLst>
                  <a:gd name="connsiteX0" fmla="*/ 253098 w 253098"/>
                  <a:gd name="connsiteY0" fmla="*/ 86030 h 172059"/>
                  <a:gd name="connsiteX1" fmla="*/ 167068 w 253098"/>
                  <a:gd name="connsiteY1" fmla="*/ 172060 h 172059"/>
                  <a:gd name="connsiteX2" fmla="*/ 24955 w 253098"/>
                  <a:gd name="connsiteY2" fmla="*/ 172060 h 172059"/>
                  <a:gd name="connsiteX3" fmla="*/ 0 w 253098"/>
                  <a:gd name="connsiteY3" fmla="*/ 147104 h 172059"/>
                  <a:gd name="connsiteX4" fmla="*/ 0 w 253098"/>
                  <a:gd name="connsiteY4" fmla="*/ 24955 h 172059"/>
                  <a:gd name="connsiteX5" fmla="*/ 24955 w 253098"/>
                  <a:gd name="connsiteY5" fmla="*/ 0 h 172059"/>
                  <a:gd name="connsiteX6" fmla="*/ 167030 w 253098"/>
                  <a:gd name="connsiteY6" fmla="*/ 0 h 172059"/>
                  <a:gd name="connsiteX7" fmla="*/ 253098 w 253098"/>
                  <a:gd name="connsiteY7" fmla="*/ 85992 h 172059"/>
                  <a:gd name="connsiteX8" fmla="*/ 253098 w 253098"/>
                  <a:gd name="connsiteY8" fmla="*/ 86030 h 17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3098" h="172059">
                    <a:moveTo>
                      <a:pt x="253098" y="86030"/>
                    </a:moveTo>
                    <a:cubicBezTo>
                      <a:pt x="253098" y="133544"/>
                      <a:pt x="214583" y="172060"/>
                      <a:pt x="167068" y="172060"/>
                    </a:cubicBezTo>
                    <a:lnTo>
                      <a:pt x="24955" y="172060"/>
                    </a:lnTo>
                    <a:cubicBezTo>
                      <a:pt x="11175" y="172060"/>
                      <a:pt x="0" y="160885"/>
                      <a:pt x="0" y="147104"/>
                    </a:cubicBezTo>
                    <a:lnTo>
                      <a:pt x="0" y="24955"/>
                    </a:lnTo>
                    <a:cubicBezTo>
                      <a:pt x="0" y="11175"/>
                      <a:pt x="11175" y="0"/>
                      <a:pt x="24955" y="0"/>
                    </a:cubicBezTo>
                    <a:lnTo>
                      <a:pt x="167030" y="0"/>
                    </a:lnTo>
                    <a:cubicBezTo>
                      <a:pt x="214545" y="-23"/>
                      <a:pt x="253075" y="38477"/>
                      <a:pt x="253098" y="85992"/>
                    </a:cubicBezTo>
                    <a:cubicBezTo>
                      <a:pt x="253098" y="86003"/>
                      <a:pt x="253098" y="86018"/>
                      <a:pt x="253098" y="8603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2" name="任意形状 211"/>
              <p:cNvSpPr/>
              <p:nvPr/>
            </p:nvSpPr>
            <p:spPr>
              <a:xfrm>
                <a:off x="800224" y="665745"/>
                <a:ext cx="253098" cy="142303"/>
              </a:xfrm>
              <a:custGeom>
                <a:avLst/>
                <a:gdLst>
                  <a:gd name="connsiteX0" fmla="*/ 215151 w 253098"/>
                  <a:gd name="connsiteY0" fmla="*/ 0 h 142303"/>
                  <a:gd name="connsiteX1" fmla="*/ 253098 w 253098"/>
                  <a:gd name="connsiteY1" fmla="*/ 0 h 142303"/>
                  <a:gd name="connsiteX2" fmla="*/ 253098 w 253098"/>
                  <a:gd name="connsiteY2" fmla="*/ 142304 h 142303"/>
                  <a:gd name="connsiteX3" fmla="*/ 215151 w 253098"/>
                  <a:gd name="connsiteY3" fmla="*/ 142304 h 142303"/>
                  <a:gd name="connsiteX4" fmla="*/ 37948 w 253098"/>
                  <a:gd name="connsiteY4" fmla="*/ 142304 h 142303"/>
                  <a:gd name="connsiteX5" fmla="*/ 0 w 253098"/>
                  <a:gd name="connsiteY5" fmla="*/ 142304 h 142303"/>
                  <a:gd name="connsiteX6" fmla="*/ 0 w 253098"/>
                  <a:gd name="connsiteY6" fmla="*/ 0 h 142303"/>
                  <a:gd name="connsiteX7" fmla="*/ 37948 w 253098"/>
                  <a:gd name="connsiteY7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098" h="142303">
                    <a:moveTo>
                      <a:pt x="215151" y="0"/>
                    </a:moveTo>
                    <a:cubicBezTo>
                      <a:pt x="236109" y="0"/>
                      <a:pt x="253098" y="0"/>
                      <a:pt x="253098" y="0"/>
                    </a:cubicBezTo>
                    <a:lnTo>
                      <a:pt x="253098" y="142304"/>
                    </a:lnTo>
                    <a:cubicBezTo>
                      <a:pt x="253098" y="142304"/>
                      <a:pt x="236109" y="142304"/>
                      <a:pt x="215151" y="142304"/>
                    </a:cubicBezTo>
                    <a:lnTo>
                      <a:pt x="37948" y="142304"/>
                    </a:lnTo>
                    <a:cubicBezTo>
                      <a:pt x="16990" y="142304"/>
                      <a:pt x="0" y="142304"/>
                      <a:pt x="0" y="142304"/>
                    </a:cubicBezTo>
                    <a:lnTo>
                      <a:pt x="0" y="0"/>
                    </a:lnTo>
                    <a:cubicBezTo>
                      <a:pt x="0" y="0"/>
                      <a:pt x="16990" y="0"/>
                      <a:pt x="37948" y="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3" name="任意形状 212"/>
              <p:cNvSpPr/>
              <p:nvPr/>
            </p:nvSpPr>
            <p:spPr>
              <a:xfrm>
                <a:off x="800224" y="988299"/>
                <a:ext cx="253098" cy="142303"/>
              </a:xfrm>
              <a:custGeom>
                <a:avLst/>
                <a:gdLst>
                  <a:gd name="connsiteX0" fmla="*/ 215151 w 253098"/>
                  <a:gd name="connsiteY0" fmla="*/ 0 h 142303"/>
                  <a:gd name="connsiteX1" fmla="*/ 253098 w 253098"/>
                  <a:gd name="connsiteY1" fmla="*/ 0 h 142303"/>
                  <a:gd name="connsiteX2" fmla="*/ 253098 w 253098"/>
                  <a:gd name="connsiteY2" fmla="*/ 142304 h 142303"/>
                  <a:gd name="connsiteX3" fmla="*/ 215151 w 253098"/>
                  <a:gd name="connsiteY3" fmla="*/ 142304 h 142303"/>
                  <a:gd name="connsiteX4" fmla="*/ 37948 w 253098"/>
                  <a:gd name="connsiteY4" fmla="*/ 142304 h 142303"/>
                  <a:gd name="connsiteX5" fmla="*/ 0 w 253098"/>
                  <a:gd name="connsiteY5" fmla="*/ 142304 h 142303"/>
                  <a:gd name="connsiteX6" fmla="*/ 0 w 253098"/>
                  <a:gd name="connsiteY6" fmla="*/ 0 h 142303"/>
                  <a:gd name="connsiteX7" fmla="*/ 37948 w 253098"/>
                  <a:gd name="connsiteY7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098" h="142303">
                    <a:moveTo>
                      <a:pt x="215151" y="0"/>
                    </a:moveTo>
                    <a:cubicBezTo>
                      <a:pt x="236109" y="0"/>
                      <a:pt x="253098" y="0"/>
                      <a:pt x="253098" y="0"/>
                    </a:cubicBezTo>
                    <a:lnTo>
                      <a:pt x="253098" y="142304"/>
                    </a:lnTo>
                    <a:cubicBezTo>
                      <a:pt x="253098" y="142304"/>
                      <a:pt x="236109" y="142304"/>
                      <a:pt x="215151" y="142304"/>
                    </a:cubicBezTo>
                    <a:lnTo>
                      <a:pt x="37948" y="142304"/>
                    </a:lnTo>
                    <a:cubicBezTo>
                      <a:pt x="16990" y="142304"/>
                      <a:pt x="0" y="142304"/>
                      <a:pt x="0" y="142304"/>
                    </a:cubicBezTo>
                    <a:lnTo>
                      <a:pt x="0" y="0"/>
                    </a:lnTo>
                    <a:cubicBezTo>
                      <a:pt x="0" y="0"/>
                      <a:pt x="16990" y="0"/>
                      <a:pt x="37948" y="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4" name="任意形状 213"/>
              <p:cNvSpPr/>
              <p:nvPr/>
            </p:nvSpPr>
            <p:spPr>
              <a:xfrm>
                <a:off x="1163812" y="793151"/>
                <a:ext cx="253098" cy="172059"/>
              </a:xfrm>
              <a:custGeom>
                <a:avLst/>
                <a:gdLst>
                  <a:gd name="connsiteX0" fmla="*/ 253098 w 253098"/>
                  <a:gd name="connsiteY0" fmla="*/ 86030 h 172059"/>
                  <a:gd name="connsiteX1" fmla="*/ 167068 w 253098"/>
                  <a:gd name="connsiteY1" fmla="*/ 172060 h 172059"/>
                  <a:gd name="connsiteX2" fmla="*/ 24955 w 253098"/>
                  <a:gd name="connsiteY2" fmla="*/ 172060 h 172059"/>
                  <a:gd name="connsiteX3" fmla="*/ 0 w 253098"/>
                  <a:gd name="connsiteY3" fmla="*/ 147104 h 172059"/>
                  <a:gd name="connsiteX4" fmla="*/ 0 w 253098"/>
                  <a:gd name="connsiteY4" fmla="*/ 24955 h 172059"/>
                  <a:gd name="connsiteX5" fmla="*/ 24955 w 253098"/>
                  <a:gd name="connsiteY5" fmla="*/ 0 h 172059"/>
                  <a:gd name="connsiteX6" fmla="*/ 167030 w 253098"/>
                  <a:gd name="connsiteY6" fmla="*/ 0 h 172059"/>
                  <a:gd name="connsiteX7" fmla="*/ 253098 w 253098"/>
                  <a:gd name="connsiteY7" fmla="*/ 85992 h 172059"/>
                  <a:gd name="connsiteX8" fmla="*/ 253098 w 253098"/>
                  <a:gd name="connsiteY8" fmla="*/ 86030 h 17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3098" h="172059">
                    <a:moveTo>
                      <a:pt x="253098" y="86030"/>
                    </a:moveTo>
                    <a:cubicBezTo>
                      <a:pt x="253098" y="133544"/>
                      <a:pt x="214583" y="172060"/>
                      <a:pt x="167068" y="172060"/>
                    </a:cubicBezTo>
                    <a:lnTo>
                      <a:pt x="24955" y="172060"/>
                    </a:lnTo>
                    <a:cubicBezTo>
                      <a:pt x="11175" y="172060"/>
                      <a:pt x="0" y="160885"/>
                      <a:pt x="0" y="147104"/>
                    </a:cubicBezTo>
                    <a:lnTo>
                      <a:pt x="0" y="24955"/>
                    </a:lnTo>
                    <a:cubicBezTo>
                      <a:pt x="0" y="11171"/>
                      <a:pt x="11175" y="0"/>
                      <a:pt x="24955" y="0"/>
                    </a:cubicBezTo>
                    <a:lnTo>
                      <a:pt x="167030" y="0"/>
                    </a:lnTo>
                    <a:cubicBezTo>
                      <a:pt x="214545" y="-23"/>
                      <a:pt x="253075" y="38477"/>
                      <a:pt x="253098" y="85992"/>
                    </a:cubicBezTo>
                    <a:cubicBezTo>
                      <a:pt x="253098" y="86003"/>
                      <a:pt x="253098" y="86019"/>
                      <a:pt x="253098" y="8603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5" name="任意形状 214"/>
              <p:cNvSpPr/>
              <p:nvPr/>
            </p:nvSpPr>
            <p:spPr>
              <a:xfrm>
                <a:off x="800224" y="1359622"/>
                <a:ext cx="253098" cy="142303"/>
              </a:xfrm>
              <a:custGeom>
                <a:avLst/>
                <a:gdLst>
                  <a:gd name="connsiteX0" fmla="*/ 215151 w 253098"/>
                  <a:gd name="connsiteY0" fmla="*/ 0 h 142303"/>
                  <a:gd name="connsiteX1" fmla="*/ 253098 w 253098"/>
                  <a:gd name="connsiteY1" fmla="*/ 0 h 142303"/>
                  <a:gd name="connsiteX2" fmla="*/ 253098 w 253098"/>
                  <a:gd name="connsiteY2" fmla="*/ 142304 h 142303"/>
                  <a:gd name="connsiteX3" fmla="*/ 215151 w 253098"/>
                  <a:gd name="connsiteY3" fmla="*/ 142304 h 142303"/>
                  <a:gd name="connsiteX4" fmla="*/ 37948 w 253098"/>
                  <a:gd name="connsiteY4" fmla="*/ 142304 h 142303"/>
                  <a:gd name="connsiteX5" fmla="*/ 0 w 253098"/>
                  <a:gd name="connsiteY5" fmla="*/ 142304 h 142303"/>
                  <a:gd name="connsiteX6" fmla="*/ 0 w 253098"/>
                  <a:gd name="connsiteY6" fmla="*/ 0 h 142303"/>
                  <a:gd name="connsiteX7" fmla="*/ 37948 w 253098"/>
                  <a:gd name="connsiteY7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098" h="142303">
                    <a:moveTo>
                      <a:pt x="215151" y="0"/>
                    </a:moveTo>
                    <a:cubicBezTo>
                      <a:pt x="236109" y="0"/>
                      <a:pt x="253098" y="0"/>
                      <a:pt x="253098" y="0"/>
                    </a:cubicBezTo>
                    <a:lnTo>
                      <a:pt x="253098" y="142304"/>
                    </a:lnTo>
                    <a:cubicBezTo>
                      <a:pt x="253098" y="142304"/>
                      <a:pt x="236109" y="142304"/>
                      <a:pt x="215151" y="142304"/>
                    </a:cubicBezTo>
                    <a:lnTo>
                      <a:pt x="37948" y="142304"/>
                    </a:lnTo>
                    <a:cubicBezTo>
                      <a:pt x="16990" y="142304"/>
                      <a:pt x="0" y="142304"/>
                      <a:pt x="0" y="142304"/>
                    </a:cubicBezTo>
                    <a:lnTo>
                      <a:pt x="0" y="0"/>
                    </a:lnTo>
                    <a:cubicBezTo>
                      <a:pt x="0" y="0"/>
                      <a:pt x="16990" y="0"/>
                      <a:pt x="37948" y="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6" name="任意形状 215"/>
              <p:cNvSpPr/>
              <p:nvPr/>
            </p:nvSpPr>
            <p:spPr>
              <a:xfrm>
                <a:off x="800224" y="1682177"/>
                <a:ext cx="253098" cy="142303"/>
              </a:xfrm>
              <a:custGeom>
                <a:avLst/>
                <a:gdLst>
                  <a:gd name="connsiteX0" fmla="*/ 215151 w 253098"/>
                  <a:gd name="connsiteY0" fmla="*/ 0 h 142303"/>
                  <a:gd name="connsiteX1" fmla="*/ 253098 w 253098"/>
                  <a:gd name="connsiteY1" fmla="*/ 0 h 142303"/>
                  <a:gd name="connsiteX2" fmla="*/ 253098 w 253098"/>
                  <a:gd name="connsiteY2" fmla="*/ 142303 h 142303"/>
                  <a:gd name="connsiteX3" fmla="*/ 215151 w 253098"/>
                  <a:gd name="connsiteY3" fmla="*/ 142303 h 142303"/>
                  <a:gd name="connsiteX4" fmla="*/ 37948 w 253098"/>
                  <a:gd name="connsiteY4" fmla="*/ 142303 h 142303"/>
                  <a:gd name="connsiteX5" fmla="*/ 0 w 253098"/>
                  <a:gd name="connsiteY5" fmla="*/ 142303 h 142303"/>
                  <a:gd name="connsiteX6" fmla="*/ 0 w 253098"/>
                  <a:gd name="connsiteY6" fmla="*/ 0 h 142303"/>
                  <a:gd name="connsiteX7" fmla="*/ 37948 w 253098"/>
                  <a:gd name="connsiteY7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098" h="142303">
                    <a:moveTo>
                      <a:pt x="215151" y="0"/>
                    </a:moveTo>
                    <a:cubicBezTo>
                      <a:pt x="236109" y="0"/>
                      <a:pt x="253098" y="0"/>
                      <a:pt x="253098" y="0"/>
                    </a:cubicBezTo>
                    <a:lnTo>
                      <a:pt x="253098" y="142303"/>
                    </a:lnTo>
                    <a:cubicBezTo>
                      <a:pt x="253098" y="142303"/>
                      <a:pt x="236109" y="142303"/>
                      <a:pt x="215151" y="142303"/>
                    </a:cubicBezTo>
                    <a:lnTo>
                      <a:pt x="37948" y="142303"/>
                    </a:lnTo>
                    <a:cubicBezTo>
                      <a:pt x="16990" y="142303"/>
                      <a:pt x="0" y="142303"/>
                      <a:pt x="0" y="142303"/>
                    </a:cubicBezTo>
                    <a:lnTo>
                      <a:pt x="0" y="0"/>
                    </a:lnTo>
                    <a:cubicBezTo>
                      <a:pt x="0" y="0"/>
                      <a:pt x="16990" y="0"/>
                      <a:pt x="37948" y="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7" name="任意形状 216"/>
              <p:cNvSpPr/>
              <p:nvPr/>
            </p:nvSpPr>
            <p:spPr>
              <a:xfrm>
                <a:off x="1163812" y="1487028"/>
                <a:ext cx="253098" cy="172211"/>
              </a:xfrm>
              <a:custGeom>
                <a:avLst/>
                <a:gdLst>
                  <a:gd name="connsiteX0" fmla="*/ 253098 w 253098"/>
                  <a:gd name="connsiteY0" fmla="*/ 86182 h 172211"/>
                  <a:gd name="connsiteX1" fmla="*/ 167068 w 253098"/>
                  <a:gd name="connsiteY1" fmla="*/ 172212 h 172211"/>
                  <a:gd name="connsiteX2" fmla="*/ 24955 w 253098"/>
                  <a:gd name="connsiteY2" fmla="*/ 172212 h 172211"/>
                  <a:gd name="connsiteX3" fmla="*/ 0 w 253098"/>
                  <a:gd name="connsiteY3" fmla="*/ 147256 h 172211"/>
                  <a:gd name="connsiteX4" fmla="*/ 0 w 253098"/>
                  <a:gd name="connsiteY4" fmla="*/ 24955 h 172211"/>
                  <a:gd name="connsiteX5" fmla="*/ 24955 w 253098"/>
                  <a:gd name="connsiteY5" fmla="*/ 0 h 172211"/>
                  <a:gd name="connsiteX6" fmla="*/ 167030 w 253098"/>
                  <a:gd name="connsiteY6" fmla="*/ 0 h 172211"/>
                  <a:gd name="connsiteX7" fmla="*/ 253098 w 253098"/>
                  <a:gd name="connsiteY7" fmla="*/ 85992 h 172211"/>
                  <a:gd name="connsiteX8" fmla="*/ 253098 w 253098"/>
                  <a:gd name="connsiteY8" fmla="*/ 86182 h 172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3098" h="172211">
                    <a:moveTo>
                      <a:pt x="253098" y="86182"/>
                    </a:moveTo>
                    <a:cubicBezTo>
                      <a:pt x="253098" y="133697"/>
                      <a:pt x="214583" y="172212"/>
                      <a:pt x="167068" y="172212"/>
                    </a:cubicBezTo>
                    <a:lnTo>
                      <a:pt x="24955" y="172212"/>
                    </a:lnTo>
                    <a:cubicBezTo>
                      <a:pt x="11175" y="172212"/>
                      <a:pt x="0" y="161037"/>
                      <a:pt x="0" y="147256"/>
                    </a:cubicBezTo>
                    <a:lnTo>
                      <a:pt x="0" y="24955"/>
                    </a:lnTo>
                    <a:cubicBezTo>
                      <a:pt x="0" y="11175"/>
                      <a:pt x="11175" y="0"/>
                      <a:pt x="24955" y="0"/>
                    </a:cubicBezTo>
                    <a:lnTo>
                      <a:pt x="167030" y="0"/>
                    </a:lnTo>
                    <a:cubicBezTo>
                      <a:pt x="214545" y="-23"/>
                      <a:pt x="253075" y="38477"/>
                      <a:pt x="253098" y="85992"/>
                    </a:cubicBezTo>
                    <a:cubicBezTo>
                      <a:pt x="253098" y="86056"/>
                      <a:pt x="253098" y="86117"/>
                      <a:pt x="253098" y="86182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07" name="任意形状 206"/>
            <p:cNvSpPr/>
            <p:nvPr/>
          </p:nvSpPr>
          <p:spPr>
            <a:xfrm>
              <a:off x="2357561" y="42848"/>
              <a:ext cx="572376" cy="544296"/>
            </a:xfrm>
            <a:custGeom>
              <a:avLst/>
              <a:gdLst>
                <a:gd name="connsiteX0" fmla="*/ 572376 w 572376"/>
                <a:gd name="connsiteY0" fmla="*/ 38100 h 544296"/>
                <a:gd name="connsiteX1" fmla="*/ 572376 w 572376"/>
                <a:gd name="connsiteY1" fmla="*/ 316611 h 544296"/>
                <a:gd name="connsiteX2" fmla="*/ 344691 w 572376"/>
                <a:gd name="connsiteY2" fmla="*/ 544297 h 544296"/>
                <a:gd name="connsiteX3" fmla="*/ 227838 w 572376"/>
                <a:gd name="connsiteY3" fmla="*/ 544297 h 544296"/>
                <a:gd name="connsiteX4" fmla="*/ 0 w 572376"/>
                <a:gd name="connsiteY4" fmla="*/ 316763 h 544296"/>
                <a:gd name="connsiteX5" fmla="*/ 0 w 572376"/>
                <a:gd name="connsiteY5" fmla="*/ 316611 h 544296"/>
                <a:gd name="connsiteX6" fmla="*/ 0 w 572376"/>
                <a:gd name="connsiteY6" fmla="*/ 38100 h 544296"/>
                <a:gd name="connsiteX7" fmla="*/ 38100 w 572376"/>
                <a:gd name="connsiteY7" fmla="*/ 0 h 544296"/>
                <a:gd name="connsiteX8" fmla="*/ 534429 w 572376"/>
                <a:gd name="connsiteY8" fmla="*/ 0 h 544296"/>
                <a:gd name="connsiteX9" fmla="*/ 572376 w 572376"/>
                <a:gd name="connsiteY9" fmla="*/ 38100 h 5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2376" h="544296">
                  <a:moveTo>
                    <a:pt x="572376" y="38100"/>
                  </a:moveTo>
                  <a:lnTo>
                    <a:pt x="572376" y="316611"/>
                  </a:lnTo>
                  <a:cubicBezTo>
                    <a:pt x="572376" y="442360"/>
                    <a:pt x="470440" y="544297"/>
                    <a:pt x="344691" y="544297"/>
                  </a:cubicBezTo>
                  <a:lnTo>
                    <a:pt x="227838" y="544297"/>
                  </a:lnTo>
                  <a:cubicBezTo>
                    <a:pt x="102089" y="544380"/>
                    <a:pt x="84" y="442512"/>
                    <a:pt x="0" y="316763"/>
                  </a:cubicBezTo>
                  <a:cubicBezTo>
                    <a:pt x="0" y="316714"/>
                    <a:pt x="0" y="316660"/>
                    <a:pt x="0" y="316611"/>
                  </a:cubicBezTo>
                  <a:lnTo>
                    <a:pt x="0" y="38100"/>
                  </a:lnTo>
                  <a:cubicBezTo>
                    <a:pt x="0" y="17057"/>
                    <a:pt x="17057" y="0"/>
                    <a:pt x="38100" y="0"/>
                  </a:cubicBezTo>
                  <a:lnTo>
                    <a:pt x="534429" y="0"/>
                  </a:lnTo>
                  <a:cubicBezTo>
                    <a:pt x="555410" y="84"/>
                    <a:pt x="572376" y="17118"/>
                    <a:pt x="572376" y="38100"/>
                  </a:cubicBezTo>
                  <a:close/>
                </a:path>
              </a:pathLst>
            </a:custGeom>
            <a:solidFill>
              <a:srgbClr val="2CBFA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08" name="任意形状 207"/>
            <p:cNvSpPr/>
            <p:nvPr/>
          </p:nvSpPr>
          <p:spPr>
            <a:xfrm>
              <a:off x="2566616" y="207745"/>
              <a:ext cx="154457" cy="208711"/>
            </a:xfrm>
            <a:custGeom>
              <a:avLst/>
              <a:gdLst>
                <a:gd name="connsiteX0" fmla="*/ 154457 w 154457"/>
                <a:gd name="connsiteY0" fmla="*/ 104356 h 208711"/>
                <a:gd name="connsiteX1" fmla="*/ 77038 w 154457"/>
                <a:gd name="connsiteY1" fmla="*/ 208712 h 208711"/>
                <a:gd name="connsiteX2" fmla="*/ 0 w 154457"/>
                <a:gd name="connsiteY2" fmla="*/ 104356 h 208711"/>
                <a:gd name="connsiteX3" fmla="*/ 77038 w 154457"/>
                <a:gd name="connsiteY3" fmla="*/ 0 h 208711"/>
                <a:gd name="connsiteX4" fmla="*/ 154457 w 154457"/>
                <a:gd name="connsiteY4" fmla="*/ 104356 h 208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457" h="208711">
                  <a:moveTo>
                    <a:pt x="154457" y="104356"/>
                  </a:moveTo>
                  <a:cubicBezTo>
                    <a:pt x="154457" y="162039"/>
                    <a:pt x="119939" y="208712"/>
                    <a:pt x="77038" y="208712"/>
                  </a:cubicBezTo>
                  <a:cubicBezTo>
                    <a:pt x="34138" y="208712"/>
                    <a:pt x="0" y="162039"/>
                    <a:pt x="0" y="104356"/>
                  </a:cubicBezTo>
                  <a:cubicBezTo>
                    <a:pt x="0" y="46672"/>
                    <a:pt x="34519" y="0"/>
                    <a:pt x="77038" y="0"/>
                  </a:cubicBezTo>
                  <a:cubicBezTo>
                    <a:pt x="119558" y="0"/>
                    <a:pt x="154457" y="46634"/>
                    <a:pt x="154457" y="104356"/>
                  </a:cubicBezTo>
                  <a:close/>
                </a:path>
              </a:pathLst>
            </a:custGeom>
            <a:solidFill>
              <a:srgbClr val="16A897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18" name="图形 195"/>
          <p:cNvGrpSpPr>
            <a:grpSpLocks noChangeAspect="1"/>
          </p:cNvGrpSpPr>
          <p:nvPr/>
        </p:nvGrpSpPr>
        <p:grpSpPr>
          <a:xfrm>
            <a:off x="907239" y="2628921"/>
            <a:ext cx="720000" cy="720000"/>
            <a:chOff x="-2668991" y="1195860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19" name="任意形状 218"/>
            <p:cNvSpPr/>
            <p:nvPr/>
          </p:nvSpPr>
          <p:spPr>
            <a:xfrm>
              <a:off x="-418881" y="3141779"/>
              <a:ext cx="376580" cy="1843735"/>
            </a:xfrm>
            <a:custGeom>
              <a:avLst/>
              <a:gdLst>
                <a:gd name="connsiteX0" fmla="*/ 291579 w 376580"/>
                <a:gd name="connsiteY0" fmla="*/ 0 h 1843735"/>
                <a:gd name="connsiteX1" fmla="*/ 376581 w 376580"/>
                <a:gd name="connsiteY1" fmla="*/ 1843735 h 1843735"/>
                <a:gd name="connsiteX2" fmla="*/ 0 w 376580"/>
                <a:gd name="connsiteY2" fmla="*/ 1843735 h 1843735"/>
                <a:gd name="connsiteX3" fmla="*/ 85001 w 376580"/>
                <a:gd name="connsiteY3" fmla="*/ 0 h 184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6580" h="1843735">
                  <a:moveTo>
                    <a:pt x="291579" y="0"/>
                  </a:moveTo>
                  <a:lnTo>
                    <a:pt x="376581" y="1843735"/>
                  </a:lnTo>
                  <a:lnTo>
                    <a:pt x="0" y="1843735"/>
                  </a:lnTo>
                  <a:lnTo>
                    <a:pt x="85001" y="0"/>
                  </a:ln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20" name="任意形状 219"/>
            <p:cNvSpPr/>
            <p:nvPr/>
          </p:nvSpPr>
          <p:spPr>
            <a:xfrm>
              <a:off x="-711998" y="2241164"/>
              <a:ext cx="955592" cy="867963"/>
            </a:xfrm>
            <a:custGeom>
              <a:avLst/>
              <a:gdLst>
                <a:gd name="connsiteX0" fmla="*/ 525833 w 955592"/>
                <a:gd name="connsiteY0" fmla="*/ 740519 h 867963"/>
                <a:gd name="connsiteX1" fmla="*/ 819812 w 955592"/>
                <a:gd name="connsiteY1" fmla="*/ 417202 h 867963"/>
                <a:gd name="connsiteX2" fmla="*/ 917196 w 955592"/>
                <a:gd name="connsiteY2" fmla="*/ 168904 h 867963"/>
                <a:gd name="connsiteX3" fmla="*/ 758852 w 955592"/>
                <a:gd name="connsiteY3" fmla="*/ 51061 h 867963"/>
                <a:gd name="connsiteX4" fmla="*/ 88597 w 955592"/>
                <a:gd name="connsiteY4" fmla="*/ 148597 h 867963"/>
                <a:gd name="connsiteX5" fmla="*/ 428716 w 955592"/>
                <a:gd name="connsiteY5" fmla="*/ 867963 h 86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5592" h="867963">
                  <a:moveTo>
                    <a:pt x="525833" y="740519"/>
                  </a:moveTo>
                  <a:cubicBezTo>
                    <a:pt x="525833" y="740519"/>
                    <a:pt x="526328" y="533255"/>
                    <a:pt x="819812" y="417202"/>
                  </a:cubicBezTo>
                  <a:cubicBezTo>
                    <a:pt x="995872" y="347555"/>
                    <a:pt x="967831" y="241942"/>
                    <a:pt x="917196" y="168904"/>
                  </a:cubicBezTo>
                  <a:cubicBezTo>
                    <a:pt x="877926" y="114143"/>
                    <a:pt x="822586" y="72957"/>
                    <a:pt x="758852" y="51061"/>
                  </a:cubicBezTo>
                  <a:cubicBezTo>
                    <a:pt x="619330" y="502"/>
                    <a:pt x="325503" y="-66135"/>
                    <a:pt x="88597" y="148597"/>
                  </a:cubicBezTo>
                  <a:cubicBezTo>
                    <a:pt x="-234148" y="440976"/>
                    <a:pt x="428716" y="867963"/>
                    <a:pt x="428716" y="867963"/>
                  </a:cubicBezTo>
                  <a:close/>
                </a:path>
              </a:pathLst>
            </a:custGeom>
            <a:solidFill>
              <a:srgbClr val="F6C86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21" name="任意形状 220"/>
            <p:cNvSpPr/>
            <p:nvPr/>
          </p:nvSpPr>
          <p:spPr>
            <a:xfrm>
              <a:off x="-1062315" y="2994163"/>
              <a:ext cx="876073" cy="830253"/>
            </a:xfrm>
            <a:custGeom>
              <a:avLst/>
              <a:gdLst>
                <a:gd name="connsiteX0" fmla="*/ 716549 w 876073"/>
                <a:gd name="connsiteY0" fmla="*/ 133557 h 830253"/>
                <a:gd name="connsiteX1" fmla="*/ 286590 w 876073"/>
                <a:gd name="connsiteY1" fmla="*/ 55604 h 830253"/>
                <a:gd name="connsiteX2" fmla="*/ 24386 w 876073"/>
                <a:gd name="connsiteY2" fmla="*/ 104601 h 830253"/>
                <a:gd name="connsiteX3" fmla="*/ 8384 w 876073"/>
                <a:gd name="connsiteY3" fmla="*/ 301349 h 830253"/>
                <a:gd name="connsiteX4" fmla="*/ 446267 w 876073"/>
                <a:gd name="connsiteY4" fmla="*/ 818061 h 830253"/>
                <a:gd name="connsiteX5" fmla="*/ 876073 w 876073"/>
                <a:gd name="connsiteY5" fmla="*/ 148416 h 83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6073" h="830253">
                  <a:moveTo>
                    <a:pt x="716549" y="133557"/>
                  </a:moveTo>
                  <a:cubicBezTo>
                    <a:pt x="716549" y="133557"/>
                    <a:pt x="540526" y="242942"/>
                    <a:pt x="286590" y="55604"/>
                  </a:cubicBezTo>
                  <a:cubicBezTo>
                    <a:pt x="134190" y="-56829"/>
                    <a:pt x="59666" y="22876"/>
                    <a:pt x="24386" y="104601"/>
                  </a:cubicBezTo>
                  <a:cubicBezTo>
                    <a:pt x="-1240" y="166933"/>
                    <a:pt x="-6833" y="235695"/>
                    <a:pt x="8384" y="301349"/>
                  </a:cubicBezTo>
                  <a:cubicBezTo>
                    <a:pt x="39435" y="446472"/>
                    <a:pt x="138724" y="730851"/>
                    <a:pt x="446267" y="818061"/>
                  </a:cubicBezTo>
                  <a:cubicBezTo>
                    <a:pt x="865367" y="936857"/>
                    <a:pt x="876073" y="148416"/>
                    <a:pt x="876073" y="148416"/>
                  </a:cubicBezTo>
                  <a:close/>
                </a:path>
              </a:pathLst>
            </a:custGeom>
            <a:solidFill>
              <a:srgbClr val="F6C86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22" name="任意形状 221"/>
            <p:cNvSpPr/>
            <p:nvPr/>
          </p:nvSpPr>
          <p:spPr>
            <a:xfrm>
              <a:off x="-207273" y="2882604"/>
              <a:ext cx="812744" cy="922150"/>
            </a:xfrm>
            <a:custGeom>
              <a:avLst/>
              <a:gdLst>
                <a:gd name="connsiteX0" fmla="*/ 66865 w 812744"/>
                <a:gd name="connsiteY0" fmla="*/ 306114 h 922150"/>
                <a:gd name="connsiteX1" fmla="*/ 214313 w 812744"/>
                <a:gd name="connsiteY1" fmla="*/ 717594 h 922150"/>
                <a:gd name="connsiteX2" fmla="*/ 387820 w 812744"/>
                <a:gd name="connsiteY2" fmla="*/ 920171 h 922150"/>
                <a:gd name="connsiteX3" fmla="*/ 566242 w 812744"/>
                <a:gd name="connsiteY3" fmla="*/ 835475 h 922150"/>
                <a:gd name="connsiteX4" fmla="*/ 794842 w 812744"/>
                <a:gd name="connsiteY4" fmla="*/ 197872 h 922150"/>
                <a:gd name="connsiteX5" fmla="*/ 0 w 812744"/>
                <a:gd name="connsiteY5" fmla="*/ 160458 h 92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2744" h="922150">
                  <a:moveTo>
                    <a:pt x="66865" y="306114"/>
                  </a:moveTo>
                  <a:cubicBezTo>
                    <a:pt x="66865" y="306114"/>
                    <a:pt x="249746" y="403878"/>
                    <a:pt x="214313" y="717594"/>
                  </a:cubicBezTo>
                  <a:cubicBezTo>
                    <a:pt x="193129" y="905732"/>
                    <a:pt x="299428" y="930497"/>
                    <a:pt x="387820" y="920171"/>
                  </a:cubicBezTo>
                  <a:cubicBezTo>
                    <a:pt x="454647" y="911153"/>
                    <a:pt x="517006" y="881553"/>
                    <a:pt x="566242" y="835475"/>
                  </a:cubicBezTo>
                  <a:cubicBezTo>
                    <a:pt x="676389" y="736034"/>
                    <a:pt x="873023" y="507815"/>
                    <a:pt x="794842" y="197872"/>
                  </a:cubicBezTo>
                  <a:cubicBezTo>
                    <a:pt x="688162" y="-224353"/>
                    <a:pt x="0" y="160458"/>
                    <a:pt x="0" y="160458"/>
                  </a:cubicBezTo>
                  <a:close/>
                </a:path>
              </a:pathLst>
            </a:custGeom>
            <a:solidFill>
              <a:srgbClr val="F6C86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23" name="任意形状 222"/>
            <p:cNvSpPr/>
            <p:nvPr/>
          </p:nvSpPr>
          <p:spPr>
            <a:xfrm>
              <a:off x="-950681" y="4829114"/>
              <a:ext cx="1452753" cy="294627"/>
            </a:xfrm>
            <a:custGeom>
              <a:avLst/>
              <a:gdLst>
                <a:gd name="connsiteX0" fmla="*/ 1452753 w 1452753"/>
                <a:gd name="connsiteY0" fmla="*/ 294627 h 294627"/>
                <a:gd name="connsiteX1" fmla="*/ 0 w 1452753"/>
                <a:gd name="connsiteY1" fmla="*/ 294627 h 294627"/>
                <a:gd name="connsiteX2" fmla="*/ 519646 w 1452753"/>
                <a:gd name="connsiteY2" fmla="*/ 0 h 294627"/>
                <a:gd name="connsiteX3" fmla="*/ 933145 w 1452753"/>
                <a:gd name="connsiteY3" fmla="*/ 0 h 294627"/>
                <a:gd name="connsiteX4" fmla="*/ 1452753 w 1452753"/>
                <a:gd name="connsiteY4" fmla="*/ 294627 h 294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2753" h="294627">
                  <a:moveTo>
                    <a:pt x="1452753" y="294627"/>
                  </a:moveTo>
                  <a:lnTo>
                    <a:pt x="0" y="294627"/>
                  </a:lnTo>
                  <a:cubicBezTo>
                    <a:pt x="0" y="146723"/>
                    <a:pt x="265367" y="0"/>
                    <a:pt x="519646" y="0"/>
                  </a:cubicBezTo>
                  <a:lnTo>
                    <a:pt x="933145" y="0"/>
                  </a:lnTo>
                  <a:cubicBezTo>
                    <a:pt x="1184643" y="0"/>
                    <a:pt x="1452753" y="130112"/>
                    <a:pt x="1452753" y="294627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24" name="任意形状 223"/>
            <p:cNvSpPr/>
            <p:nvPr/>
          </p:nvSpPr>
          <p:spPr>
            <a:xfrm>
              <a:off x="-950757" y="5116769"/>
              <a:ext cx="1452676" cy="79590"/>
            </a:xfrm>
            <a:custGeom>
              <a:avLst/>
              <a:gdLst>
                <a:gd name="connsiteX0" fmla="*/ 1452677 w 1452676"/>
                <a:gd name="connsiteY0" fmla="*/ 0 h 79590"/>
                <a:gd name="connsiteX1" fmla="*/ 1452677 w 1452676"/>
                <a:gd name="connsiteY1" fmla="*/ 40043 h 79590"/>
                <a:gd name="connsiteX2" fmla="*/ 1413129 w 1452676"/>
                <a:gd name="connsiteY2" fmla="*/ 79591 h 79590"/>
                <a:gd name="connsiteX3" fmla="*/ 39548 w 1452676"/>
                <a:gd name="connsiteY3" fmla="*/ 79591 h 79590"/>
                <a:gd name="connsiteX4" fmla="*/ 0 w 1452676"/>
                <a:gd name="connsiteY4" fmla="*/ 40043 h 79590"/>
                <a:gd name="connsiteX5" fmla="*/ 0 w 1452676"/>
                <a:gd name="connsiteY5" fmla="*/ 0 h 79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2676" h="79590">
                  <a:moveTo>
                    <a:pt x="1452677" y="0"/>
                  </a:moveTo>
                  <a:lnTo>
                    <a:pt x="1452677" y="40043"/>
                  </a:lnTo>
                  <a:cubicBezTo>
                    <a:pt x="1452677" y="61874"/>
                    <a:pt x="1434972" y="79591"/>
                    <a:pt x="1413129" y="79591"/>
                  </a:cubicBezTo>
                  <a:lnTo>
                    <a:pt x="39548" y="79591"/>
                  </a:lnTo>
                  <a:cubicBezTo>
                    <a:pt x="17705" y="79591"/>
                    <a:pt x="0" y="61874"/>
                    <a:pt x="0" y="4004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28A9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225" name="图形 195"/>
            <p:cNvGrpSpPr/>
            <p:nvPr/>
          </p:nvGrpSpPr>
          <p:grpSpPr>
            <a:xfrm>
              <a:off x="-1257233" y="2072160"/>
              <a:ext cx="2053285" cy="2053285"/>
              <a:chOff x="-1257233" y="2072160"/>
              <a:chExt cx="2053285" cy="2053285"/>
            </a:xfrm>
            <a:solidFill>
              <a:srgbClr val="DBD8DD"/>
            </a:solidFill>
          </p:grpSpPr>
          <p:sp>
            <p:nvSpPr>
              <p:cNvPr id="231" name="任意形状 230"/>
              <p:cNvSpPr/>
              <p:nvPr/>
            </p:nvSpPr>
            <p:spPr>
              <a:xfrm>
                <a:off x="-250479" y="2107364"/>
                <a:ext cx="39776" cy="946175"/>
              </a:xfrm>
              <a:custGeom>
                <a:avLst/>
                <a:gdLst>
                  <a:gd name="connsiteX0" fmla="*/ 0 w 39776"/>
                  <a:gd name="connsiteY0" fmla="*/ 0 h 946175"/>
                  <a:gd name="connsiteX1" fmla="*/ 39776 w 39776"/>
                  <a:gd name="connsiteY1" fmla="*/ 0 h 946175"/>
                  <a:gd name="connsiteX2" fmla="*/ 39776 w 39776"/>
                  <a:gd name="connsiteY2" fmla="*/ 946175 h 946175"/>
                  <a:gd name="connsiteX3" fmla="*/ 0 w 39776"/>
                  <a:gd name="connsiteY3" fmla="*/ 946175 h 946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76" h="946175">
                    <a:moveTo>
                      <a:pt x="0" y="0"/>
                    </a:moveTo>
                    <a:lnTo>
                      <a:pt x="39776" y="0"/>
                    </a:lnTo>
                    <a:lnTo>
                      <a:pt x="39776" y="946175"/>
                    </a:lnTo>
                    <a:lnTo>
                      <a:pt x="0" y="946175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2" name="任意形状 231"/>
              <p:cNvSpPr/>
              <p:nvPr/>
            </p:nvSpPr>
            <p:spPr>
              <a:xfrm rot="-1199574">
                <a:off x="-427128" y="2138896"/>
                <a:ext cx="39825" cy="946442"/>
              </a:xfrm>
              <a:custGeom>
                <a:avLst/>
                <a:gdLst>
                  <a:gd name="connsiteX0" fmla="*/ 0 w 39825"/>
                  <a:gd name="connsiteY0" fmla="*/ 0 h 946442"/>
                  <a:gd name="connsiteX1" fmla="*/ 39826 w 39825"/>
                  <a:gd name="connsiteY1" fmla="*/ 0 h 946442"/>
                  <a:gd name="connsiteX2" fmla="*/ 39826 w 39825"/>
                  <a:gd name="connsiteY2" fmla="*/ 946442 h 946442"/>
                  <a:gd name="connsiteX3" fmla="*/ 0 w 39825"/>
                  <a:gd name="connsiteY3" fmla="*/ 946442 h 94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25" h="946442">
                    <a:moveTo>
                      <a:pt x="0" y="0"/>
                    </a:moveTo>
                    <a:lnTo>
                      <a:pt x="39826" y="0"/>
                    </a:lnTo>
                    <a:lnTo>
                      <a:pt x="39826" y="946442"/>
                    </a:lnTo>
                    <a:lnTo>
                      <a:pt x="0" y="946442"/>
                    </a:lnTo>
                    <a:close/>
                  </a:path>
                </a:pathLst>
              </a:custGeom>
              <a:solidFill>
                <a:srgbClr val="DBD8DD"/>
              </a:solidFill>
              <a:ln w="38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3" name="任意形状 232"/>
              <p:cNvSpPr/>
              <p:nvPr/>
            </p:nvSpPr>
            <p:spPr>
              <a:xfrm rot="-2400657">
                <a:off x="-583523" y="2228043"/>
                <a:ext cx="39780" cy="946272"/>
              </a:xfrm>
              <a:custGeom>
                <a:avLst/>
                <a:gdLst>
                  <a:gd name="connsiteX0" fmla="*/ 0 w 39780"/>
                  <a:gd name="connsiteY0" fmla="*/ 0 h 946272"/>
                  <a:gd name="connsiteX1" fmla="*/ 39781 w 39780"/>
                  <a:gd name="connsiteY1" fmla="*/ 0 h 946272"/>
                  <a:gd name="connsiteX2" fmla="*/ 39781 w 39780"/>
                  <a:gd name="connsiteY2" fmla="*/ 946272 h 946272"/>
                  <a:gd name="connsiteX3" fmla="*/ 0 w 39780"/>
                  <a:gd name="connsiteY3" fmla="*/ 946272 h 946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80" h="946272">
                    <a:moveTo>
                      <a:pt x="0" y="0"/>
                    </a:moveTo>
                    <a:lnTo>
                      <a:pt x="39781" y="0"/>
                    </a:lnTo>
                    <a:lnTo>
                      <a:pt x="39781" y="946272"/>
                    </a:lnTo>
                    <a:lnTo>
                      <a:pt x="0" y="946272"/>
                    </a:lnTo>
                    <a:close/>
                  </a:path>
                </a:pathLst>
              </a:custGeom>
              <a:solidFill>
                <a:srgbClr val="DBD8DD"/>
              </a:solidFill>
              <a:ln w="381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4" name="任意形状 233"/>
              <p:cNvSpPr/>
              <p:nvPr/>
            </p:nvSpPr>
            <p:spPr>
              <a:xfrm rot="-3599956">
                <a:off x="-699563" y="2366642"/>
                <a:ext cx="39775" cy="946192"/>
              </a:xfrm>
              <a:custGeom>
                <a:avLst/>
                <a:gdLst>
                  <a:gd name="connsiteX0" fmla="*/ 0 w 39775"/>
                  <a:gd name="connsiteY0" fmla="*/ 0 h 946192"/>
                  <a:gd name="connsiteX1" fmla="*/ 39775 w 39775"/>
                  <a:gd name="connsiteY1" fmla="*/ 0 h 946192"/>
                  <a:gd name="connsiteX2" fmla="*/ 39775 w 39775"/>
                  <a:gd name="connsiteY2" fmla="*/ 946193 h 946192"/>
                  <a:gd name="connsiteX3" fmla="*/ 0 w 39775"/>
                  <a:gd name="connsiteY3" fmla="*/ 946193 h 946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75" h="946192">
                    <a:moveTo>
                      <a:pt x="0" y="0"/>
                    </a:moveTo>
                    <a:lnTo>
                      <a:pt x="39775" y="0"/>
                    </a:lnTo>
                    <a:lnTo>
                      <a:pt x="39775" y="946193"/>
                    </a:lnTo>
                    <a:lnTo>
                      <a:pt x="0" y="946193"/>
                    </a:lnTo>
                    <a:close/>
                  </a:path>
                </a:pathLst>
              </a:custGeom>
              <a:solidFill>
                <a:srgbClr val="DBD8DD"/>
              </a:solidFill>
              <a:ln w="38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5" name="任意形状 234"/>
              <p:cNvSpPr/>
              <p:nvPr/>
            </p:nvSpPr>
            <p:spPr>
              <a:xfrm rot="-4798924">
                <a:off x="-760062" y="2535989"/>
                <a:ext cx="39786" cy="946412"/>
              </a:xfrm>
              <a:custGeom>
                <a:avLst/>
                <a:gdLst>
                  <a:gd name="connsiteX0" fmla="*/ 0 w 39786"/>
                  <a:gd name="connsiteY0" fmla="*/ 0 h 946412"/>
                  <a:gd name="connsiteX1" fmla="*/ 39786 w 39786"/>
                  <a:gd name="connsiteY1" fmla="*/ 0 h 946412"/>
                  <a:gd name="connsiteX2" fmla="*/ 39786 w 39786"/>
                  <a:gd name="connsiteY2" fmla="*/ 946413 h 946412"/>
                  <a:gd name="connsiteX3" fmla="*/ 0 w 39786"/>
                  <a:gd name="connsiteY3" fmla="*/ 946413 h 94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86" h="946412">
                    <a:moveTo>
                      <a:pt x="0" y="0"/>
                    </a:moveTo>
                    <a:lnTo>
                      <a:pt x="39786" y="0"/>
                    </a:lnTo>
                    <a:lnTo>
                      <a:pt x="39786" y="946413"/>
                    </a:lnTo>
                    <a:lnTo>
                      <a:pt x="0" y="946413"/>
                    </a:lnTo>
                    <a:close/>
                  </a:path>
                </a:pathLst>
              </a:custGeom>
              <a:solidFill>
                <a:srgbClr val="DBD8DD"/>
              </a:solidFill>
              <a:ln w="38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6" name="任意形状 235"/>
              <p:cNvSpPr/>
              <p:nvPr/>
            </p:nvSpPr>
            <p:spPr>
              <a:xfrm rot="-604460">
                <a:off x="-1212865" y="3168885"/>
                <a:ext cx="946577" cy="39793"/>
              </a:xfrm>
              <a:custGeom>
                <a:avLst/>
                <a:gdLst>
                  <a:gd name="connsiteX0" fmla="*/ 0 w 946577"/>
                  <a:gd name="connsiteY0" fmla="*/ 0 h 39793"/>
                  <a:gd name="connsiteX1" fmla="*/ 946577 w 946577"/>
                  <a:gd name="connsiteY1" fmla="*/ 0 h 39793"/>
                  <a:gd name="connsiteX2" fmla="*/ 946577 w 946577"/>
                  <a:gd name="connsiteY2" fmla="*/ 39793 h 39793"/>
                  <a:gd name="connsiteX3" fmla="*/ 0 w 946577"/>
                  <a:gd name="connsiteY3" fmla="*/ 39793 h 39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6577" h="39793">
                    <a:moveTo>
                      <a:pt x="0" y="0"/>
                    </a:moveTo>
                    <a:lnTo>
                      <a:pt x="946577" y="0"/>
                    </a:lnTo>
                    <a:lnTo>
                      <a:pt x="946577" y="39793"/>
                    </a:lnTo>
                    <a:lnTo>
                      <a:pt x="0" y="39793"/>
                    </a:lnTo>
                    <a:close/>
                  </a:path>
                </a:pathLst>
              </a:custGeom>
              <a:solidFill>
                <a:srgbClr val="DBD8DD"/>
              </a:solidFill>
              <a:ln w="38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7" name="任意形状 236"/>
              <p:cNvSpPr/>
              <p:nvPr/>
            </p:nvSpPr>
            <p:spPr>
              <a:xfrm rot="-1800044">
                <a:off x="-1152819" y="3338441"/>
                <a:ext cx="946192" cy="39775"/>
              </a:xfrm>
              <a:custGeom>
                <a:avLst/>
                <a:gdLst>
                  <a:gd name="connsiteX0" fmla="*/ 0 w 946192"/>
                  <a:gd name="connsiteY0" fmla="*/ 0 h 39775"/>
                  <a:gd name="connsiteX1" fmla="*/ 946193 w 946192"/>
                  <a:gd name="connsiteY1" fmla="*/ 0 h 39775"/>
                  <a:gd name="connsiteX2" fmla="*/ 946193 w 946192"/>
                  <a:gd name="connsiteY2" fmla="*/ 39776 h 39775"/>
                  <a:gd name="connsiteX3" fmla="*/ 0 w 946192"/>
                  <a:gd name="connsiteY3" fmla="*/ 39776 h 3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6192" h="39775">
                    <a:moveTo>
                      <a:pt x="0" y="0"/>
                    </a:moveTo>
                    <a:lnTo>
                      <a:pt x="946193" y="0"/>
                    </a:lnTo>
                    <a:lnTo>
                      <a:pt x="946193" y="39776"/>
                    </a:lnTo>
                    <a:lnTo>
                      <a:pt x="0" y="39776"/>
                    </a:lnTo>
                    <a:close/>
                  </a:path>
                </a:pathLst>
              </a:custGeom>
              <a:solidFill>
                <a:srgbClr val="DBD8DD"/>
              </a:solidFill>
              <a:ln w="38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8" name="任意形状 237"/>
              <p:cNvSpPr/>
              <p:nvPr/>
            </p:nvSpPr>
            <p:spPr>
              <a:xfrm rot="-2999342">
                <a:off x="-1036723" y="3474936"/>
                <a:ext cx="946272" cy="39780"/>
              </a:xfrm>
              <a:custGeom>
                <a:avLst/>
                <a:gdLst>
                  <a:gd name="connsiteX0" fmla="*/ 0 w 946272"/>
                  <a:gd name="connsiteY0" fmla="*/ 0 h 39780"/>
                  <a:gd name="connsiteX1" fmla="*/ 946272 w 946272"/>
                  <a:gd name="connsiteY1" fmla="*/ 0 h 39780"/>
                  <a:gd name="connsiteX2" fmla="*/ 946272 w 946272"/>
                  <a:gd name="connsiteY2" fmla="*/ 39780 h 39780"/>
                  <a:gd name="connsiteX3" fmla="*/ 0 w 946272"/>
                  <a:gd name="connsiteY3" fmla="*/ 39780 h 39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6272" h="39780">
                    <a:moveTo>
                      <a:pt x="0" y="0"/>
                    </a:moveTo>
                    <a:lnTo>
                      <a:pt x="946272" y="0"/>
                    </a:lnTo>
                    <a:lnTo>
                      <a:pt x="946272" y="39780"/>
                    </a:lnTo>
                    <a:lnTo>
                      <a:pt x="0" y="39780"/>
                    </a:lnTo>
                    <a:close/>
                  </a:path>
                </a:pathLst>
              </a:custGeom>
              <a:solidFill>
                <a:srgbClr val="DBD8DD"/>
              </a:solidFill>
              <a:ln w="381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9" name="任意形状 238"/>
              <p:cNvSpPr/>
              <p:nvPr/>
            </p:nvSpPr>
            <p:spPr>
              <a:xfrm rot="-4200426">
                <a:off x="-880802" y="3564702"/>
                <a:ext cx="946442" cy="39825"/>
              </a:xfrm>
              <a:custGeom>
                <a:avLst/>
                <a:gdLst>
                  <a:gd name="connsiteX0" fmla="*/ 0 w 946442"/>
                  <a:gd name="connsiteY0" fmla="*/ 0 h 39825"/>
                  <a:gd name="connsiteX1" fmla="*/ 946442 w 946442"/>
                  <a:gd name="connsiteY1" fmla="*/ 0 h 39825"/>
                  <a:gd name="connsiteX2" fmla="*/ 946442 w 946442"/>
                  <a:gd name="connsiteY2" fmla="*/ 39826 h 39825"/>
                  <a:gd name="connsiteX3" fmla="*/ 0 w 946442"/>
                  <a:gd name="connsiteY3" fmla="*/ 39826 h 39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6442" h="39825">
                    <a:moveTo>
                      <a:pt x="0" y="0"/>
                    </a:moveTo>
                    <a:lnTo>
                      <a:pt x="946442" y="0"/>
                    </a:lnTo>
                    <a:lnTo>
                      <a:pt x="946442" y="39826"/>
                    </a:lnTo>
                    <a:lnTo>
                      <a:pt x="0" y="39826"/>
                    </a:lnTo>
                    <a:close/>
                  </a:path>
                </a:pathLst>
              </a:custGeom>
              <a:solidFill>
                <a:srgbClr val="DBD8DD"/>
              </a:solidFill>
              <a:ln w="38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0" name="任意形状 239"/>
              <p:cNvSpPr/>
              <p:nvPr/>
            </p:nvSpPr>
            <p:spPr>
              <a:xfrm>
                <a:off x="-250479" y="3144370"/>
                <a:ext cx="39776" cy="946175"/>
              </a:xfrm>
              <a:custGeom>
                <a:avLst/>
                <a:gdLst>
                  <a:gd name="connsiteX0" fmla="*/ 0 w 39776"/>
                  <a:gd name="connsiteY0" fmla="*/ 0 h 946175"/>
                  <a:gd name="connsiteX1" fmla="*/ 39776 w 39776"/>
                  <a:gd name="connsiteY1" fmla="*/ 0 h 946175"/>
                  <a:gd name="connsiteX2" fmla="*/ 39776 w 39776"/>
                  <a:gd name="connsiteY2" fmla="*/ 946175 h 946175"/>
                  <a:gd name="connsiteX3" fmla="*/ 0 w 39776"/>
                  <a:gd name="connsiteY3" fmla="*/ 946175 h 946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76" h="946175">
                    <a:moveTo>
                      <a:pt x="0" y="0"/>
                    </a:moveTo>
                    <a:lnTo>
                      <a:pt x="39776" y="0"/>
                    </a:lnTo>
                    <a:lnTo>
                      <a:pt x="39776" y="946175"/>
                    </a:lnTo>
                    <a:lnTo>
                      <a:pt x="0" y="946175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1" name="任意形状 240"/>
              <p:cNvSpPr/>
              <p:nvPr/>
            </p:nvSpPr>
            <p:spPr>
              <a:xfrm rot="-1199574">
                <a:off x="-72362" y="3113637"/>
                <a:ext cx="39825" cy="946442"/>
              </a:xfrm>
              <a:custGeom>
                <a:avLst/>
                <a:gdLst>
                  <a:gd name="connsiteX0" fmla="*/ 0 w 39825"/>
                  <a:gd name="connsiteY0" fmla="*/ 0 h 946442"/>
                  <a:gd name="connsiteX1" fmla="*/ 39826 w 39825"/>
                  <a:gd name="connsiteY1" fmla="*/ 0 h 946442"/>
                  <a:gd name="connsiteX2" fmla="*/ 39826 w 39825"/>
                  <a:gd name="connsiteY2" fmla="*/ 946442 h 946442"/>
                  <a:gd name="connsiteX3" fmla="*/ 0 w 39825"/>
                  <a:gd name="connsiteY3" fmla="*/ 946442 h 94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25" h="946442">
                    <a:moveTo>
                      <a:pt x="0" y="0"/>
                    </a:moveTo>
                    <a:lnTo>
                      <a:pt x="39826" y="0"/>
                    </a:lnTo>
                    <a:lnTo>
                      <a:pt x="39826" y="946442"/>
                    </a:lnTo>
                    <a:lnTo>
                      <a:pt x="0" y="946442"/>
                    </a:lnTo>
                    <a:close/>
                  </a:path>
                </a:pathLst>
              </a:custGeom>
              <a:solidFill>
                <a:srgbClr val="DBD8DD"/>
              </a:solidFill>
              <a:ln w="38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2" name="任意形状 241"/>
              <p:cNvSpPr/>
              <p:nvPr/>
            </p:nvSpPr>
            <p:spPr>
              <a:xfrm rot="-2400657">
                <a:off x="83134" y="3022284"/>
                <a:ext cx="39780" cy="946272"/>
              </a:xfrm>
              <a:custGeom>
                <a:avLst/>
                <a:gdLst>
                  <a:gd name="connsiteX0" fmla="*/ 0 w 39780"/>
                  <a:gd name="connsiteY0" fmla="*/ 0 h 946272"/>
                  <a:gd name="connsiteX1" fmla="*/ 39780 w 39780"/>
                  <a:gd name="connsiteY1" fmla="*/ 0 h 946272"/>
                  <a:gd name="connsiteX2" fmla="*/ 39780 w 39780"/>
                  <a:gd name="connsiteY2" fmla="*/ 946272 h 946272"/>
                  <a:gd name="connsiteX3" fmla="*/ 0 w 39780"/>
                  <a:gd name="connsiteY3" fmla="*/ 946272 h 946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80" h="946272">
                    <a:moveTo>
                      <a:pt x="0" y="0"/>
                    </a:moveTo>
                    <a:lnTo>
                      <a:pt x="39780" y="0"/>
                    </a:lnTo>
                    <a:lnTo>
                      <a:pt x="39780" y="946272"/>
                    </a:lnTo>
                    <a:lnTo>
                      <a:pt x="0" y="946272"/>
                    </a:lnTo>
                    <a:close/>
                  </a:path>
                </a:pathLst>
              </a:custGeom>
              <a:solidFill>
                <a:srgbClr val="DBD8DD"/>
              </a:solidFill>
              <a:ln w="381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3" name="任意形状 242"/>
              <p:cNvSpPr/>
              <p:nvPr/>
            </p:nvSpPr>
            <p:spPr>
              <a:xfrm rot="-3599956">
                <a:off x="198506" y="2885151"/>
                <a:ext cx="39775" cy="946192"/>
              </a:xfrm>
              <a:custGeom>
                <a:avLst/>
                <a:gdLst>
                  <a:gd name="connsiteX0" fmla="*/ 0 w 39775"/>
                  <a:gd name="connsiteY0" fmla="*/ 0 h 946192"/>
                  <a:gd name="connsiteX1" fmla="*/ 39775 w 39775"/>
                  <a:gd name="connsiteY1" fmla="*/ 0 h 946192"/>
                  <a:gd name="connsiteX2" fmla="*/ 39775 w 39775"/>
                  <a:gd name="connsiteY2" fmla="*/ 946193 h 946192"/>
                  <a:gd name="connsiteX3" fmla="*/ 0 w 39775"/>
                  <a:gd name="connsiteY3" fmla="*/ 946193 h 946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75" h="946192">
                    <a:moveTo>
                      <a:pt x="0" y="0"/>
                    </a:moveTo>
                    <a:lnTo>
                      <a:pt x="39775" y="0"/>
                    </a:lnTo>
                    <a:lnTo>
                      <a:pt x="39775" y="946193"/>
                    </a:lnTo>
                    <a:lnTo>
                      <a:pt x="0" y="946193"/>
                    </a:lnTo>
                    <a:close/>
                  </a:path>
                </a:pathLst>
              </a:custGeom>
              <a:solidFill>
                <a:srgbClr val="DBD8DD"/>
              </a:solidFill>
              <a:ln w="38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4" name="任意形状 243"/>
              <p:cNvSpPr/>
              <p:nvPr/>
            </p:nvSpPr>
            <p:spPr>
              <a:xfrm rot="-4798924">
                <a:off x="261551" y="2715905"/>
                <a:ext cx="39786" cy="946412"/>
              </a:xfrm>
              <a:custGeom>
                <a:avLst/>
                <a:gdLst>
                  <a:gd name="connsiteX0" fmla="*/ 0 w 39786"/>
                  <a:gd name="connsiteY0" fmla="*/ 0 h 946412"/>
                  <a:gd name="connsiteX1" fmla="*/ 39787 w 39786"/>
                  <a:gd name="connsiteY1" fmla="*/ 0 h 946412"/>
                  <a:gd name="connsiteX2" fmla="*/ 39787 w 39786"/>
                  <a:gd name="connsiteY2" fmla="*/ 946412 h 946412"/>
                  <a:gd name="connsiteX3" fmla="*/ 0 w 39786"/>
                  <a:gd name="connsiteY3" fmla="*/ 946412 h 94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786" h="946412">
                    <a:moveTo>
                      <a:pt x="0" y="0"/>
                    </a:moveTo>
                    <a:lnTo>
                      <a:pt x="39787" y="0"/>
                    </a:lnTo>
                    <a:lnTo>
                      <a:pt x="39787" y="946412"/>
                    </a:lnTo>
                    <a:lnTo>
                      <a:pt x="0" y="946412"/>
                    </a:lnTo>
                    <a:close/>
                  </a:path>
                </a:pathLst>
              </a:custGeom>
              <a:solidFill>
                <a:srgbClr val="DBD8DD"/>
              </a:solidFill>
              <a:ln w="38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5" name="任意形状 244"/>
              <p:cNvSpPr/>
              <p:nvPr/>
            </p:nvSpPr>
            <p:spPr>
              <a:xfrm rot="-604460">
                <a:off x="-191370" y="2988260"/>
                <a:ext cx="946577" cy="39793"/>
              </a:xfrm>
              <a:custGeom>
                <a:avLst/>
                <a:gdLst>
                  <a:gd name="connsiteX0" fmla="*/ 0 w 946577"/>
                  <a:gd name="connsiteY0" fmla="*/ 0 h 39793"/>
                  <a:gd name="connsiteX1" fmla="*/ 946578 w 946577"/>
                  <a:gd name="connsiteY1" fmla="*/ 0 h 39793"/>
                  <a:gd name="connsiteX2" fmla="*/ 946578 w 946577"/>
                  <a:gd name="connsiteY2" fmla="*/ 39793 h 39793"/>
                  <a:gd name="connsiteX3" fmla="*/ 0 w 946577"/>
                  <a:gd name="connsiteY3" fmla="*/ 39793 h 39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6577" h="39793">
                    <a:moveTo>
                      <a:pt x="0" y="0"/>
                    </a:moveTo>
                    <a:lnTo>
                      <a:pt x="946578" y="0"/>
                    </a:lnTo>
                    <a:lnTo>
                      <a:pt x="946578" y="39793"/>
                    </a:lnTo>
                    <a:lnTo>
                      <a:pt x="0" y="39793"/>
                    </a:lnTo>
                    <a:close/>
                  </a:path>
                </a:pathLst>
              </a:custGeom>
              <a:solidFill>
                <a:srgbClr val="DBD8DD"/>
              </a:solidFill>
              <a:ln w="381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6" name="任意形状 245"/>
              <p:cNvSpPr/>
              <p:nvPr/>
            </p:nvSpPr>
            <p:spPr>
              <a:xfrm rot="-1800044">
                <a:off x="-254693" y="2819961"/>
                <a:ext cx="946192" cy="39775"/>
              </a:xfrm>
              <a:custGeom>
                <a:avLst/>
                <a:gdLst>
                  <a:gd name="connsiteX0" fmla="*/ 0 w 946192"/>
                  <a:gd name="connsiteY0" fmla="*/ 0 h 39775"/>
                  <a:gd name="connsiteX1" fmla="*/ 946193 w 946192"/>
                  <a:gd name="connsiteY1" fmla="*/ 0 h 39775"/>
                  <a:gd name="connsiteX2" fmla="*/ 946193 w 946192"/>
                  <a:gd name="connsiteY2" fmla="*/ 39775 h 39775"/>
                  <a:gd name="connsiteX3" fmla="*/ 0 w 946192"/>
                  <a:gd name="connsiteY3" fmla="*/ 39775 h 3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6192" h="39775">
                    <a:moveTo>
                      <a:pt x="0" y="0"/>
                    </a:moveTo>
                    <a:lnTo>
                      <a:pt x="946193" y="0"/>
                    </a:lnTo>
                    <a:lnTo>
                      <a:pt x="946193" y="39775"/>
                    </a:lnTo>
                    <a:lnTo>
                      <a:pt x="0" y="39775"/>
                    </a:lnTo>
                    <a:close/>
                  </a:path>
                </a:pathLst>
              </a:custGeom>
              <a:solidFill>
                <a:srgbClr val="DBD8DD"/>
              </a:solidFill>
              <a:ln w="38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7" name="任意形状 246"/>
              <p:cNvSpPr/>
              <p:nvPr/>
            </p:nvSpPr>
            <p:spPr>
              <a:xfrm rot="-2999342">
                <a:off x="-370668" y="2680490"/>
                <a:ext cx="946272" cy="39780"/>
              </a:xfrm>
              <a:custGeom>
                <a:avLst/>
                <a:gdLst>
                  <a:gd name="connsiteX0" fmla="*/ 0 w 946272"/>
                  <a:gd name="connsiteY0" fmla="*/ 0 h 39780"/>
                  <a:gd name="connsiteX1" fmla="*/ 946272 w 946272"/>
                  <a:gd name="connsiteY1" fmla="*/ 0 h 39780"/>
                  <a:gd name="connsiteX2" fmla="*/ 946272 w 946272"/>
                  <a:gd name="connsiteY2" fmla="*/ 39781 h 39780"/>
                  <a:gd name="connsiteX3" fmla="*/ 0 w 946272"/>
                  <a:gd name="connsiteY3" fmla="*/ 39781 h 39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6272" h="39780">
                    <a:moveTo>
                      <a:pt x="0" y="0"/>
                    </a:moveTo>
                    <a:lnTo>
                      <a:pt x="946272" y="0"/>
                    </a:lnTo>
                    <a:lnTo>
                      <a:pt x="946272" y="39781"/>
                    </a:lnTo>
                    <a:lnTo>
                      <a:pt x="0" y="39781"/>
                    </a:lnTo>
                    <a:close/>
                  </a:path>
                </a:pathLst>
              </a:custGeom>
              <a:solidFill>
                <a:srgbClr val="DBD8DD"/>
              </a:solidFill>
              <a:ln w="381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8" name="任意形状 247"/>
              <p:cNvSpPr/>
              <p:nvPr/>
            </p:nvSpPr>
            <p:spPr>
              <a:xfrm rot="-4200426">
                <a:off x="-526628" y="2590389"/>
                <a:ext cx="946442" cy="39825"/>
              </a:xfrm>
              <a:custGeom>
                <a:avLst/>
                <a:gdLst>
                  <a:gd name="connsiteX0" fmla="*/ 0 w 946442"/>
                  <a:gd name="connsiteY0" fmla="*/ 0 h 39825"/>
                  <a:gd name="connsiteX1" fmla="*/ 946442 w 946442"/>
                  <a:gd name="connsiteY1" fmla="*/ 0 h 39825"/>
                  <a:gd name="connsiteX2" fmla="*/ 946442 w 946442"/>
                  <a:gd name="connsiteY2" fmla="*/ 39826 h 39825"/>
                  <a:gd name="connsiteX3" fmla="*/ 0 w 946442"/>
                  <a:gd name="connsiteY3" fmla="*/ 39826 h 39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6442" h="39825">
                    <a:moveTo>
                      <a:pt x="0" y="0"/>
                    </a:moveTo>
                    <a:lnTo>
                      <a:pt x="946442" y="0"/>
                    </a:lnTo>
                    <a:lnTo>
                      <a:pt x="946442" y="39826"/>
                    </a:lnTo>
                    <a:lnTo>
                      <a:pt x="0" y="39826"/>
                    </a:lnTo>
                    <a:close/>
                  </a:path>
                </a:pathLst>
              </a:custGeom>
              <a:solidFill>
                <a:srgbClr val="DBD8DD"/>
              </a:solidFill>
              <a:ln w="381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9" name="任意形状 248"/>
              <p:cNvSpPr/>
              <p:nvPr/>
            </p:nvSpPr>
            <p:spPr>
              <a:xfrm>
                <a:off x="-1257233" y="2072160"/>
                <a:ext cx="2053285" cy="2053285"/>
              </a:xfrm>
              <a:custGeom>
                <a:avLst/>
                <a:gdLst>
                  <a:gd name="connsiteX0" fmla="*/ 1026643 w 2053285"/>
                  <a:gd name="connsiteY0" fmla="*/ 0 h 2053285"/>
                  <a:gd name="connsiteX1" fmla="*/ 0 w 2053285"/>
                  <a:gd name="connsiteY1" fmla="*/ 1026643 h 2053285"/>
                  <a:gd name="connsiteX2" fmla="*/ 1026643 w 2053285"/>
                  <a:gd name="connsiteY2" fmla="*/ 2053285 h 2053285"/>
                  <a:gd name="connsiteX3" fmla="*/ 2053285 w 2053285"/>
                  <a:gd name="connsiteY3" fmla="*/ 1026643 h 2053285"/>
                  <a:gd name="connsiteX4" fmla="*/ 1027024 w 2053285"/>
                  <a:gd name="connsiteY4" fmla="*/ 0 h 2053285"/>
                  <a:gd name="connsiteX5" fmla="*/ 1026643 w 2053285"/>
                  <a:gd name="connsiteY5" fmla="*/ 0 h 2053285"/>
                  <a:gd name="connsiteX6" fmla="*/ 1026643 w 2053285"/>
                  <a:gd name="connsiteY6" fmla="*/ 1989620 h 2053285"/>
                  <a:gd name="connsiteX7" fmla="*/ 63665 w 2053285"/>
                  <a:gd name="connsiteY7" fmla="*/ 1026643 h 2053285"/>
                  <a:gd name="connsiteX8" fmla="*/ 1026643 w 2053285"/>
                  <a:gd name="connsiteY8" fmla="*/ 63665 h 2053285"/>
                  <a:gd name="connsiteX9" fmla="*/ 1989620 w 2053285"/>
                  <a:gd name="connsiteY9" fmla="*/ 1026643 h 2053285"/>
                  <a:gd name="connsiteX10" fmla="*/ 1026643 w 2053285"/>
                  <a:gd name="connsiteY10" fmla="*/ 1989620 h 205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53285" h="2053285">
                    <a:moveTo>
                      <a:pt x="1026643" y="0"/>
                    </a:moveTo>
                    <a:cubicBezTo>
                      <a:pt x="459642" y="0"/>
                      <a:pt x="0" y="459642"/>
                      <a:pt x="0" y="1026643"/>
                    </a:cubicBezTo>
                    <a:cubicBezTo>
                      <a:pt x="0" y="1593643"/>
                      <a:pt x="459642" y="2053285"/>
                      <a:pt x="1026643" y="2053285"/>
                    </a:cubicBezTo>
                    <a:cubicBezTo>
                      <a:pt x="1593643" y="2053285"/>
                      <a:pt x="2053285" y="1593643"/>
                      <a:pt x="2053285" y="1026643"/>
                    </a:cubicBezTo>
                    <a:cubicBezTo>
                      <a:pt x="2053392" y="459749"/>
                      <a:pt x="1593917" y="107"/>
                      <a:pt x="1027024" y="0"/>
                    </a:cubicBezTo>
                    <a:cubicBezTo>
                      <a:pt x="1026898" y="0"/>
                      <a:pt x="1026768" y="0"/>
                      <a:pt x="1026643" y="0"/>
                    </a:cubicBezTo>
                    <a:close/>
                    <a:moveTo>
                      <a:pt x="1026643" y="1989620"/>
                    </a:moveTo>
                    <a:cubicBezTo>
                      <a:pt x="494805" y="1989620"/>
                      <a:pt x="63665" y="1558481"/>
                      <a:pt x="63665" y="1026643"/>
                    </a:cubicBezTo>
                    <a:cubicBezTo>
                      <a:pt x="63665" y="494805"/>
                      <a:pt x="494805" y="63665"/>
                      <a:pt x="1026643" y="63665"/>
                    </a:cubicBezTo>
                    <a:cubicBezTo>
                      <a:pt x="1558481" y="63665"/>
                      <a:pt x="1989620" y="494805"/>
                      <a:pt x="1989620" y="1026643"/>
                    </a:cubicBezTo>
                    <a:cubicBezTo>
                      <a:pt x="1989094" y="1558263"/>
                      <a:pt x="1558263" y="1989094"/>
                      <a:pt x="1026643" y="1989620"/>
                    </a:cubicBez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26" name="任意形状 225"/>
            <p:cNvSpPr/>
            <p:nvPr/>
          </p:nvSpPr>
          <p:spPr>
            <a:xfrm>
              <a:off x="-1188463" y="2135825"/>
              <a:ext cx="1925954" cy="1925955"/>
            </a:xfrm>
            <a:custGeom>
              <a:avLst/>
              <a:gdLst>
                <a:gd name="connsiteX0" fmla="*/ 1925955 w 1925954"/>
                <a:gd name="connsiteY0" fmla="*/ 962978 h 1925955"/>
                <a:gd name="connsiteX1" fmla="*/ 962978 w 1925954"/>
                <a:gd name="connsiteY1" fmla="*/ 1925955 h 1925955"/>
                <a:gd name="connsiteX2" fmla="*/ 0 w 1925954"/>
                <a:gd name="connsiteY2" fmla="*/ 962978 h 1925955"/>
                <a:gd name="connsiteX3" fmla="*/ 962978 w 1925954"/>
                <a:gd name="connsiteY3" fmla="*/ 0 h 1925955"/>
                <a:gd name="connsiteX4" fmla="*/ 1925955 w 1925954"/>
                <a:gd name="connsiteY4" fmla="*/ 962978 h 1925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5954" h="1925955">
                  <a:moveTo>
                    <a:pt x="1925955" y="962978"/>
                  </a:moveTo>
                  <a:cubicBezTo>
                    <a:pt x="1925955" y="1494815"/>
                    <a:pt x="1494816" y="1925955"/>
                    <a:pt x="962978" y="1925955"/>
                  </a:cubicBezTo>
                  <a:cubicBezTo>
                    <a:pt x="431140" y="1925955"/>
                    <a:pt x="0" y="1494815"/>
                    <a:pt x="0" y="962978"/>
                  </a:cubicBezTo>
                  <a:cubicBezTo>
                    <a:pt x="0" y="431140"/>
                    <a:pt x="431140" y="0"/>
                    <a:pt x="962978" y="0"/>
                  </a:cubicBezTo>
                  <a:cubicBezTo>
                    <a:pt x="1494598" y="526"/>
                    <a:pt x="1925429" y="431357"/>
                    <a:pt x="1925955" y="962978"/>
                  </a:cubicBezTo>
                  <a:close/>
                </a:path>
              </a:pathLst>
            </a:custGeom>
            <a:no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27" name="任意形状 226"/>
            <p:cNvSpPr/>
            <p:nvPr/>
          </p:nvSpPr>
          <p:spPr>
            <a:xfrm>
              <a:off x="-445551" y="2878889"/>
              <a:ext cx="440131" cy="440131"/>
            </a:xfrm>
            <a:custGeom>
              <a:avLst/>
              <a:gdLst>
                <a:gd name="connsiteX0" fmla="*/ 440131 w 440131"/>
                <a:gd name="connsiteY0" fmla="*/ 220066 h 440131"/>
                <a:gd name="connsiteX1" fmla="*/ 220066 w 440131"/>
                <a:gd name="connsiteY1" fmla="*/ 440131 h 440131"/>
                <a:gd name="connsiteX2" fmla="*/ 0 w 440131"/>
                <a:gd name="connsiteY2" fmla="*/ 220066 h 440131"/>
                <a:gd name="connsiteX3" fmla="*/ 220066 w 440131"/>
                <a:gd name="connsiteY3" fmla="*/ 0 h 440131"/>
                <a:gd name="connsiteX4" fmla="*/ 440131 w 440131"/>
                <a:gd name="connsiteY4" fmla="*/ 220066 h 440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131" h="440131">
                  <a:moveTo>
                    <a:pt x="440131" y="220066"/>
                  </a:moveTo>
                  <a:cubicBezTo>
                    <a:pt x="440131" y="341604"/>
                    <a:pt x="341605" y="440131"/>
                    <a:pt x="220066" y="440131"/>
                  </a:cubicBezTo>
                  <a:cubicBezTo>
                    <a:pt x="98527" y="440131"/>
                    <a:pt x="0" y="341605"/>
                    <a:pt x="0" y="220066"/>
                  </a:cubicBezTo>
                  <a:cubicBezTo>
                    <a:pt x="0" y="98527"/>
                    <a:pt x="98527" y="0"/>
                    <a:pt x="220066" y="0"/>
                  </a:cubicBezTo>
                  <a:cubicBezTo>
                    <a:pt x="341605" y="0"/>
                    <a:pt x="440131" y="98527"/>
                    <a:pt x="440131" y="220066"/>
                  </a:cubicBez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28" name="任意形状 227"/>
            <p:cNvSpPr/>
            <p:nvPr/>
          </p:nvSpPr>
          <p:spPr>
            <a:xfrm>
              <a:off x="-378723" y="2945716"/>
              <a:ext cx="306476" cy="306476"/>
            </a:xfrm>
            <a:custGeom>
              <a:avLst/>
              <a:gdLst>
                <a:gd name="connsiteX0" fmla="*/ 306476 w 306476"/>
                <a:gd name="connsiteY0" fmla="*/ 153238 h 306476"/>
                <a:gd name="connsiteX1" fmla="*/ 153238 w 306476"/>
                <a:gd name="connsiteY1" fmla="*/ 306476 h 306476"/>
                <a:gd name="connsiteX2" fmla="*/ 0 w 306476"/>
                <a:gd name="connsiteY2" fmla="*/ 153238 h 306476"/>
                <a:gd name="connsiteX3" fmla="*/ 153238 w 306476"/>
                <a:gd name="connsiteY3" fmla="*/ 0 h 306476"/>
                <a:gd name="connsiteX4" fmla="*/ 306476 w 306476"/>
                <a:gd name="connsiteY4" fmla="*/ 153238 h 306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476" h="306476">
                  <a:moveTo>
                    <a:pt x="306476" y="153238"/>
                  </a:moveTo>
                  <a:cubicBezTo>
                    <a:pt x="306476" y="237869"/>
                    <a:pt x="237869" y="306476"/>
                    <a:pt x="153238" y="306476"/>
                  </a:cubicBezTo>
                  <a:cubicBezTo>
                    <a:pt x="68607" y="306476"/>
                    <a:pt x="0" y="237869"/>
                    <a:pt x="0" y="153238"/>
                  </a:cubicBezTo>
                  <a:cubicBezTo>
                    <a:pt x="0" y="68607"/>
                    <a:pt x="68607" y="0"/>
                    <a:pt x="153238" y="0"/>
                  </a:cubicBezTo>
                  <a:cubicBezTo>
                    <a:pt x="237869" y="0"/>
                    <a:pt x="306476" y="68607"/>
                    <a:pt x="306476" y="153238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29" name="任意形状 228"/>
            <p:cNvSpPr/>
            <p:nvPr/>
          </p:nvSpPr>
          <p:spPr>
            <a:xfrm>
              <a:off x="-288046" y="4313430"/>
              <a:ext cx="125349" cy="125349"/>
            </a:xfrm>
            <a:custGeom>
              <a:avLst/>
              <a:gdLst>
                <a:gd name="connsiteX0" fmla="*/ 125349 w 125349"/>
                <a:gd name="connsiteY0" fmla="*/ 62865 h 125349"/>
                <a:gd name="connsiteX1" fmla="*/ 62484 w 125349"/>
                <a:gd name="connsiteY1" fmla="*/ 125349 h 125349"/>
                <a:gd name="connsiteX2" fmla="*/ 0 w 125349"/>
                <a:gd name="connsiteY2" fmla="*/ 62484 h 125349"/>
                <a:gd name="connsiteX3" fmla="*/ 62484 w 125349"/>
                <a:gd name="connsiteY3" fmla="*/ 0 h 125349"/>
                <a:gd name="connsiteX4" fmla="*/ 125349 w 125349"/>
                <a:gd name="connsiteY4" fmla="*/ 62561 h 125349"/>
                <a:gd name="connsiteX5" fmla="*/ 125349 w 125349"/>
                <a:gd name="connsiteY5" fmla="*/ 62865 h 125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349" h="125349">
                  <a:moveTo>
                    <a:pt x="125349" y="62865"/>
                  </a:moveTo>
                  <a:cubicBezTo>
                    <a:pt x="125243" y="97479"/>
                    <a:pt x="97098" y="125456"/>
                    <a:pt x="62484" y="125349"/>
                  </a:cubicBezTo>
                  <a:cubicBezTo>
                    <a:pt x="27870" y="125243"/>
                    <a:pt x="-106" y="97098"/>
                    <a:pt x="0" y="62484"/>
                  </a:cubicBezTo>
                  <a:cubicBezTo>
                    <a:pt x="107" y="28019"/>
                    <a:pt x="28019" y="107"/>
                    <a:pt x="62484" y="0"/>
                  </a:cubicBezTo>
                  <a:cubicBezTo>
                    <a:pt x="97121" y="-84"/>
                    <a:pt x="125265" y="27924"/>
                    <a:pt x="125349" y="62561"/>
                  </a:cubicBezTo>
                  <a:cubicBezTo>
                    <a:pt x="125349" y="62664"/>
                    <a:pt x="125349" y="62762"/>
                    <a:pt x="125349" y="62865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30" name="任意形状 229"/>
            <p:cNvSpPr/>
            <p:nvPr/>
          </p:nvSpPr>
          <p:spPr>
            <a:xfrm>
              <a:off x="-288046" y="4549078"/>
              <a:ext cx="125349" cy="125349"/>
            </a:xfrm>
            <a:custGeom>
              <a:avLst/>
              <a:gdLst>
                <a:gd name="connsiteX0" fmla="*/ 125349 w 125349"/>
                <a:gd name="connsiteY0" fmla="*/ 62865 h 125349"/>
                <a:gd name="connsiteX1" fmla="*/ 62484 w 125349"/>
                <a:gd name="connsiteY1" fmla="*/ 125349 h 125349"/>
                <a:gd name="connsiteX2" fmla="*/ 0 w 125349"/>
                <a:gd name="connsiteY2" fmla="*/ 62484 h 125349"/>
                <a:gd name="connsiteX3" fmla="*/ 62484 w 125349"/>
                <a:gd name="connsiteY3" fmla="*/ 0 h 125349"/>
                <a:gd name="connsiteX4" fmla="*/ 125349 w 125349"/>
                <a:gd name="connsiteY4" fmla="*/ 62560 h 125349"/>
                <a:gd name="connsiteX5" fmla="*/ 125349 w 125349"/>
                <a:gd name="connsiteY5" fmla="*/ 62865 h 125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349" h="125349">
                  <a:moveTo>
                    <a:pt x="125349" y="62865"/>
                  </a:moveTo>
                  <a:cubicBezTo>
                    <a:pt x="125243" y="97479"/>
                    <a:pt x="97098" y="125456"/>
                    <a:pt x="62484" y="125349"/>
                  </a:cubicBezTo>
                  <a:cubicBezTo>
                    <a:pt x="27870" y="125243"/>
                    <a:pt x="-106" y="97098"/>
                    <a:pt x="0" y="62484"/>
                  </a:cubicBezTo>
                  <a:cubicBezTo>
                    <a:pt x="107" y="28019"/>
                    <a:pt x="28019" y="107"/>
                    <a:pt x="62484" y="0"/>
                  </a:cubicBezTo>
                  <a:cubicBezTo>
                    <a:pt x="97121" y="-84"/>
                    <a:pt x="125265" y="27923"/>
                    <a:pt x="125349" y="62560"/>
                  </a:cubicBezTo>
                  <a:cubicBezTo>
                    <a:pt x="125349" y="62663"/>
                    <a:pt x="125349" y="62762"/>
                    <a:pt x="125349" y="62865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50" name="图形 192"/>
          <p:cNvGrpSpPr>
            <a:grpSpLocks noChangeAspect="1"/>
          </p:cNvGrpSpPr>
          <p:nvPr/>
        </p:nvGrpSpPr>
        <p:grpSpPr>
          <a:xfrm>
            <a:off x="550863" y="3432242"/>
            <a:ext cx="720000" cy="720000"/>
            <a:chOff x="1480434" y="877724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51" name="任意形状 250"/>
            <p:cNvSpPr/>
            <p:nvPr/>
          </p:nvSpPr>
          <p:spPr>
            <a:xfrm>
              <a:off x="3371717" y="1754072"/>
              <a:ext cx="1094232" cy="3124151"/>
            </a:xfrm>
            <a:custGeom>
              <a:avLst/>
              <a:gdLst>
                <a:gd name="connsiteX0" fmla="*/ 1094232 w 1094232"/>
                <a:gd name="connsiteY0" fmla="*/ 119166 h 3124151"/>
                <a:gd name="connsiteX1" fmla="*/ 1094232 w 1094232"/>
                <a:gd name="connsiteY1" fmla="*/ 2886369 h 3124151"/>
                <a:gd name="connsiteX2" fmla="*/ 856907 w 1094232"/>
                <a:gd name="connsiteY2" fmla="*/ 3124151 h 3124151"/>
                <a:gd name="connsiteX3" fmla="*/ 856488 w 1094232"/>
                <a:gd name="connsiteY3" fmla="*/ 3124151 h 3124151"/>
                <a:gd name="connsiteX4" fmla="*/ 237744 w 1094232"/>
                <a:gd name="connsiteY4" fmla="*/ 3124151 h 3124151"/>
                <a:gd name="connsiteX5" fmla="*/ 0 w 1094232"/>
                <a:gd name="connsiteY5" fmla="*/ 2886788 h 3124151"/>
                <a:gd name="connsiteX6" fmla="*/ 0 w 1094232"/>
                <a:gd name="connsiteY6" fmla="*/ 2886407 h 3124151"/>
                <a:gd name="connsiteX7" fmla="*/ 0 w 1094232"/>
                <a:gd name="connsiteY7" fmla="*/ 119166 h 3124151"/>
                <a:gd name="connsiteX8" fmla="*/ 1094232 w 1094232"/>
                <a:gd name="connsiteY8" fmla="*/ 119166 h 312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4232" h="3124151">
                  <a:moveTo>
                    <a:pt x="1094232" y="119166"/>
                  </a:moveTo>
                  <a:lnTo>
                    <a:pt x="1094232" y="2886369"/>
                  </a:lnTo>
                  <a:cubicBezTo>
                    <a:pt x="1094358" y="3017548"/>
                    <a:pt x="988105" y="3124037"/>
                    <a:pt x="856907" y="3124151"/>
                  </a:cubicBezTo>
                  <a:cubicBezTo>
                    <a:pt x="856766" y="3124151"/>
                    <a:pt x="856629" y="3124151"/>
                    <a:pt x="856488" y="3124151"/>
                  </a:cubicBezTo>
                  <a:lnTo>
                    <a:pt x="237744" y="3124151"/>
                  </a:lnTo>
                  <a:cubicBezTo>
                    <a:pt x="106547" y="3124266"/>
                    <a:pt x="107" y="3018005"/>
                    <a:pt x="0" y="2886788"/>
                  </a:cubicBezTo>
                  <a:cubicBezTo>
                    <a:pt x="0" y="2886663"/>
                    <a:pt x="0" y="2886533"/>
                    <a:pt x="0" y="2886407"/>
                  </a:cubicBezTo>
                  <a:lnTo>
                    <a:pt x="0" y="119166"/>
                  </a:lnTo>
                  <a:cubicBezTo>
                    <a:pt x="0" y="-42378"/>
                    <a:pt x="1094232" y="-37044"/>
                    <a:pt x="1094232" y="119166"/>
                  </a:cubicBezTo>
                  <a:close/>
                </a:path>
              </a:pathLst>
            </a:custGeom>
            <a:solidFill>
              <a:srgbClr val="494D5B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52" name="任意形状 251"/>
            <p:cNvSpPr/>
            <p:nvPr/>
          </p:nvSpPr>
          <p:spPr>
            <a:xfrm>
              <a:off x="3371717" y="1754072"/>
              <a:ext cx="1094232" cy="2943138"/>
            </a:xfrm>
            <a:custGeom>
              <a:avLst/>
              <a:gdLst>
                <a:gd name="connsiteX0" fmla="*/ 1094232 w 1094232"/>
                <a:gd name="connsiteY0" fmla="*/ 119166 h 2943138"/>
                <a:gd name="connsiteX1" fmla="*/ 1094232 w 1094232"/>
                <a:gd name="connsiteY1" fmla="*/ 2705394 h 2943138"/>
                <a:gd name="connsiteX2" fmla="*/ 856869 w 1094232"/>
                <a:gd name="connsiteY2" fmla="*/ 2943138 h 2943138"/>
                <a:gd name="connsiteX3" fmla="*/ 856488 w 1094232"/>
                <a:gd name="connsiteY3" fmla="*/ 2943138 h 2943138"/>
                <a:gd name="connsiteX4" fmla="*/ 237744 w 1094232"/>
                <a:gd name="connsiteY4" fmla="*/ 2943138 h 2943138"/>
                <a:gd name="connsiteX5" fmla="*/ 0 w 1094232"/>
                <a:gd name="connsiteY5" fmla="*/ 2705775 h 2943138"/>
                <a:gd name="connsiteX6" fmla="*/ 0 w 1094232"/>
                <a:gd name="connsiteY6" fmla="*/ 2705394 h 2943138"/>
                <a:gd name="connsiteX7" fmla="*/ 0 w 1094232"/>
                <a:gd name="connsiteY7" fmla="*/ 119166 h 2943138"/>
                <a:gd name="connsiteX8" fmla="*/ 1094232 w 1094232"/>
                <a:gd name="connsiteY8" fmla="*/ 119166 h 294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4232" h="2943138">
                  <a:moveTo>
                    <a:pt x="1094232" y="119166"/>
                  </a:moveTo>
                  <a:lnTo>
                    <a:pt x="1094232" y="2705394"/>
                  </a:lnTo>
                  <a:cubicBezTo>
                    <a:pt x="1094339" y="2836592"/>
                    <a:pt x="988066" y="2943024"/>
                    <a:pt x="856869" y="2943138"/>
                  </a:cubicBezTo>
                  <a:cubicBezTo>
                    <a:pt x="856743" y="2943138"/>
                    <a:pt x="856614" y="2943138"/>
                    <a:pt x="856488" y="2943138"/>
                  </a:cubicBezTo>
                  <a:lnTo>
                    <a:pt x="237744" y="2943138"/>
                  </a:lnTo>
                  <a:cubicBezTo>
                    <a:pt x="106547" y="2943253"/>
                    <a:pt x="107" y="2836973"/>
                    <a:pt x="0" y="2705775"/>
                  </a:cubicBezTo>
                  <a:cubicBezTo>
                    <a:pt x="0" y="2705650"/>
                    <a:pt x="0" y="2705520"/>
                    <a:pt x="0" y="2705394"/>
                  </a:cubicBezTo>
                  <a:lnTo>
                    <a:pt x="0" y="119166"/>
                  </a:lnTo>
                  <a:cubicBezTo>
                    <a:pt x="0" y="-42378"/>
                    <a:pt x="1094232" y="-37044"/>
                    <a:pt x="1094232" y="119166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253" name="图形 192"/>
            <p:cNvGrpSpPr/>
            <p:nvPr/>
          </p:nvGrpSpPr>
          <p:grpSpPr>
            <a:xfrm>
              <a:off x="3516383" y="2228178"/>
              <a:ext cx="804900" cy="2297734"/>
              <a:chOff x="3516383" y="2228178"/>
              <a:chExt cx="804900" cy="2297734"/>
            </a:xfrm>
            <a:solidFill>
              <a:srgbClr val="EEEFEE"/>
            </a:solidFill>
          </p:grpSpPr>
          <p:sp>
            <p:nvSpPr>
              <p:cNvPr id="256" name="任意形状 255"/>
              <p:cNvSpPr/>
              <p:nvPr/>
            </p:nvSpPr>
            <p:spPr>
              <a:xfrm>
                <a:off x="4216356" y="4020135"/>
                <a:ext cx="104927" cy="104927"/>
              </a:xfrm>
              <a:custGeom>
                <a:avLst/>
                <a:gdLst>
                  <a:gd name="connsiteX0" fmla="*/ 104928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8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8" y="52464"/>
                    </a:moveTo>
                    <a:cubicBezTo>
                      <a:pt x="104928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8" y="23489"/>
                      <a:pt x="104928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7" name="任意形状 256"/>
              <p:cNvSpPr/>
              <p:nvPr/>
            </p:nvSpPr>
            <p:spPr>
              <a:xfrm>
                <a:off x="3983032" y="4020135"/>
                <a:ext cx="104927" cy="104927"/>
              </a:xfrm>
              <a:custGeom>
                <a:avLst/>
                <a:gdLst>
                  <a:gd name="connsiteX0" fmla="*/ 104928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8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8" y="52464"/>
                    </a:moveTo>
                    <a:cubicBezTo>
                      <a:pt x="104928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8" y="23489"/>
                      <a:pt x="104928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8" name="任意形状 257"/>
              <p:cNvSpPr/>
              <p:nvPr/>
            </p:nvSpPr>
            <p:spPr>
              <a:xfrm>
                <a:off x="3749708" y="4020135"/>
                <a:ext cx="104927" cy="104927"/>
              </a:xfrm>
              <a:custGeom>
                <a:avLst/>
                <a:gdLst>
                  <a:gd name="connsiteX0" fmla="*/ 104927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7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7" y="52464"/>
                    </a:moveTo>
                    <a:cubicBezTo>
                      <a:pt x="104927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7" y="23489"/>
                      <a:pt x="104927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9" name="任意形状 258"/>
              <p:cNvSpPr/>
              <p:nvPr/>
            </p:nvSpPr>
            <p:spPr>
              <a:xfrm>
                <a:off x="3516383" y="4020135"/>
                <a:ext cx="104927" cy="104927"/>
              </a:xfrm>
              <a:custGeom>
                <a:avLst/>
                <a:gdLst>
                  <a:gd name="connsiteX0" fmla="*/ 104927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7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7" y="52464"/>
                    </a:moveTo>
                    <a:cubicBezTo>
                      <a:pt x="104927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7" y="23489"/>
                      <a:pt x="104927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0" name="任意形状 259"/>
              <p:cNvSpPr/>
              <p:nvPr/>
            </p:nvSpPr>
            <p:spPr>
              <a:xfrm>
                <a:off x="4216356" y="4223361"/>
                <a:ext cx="104927" cy="104927"/>
              </a:xfrm>
              <a:custGeom>
                <a:avLst/>
                <a:gdLst>
                  <a:gd name="connsiteX0" fmla="*/ 104928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8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8" y="52464"/>
                    </a:moveTo>
                    <a:cubicBezTo>
                      <a:pt x="104928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8" y="23489"/>
                      <a:pt x="104928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1" name="任意形状 260"/>
              <p:cNvSpPr/>
              <p:nvPr/>
            </p:nvSpPr>
            <p:spPr>
              <a:xfrm>
                <a:off x="3983032" y="4223361"/>
                <a:ext cx="104927" cy="104927"/>
              </a:xfrm>
              <a:custGeom>
                <a:avLst/>
                <a:gdLst>
                  <a:gd name="connsiteX0" fmla="*/ 104928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8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8" y="52464"/>
                    </a:moveTo>
                    <a:cubicBezTo>
                      <a:pt x="104928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8" y="23489"/>
                      <a:pt x="104928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2" name="任意形状 261"/>
              <p:cNvSpPr/>
              <p:nvPr/>
            </p:nvSpPr>
            <p:spPr>
              <a:xfrm>
                <a:off x="3749708" y="4223361"/>
                <a:ext cx="104927" cy="104927"/>
              </a:xfrm>
              <a:custGeom>
                <a:avLst/>
                <a:gdLst>
                  <a:gd name="connsiteX0" fmla="*/ 104927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7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7" y="52464"/>
                    </a:moveTo>
                    <a:cubicBezTo>
                      <a:pt x="104927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7" y="23489"/>
                      <a:pt x="104927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3" name="任意形状 262"/>
              <p:cNvSpPr/>
              <p:nvPr/>
            </p:nvSpPr>
            <p:spPr>
              <a:xfrm>
                <a:off x="3516383" y="4223361"/>
                <a:ext cx="104927" cy="104927"/>
              </a:xfrm>
              <a:custGeom>
                <a:avLst/>
                <a:gdLst>
                  <a:gd name="connsiteX0" fmla="*/ 104927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7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7" y="52464"/>
                    </a:moveTo>
                    <a:cubicBezTo>
                      <a:pt x="104927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7" y="23489"/>
                      <a:pt x="104927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4" name="任意形状 263"/>
              <p:cNvSpPr/>
              <p:nvPr/>
            </p:nvSpPr>
            <p:spPr>
              <a:xfrm>
                <a:off x="4216356" y="4420985"/>
                <a:ext cx="104927" cy="104927"/>
              </a:xfrm>
              <a:custGeom>
                <a:avLst/>
                <a:gdLst>
                  <a:gd name="connsiteX0" fmla="*/ 104928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8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8" y="52464"/>
                    </a:moveTo>
                    <a:cubicBezTo>
                      <a:pt x="104928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8" y="23489"/>
                      <a:pt x="104928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5" name="任意形状 264"/>
              <p:cNvSpPr/>
              <p:nvPr/>
            </p:nvSpPr>
            <p:spPr>
              <a:xfrm>
                <a:off x="3983032" y="4420985"/>
                <a:ext cx="104927" cy="104927"/>
              </a:xfrm>
              <a:custGeom>
                <a:avLst/>
                <a:gdLst>
                  <a:gd name="connsiteX0" fmla="*/ 104928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8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8" y="52464"/>
                    </a:moveTo>
                    <a:cubicBezTo>
                      <a:pt x="104928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8" y="23489"/>
                      <a:pt x="104928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6" name="任意形状 265"/>
              <p:cNvSpPr/>
              <p:nvPr/>
            </p:nvSpPr>
            <p:spPr>
              <a:xfrm>
                <a:off x="3749708" y="4420985"/>
                <a:ext cx="104927" cy="104927"/>
              </a:xfrm>
              <a:custGeom>
                <a:avLst/>
                <a:gdLst>
                  <a:gd name="connsiteX0" fmla="*/ 104927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7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7" y="52464"/>
                    </a:moveTo>
                    <a:cubicBezTo>
                      <a:pt x="104927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7" y="23489"/>
                      <a:pt x="104927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7" name="任意形状 266"/>
              <p:cNvSpPr/>
              <p:nvPr/>
            </p:nvSpPr>
            <p:spPr>
              <a:xfrm>
                <a:off x="3516383" y="4420985"/>
                <a:ext cx="104927" cy="104927"/>
              </a:xfrm>
              <a:custGeom>
                <a:avLst/>
                <a:gdLst>
                  <a:gd name="connsiteX0" fmla="*/ 104927 w 104927"/>
                  <a:gd name="connsiteY0" fmla="*/ 52464 h 104927"/>
                  <a:gd name="connsiteX1" fmla="*/ 52464 w 104927"/>
                  <a:gd name="connsiteY1" fmla="*/ 104927 h 104927"/>
                  <a:gd name="connsiteX2" fmla="*/ 0 w 104927"/>
                  <a:gd name="connsiteY2" fmla="*/ 52464 h 104927"/>
                  <a:gd name="connsiteX3" fmla="*/ 52464 w 104927"/>
                  <a:gd name="connsiteY3" fmla="*/ 0 h 104927"/>
                  <a:gd name="connsiteX4" fmla="*/ 104927 w 104927"/>
                  <a:gd name="connsiteY4" fmla="*/ 52464 h 104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927" h="104927">
                    <a:moveTo>
                      <a:pt x="104927" y="52464"/>
                    </a:moveTo>
                    <a:cubicBezTo>
                      <a:pt x="104927" y="81439"/>
                      <a:pt x="81439" y="104927"/>
                      <a:pt x="52464" y="104927"/>
                    </a:cubicBezTo>
                    <a:cubicBezTo>
                      <a:pt x="23489" y="104927"/>
                      <a:pt x="0" y="81439"/>
                      <a:pt x="0" y="52464"/>
                    </a:cubicBezTo>
                    <a:cubicBezTo>
                      <a:pt x="0" y="23489"/>
                      <a:pt x="23489" y="0"/>
                      <a:pt x="52464" y="0"/>
                    </a:cubicBezTo>
                    <a:cubicBezTo>
                      <a:pt x="81439" y="0"/>
                      <a:pt x="104927" y="23489"/>
                      <a:pt x="104927" y="52464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8" name="任意形状 267"/>
              <p:cNvSpPr/>
              <p:nvPr/>
            </p:nvSpPr>
            <p:spPr>
              <a:xfrm>
                <a:off x="3565147" y="3155151"/>
                <a:ext cx="707088" cy="706893"/>
              </a:xfrm>
              <a:custGeom>
                <a:avLst/>
                <a:gdLst>
                  <a:gd name="connsiteX0" fmla="*/ 628006 w 707088"/>
                  <a:gd name="connsiteY0" fmla="*/ 130493 h 706893"/>
                  <a:gd name="connsiteX1" fmla="*/ 537328 w 707088"/>
                  <a:gd name="connsiteY1" fmla="*/ 221171 h 706893"/>
                  <a:gd name="connsiteX2" fmla="*/ 521250 w 707088"/>
                  <a:gd name="connsiteY2" fmla="*/ 505549 h 706893"/>
                  <a:gd name="connsiteX3" fmla="*/ 521250 w 707088"/>
                  <a:gd name="connsiteY3" fmla="*/ 505778 h 706893"/>
                  <a:gd name="connsiteX4" fmla="*/ 611357 w 707088"/>
                  <a:gd name="connsiteY4" fmla="*/ 595313 h 706893"/>
                  <a:gd name="connsiteX5" fmla="*/ 628006 w 707088"/>
                  <a:gd name="connsiteY5" fmla="*/ 130493 h 706893"/>
                  <a:gd name="connsiteX6" fmla="*/ 353686 w 707088"/>
                  <a:gd name="connsiteY6" fmla="*/ 580073 h 706893"/>
                  <a:gd name="connsiteX7" fmla="*/ 221441 w 707088"/>
                  <a:gd name="connsiteY7" fmla="*/ 537096 h 706893"/>
                  <a:gd name="connsiteX8" fmla="*/ 130763 w 707088"/>
                  <a:gd name="connsiteY8" fmla="*/ 627545 h 706893"/>
                  <a:gd name="connsiteX9" fmla="*/ 576914 w 707088"/>
                  <a:gd name="connsiteY9" fmla="*/ 627774 h 706893"/>
                  <a:gd name="connsiteX10" fmla="*/ 486236 w 707088"/>
                  <a:gd name="connsiteY10" fmla="*/ 537096 h 706893"/>
                  <a:gd name="connsiteX11" fmla="*/ 353686 w 707088"/>
                  <a:gd name="connsiteY11" fmla="*/ 580073 h 706893"/>
                  <a:gd name="connsiteX12" fmla="*/ 353686 w 707088"/>
                  <a:gd name="connsiteY12" fmla="*/ 0 h 706893"/>
                  <a:gd name="connsiteX13" fmla="*/ 111827 w 707088"/>
                  <a:gd name="connsiteY13" fmla="*/ 95898 h 706893"/>
                  <a:gd name="connsiteX14" fmla="*/ 201591 w 707088"/>
                  <a:gd name="connsiteY14" fmla="*/ 185890 h 706893"/>
                  <a:gd name="connsiteX15" fmla="*/ 201820 w 707088"/>
                  <a:gd name="connsiteY15" fmla="*/ 185890 h 706893"/>
                  <a:gd name="connsiteX16" fmla="*/ 505781 w 707088"/>
                  <a:gd name="connsiteY16" fmla="*/ 185662 h 706893"/>
                  <a:gd name="connsiteX17" fmla="*/ 595774 w 707088"/>
                  <a:gd name="connsiteY17" fmla="*/ 95669 h 706893"/>
                  <a:gd name="connsiteX18" fmla="*/ 353686 w 707088"/>
                  <a:gd name="connsiteY18" fmla="*/ 38 h 706893"/>
                  <a:gd name="connsiteX19" fmla="*/ 127410 w 707088"/>
                  <a:gd name="connsiteY19" fmla="*/ 353378 h 706893"/>
                  <a:gd name="connsiteX20" fmla="*/ 170158 w 707088"/>
                  <a:gd name="connsiteY20" fmla="*/ 221095 h 706893"/>
                  <a:gd name="connsiteX21" fmla="*/ 79366 w 707088"/>
                  <a:gd name="connsiteY21" fmla="*/ 130493 h 706893"/>
                  <a:gd name="connsiteX22" fmla="*/ 96130 w 707088"/>
                  <a:gd name="connsiteY22" fmla="*/ 595541 h 706893"/>
                  <a:gd name="connsiteX23" fmla="*/ 186046 w 707088"/>
                  <a:gd name="connsiteY23" fmla="*/ 505473 h 706893"/>
                  <a:gd name="connsiteX24" fmla="*/ 127410 w 707088"/>
                  <a:gd name="connsiteY24" fmla="*/ 353378 h 706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707088" h="706893">
                    <a:moveTo>
                      <a:pt x="628006" y="130493"/>
                    </a:moveTo>
                    <a:lnTo>
                      <a:pt x="537328" y="221171"/>
                    </a:lnTo>
                    <a:cubicBezTo>
                      <a:pt x="599877" y="307844"/>
                      <a:pt x="593168" y="426480"/>
                      <a:pt x="521250" y="505549"/>
                    </a:cubicBezTo>
                    <a:lnTo>
                      <a:pt x="521250" y="505778"/>
                    </a:lnTo>
                    <a:lnTo>
                      <a:pt x="611357" y="595313"/>
                    </a:lnTo>
                    <a:cubicBezTo>
                      <a:pt x="732366" y="466337"/>
                      <a:pt x="739476" y="267794"/>
                      <a:pt x="628006" y="130493"/>
                    </a:cubicBezTo>
                    <a:close/>
                    <a:moveTo>
                      <a:pt x="353686" y="580073"/>
                    </a:moveTo>
                    <a:cubicBezTo>
                      <a:pt x="306172" y="580084"/>
                      <a:pt x="259873" y="565039"/>
                      <a:pt x="221441" y="537096"/>
                    </a:cubicBezTo>
                    <a:lnTo>
                      <a:pt x="130763" y="627545"/>
                    </a:lnTo>
                    <a:cubicBezTo>
                      <a:pt x="260665" y="733258"/>
                      <a:pt x="446906" y="733353"/>
                      <a:pt x="576914" y="627774"/>
                    </a:cubicBezTo>
                    <a:lnTo>
                      <a:pt x="486236" y="537096"/>
                    </a:lnTo>
                    <a:cubicBezTo>
                      <a:pt x="447683" y="565027"/>
                      <a:pt x="401292" y="580069"/>
                      <a:pt x="353686" y="580073"/>
                    </a:cubicBezTo>
                    <a:close/>
                    <a:moveTo>
                      <a:pt x="353686" y="0"/>
                    </a:moveTo>
                    <a:cubicBezTo>
                      <a:pt x="263774" y="-114"/>
                      <a:pt x="177230" y="34203"/>
                      <a:pt x="111827" y="95898"/>
                    </a:cubicBezTo>
                    <a:lnTo>
                      <a:pt x="201591" y="185890"/>
                    </a:lnTo>
                    <a:lnTo>
                      <a:pt x="201820" y="185890"/>
                    </a:lnTo>
                    <a:cubicBezTo>
                      <a:pt x="287853" y="107267"/>
                      <a:pt x="419630" y="107168"/>
                      <a:pt x="505781" y="185662"/>
                    </a:cubicBezTo>
                    <a:lnTo>
                      <a:pt x="595774" y="95669"/>
                    </a:lnTo>
                    <a:cubicBezTo>
                      <a:pt x="530215" y="34104"/>
                      <a:pt x="443621" y="-103"/>
                      <a:pt x="353686" y="38"/>
                    </a:cubicBezTo>
                    <a:close/>
                    <a:moveTo>
                      <a:pt x="127410" y="353378"/>
                    </a:moveTo>
                    <a:cubicBezTo>
                      <a:pt x="127418" y="305890"/>
                      <a:pt x="142376" y="259606"/>
                      <a:pt x="170158" y="221095"/>
                    </a:cubicBezTo>
                    <a:lnTo>
                      <a:pt x="79366" y="130493"/>
                    </a:lnTo>
                    <a:cubicBezTo>
                      <a:pt x="-32530" y="267755"/>
                      <a:pt x="-25355" y="466691"/>
                      <a:pt x="96130" y="595541"/>
                    </a:cubicBezTo>
                    <a:lnTo>
                      <a:pt x="186046" y="505473"/>
                    </a:lnTo>
                    <a:cubicBezTo>
                      <a:pt x="148343" y="463784"/>
                      <a:pt x="127452" y="409587"/>
                      <a:pt x="127410" y="353378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69" name="任意形状 268"/>
              <p:cNvSpPr/>
              <p:nvPr/>
            </p:nvSpPr>
            <p:spPr>
              <a:xfrm>
                <a:off x="3832308" y="3422003"/>
                <a:ext cx="173202" cy="173202"/>
              </a:xfrm>
              <a:custGeom>
                <a:avLst/>
                <a:gdLst>
                  <a:gd name="connsiteX0" fmla="*/ 173203 w 173202"/>
                  <a:gd name="connsiteY0" fmla="*/ 86601 h 173202"/>
                  <a:gd name="connsiteX1" fmla="*/ 86601 w 173202"/>
                  <a:gd name="connsiteY1" fmla="*/ 173203 h 173202"/>
                  <a:gd name="connsiteX2" fmla="*/ 0 w 173202"/>
                  <a:gd name="connsiteY2" fmla="*/ 86601 h 173202"/>
                  <a:gd name="connsiteX3" fmla="*/ 86601 w 173202"/>
                  <a:gd name="connsiteY3" fmla="*/ 0 h 173202"/>
                  <a:gd name="connsiteX4" fmla="*/ 173203 w 173202"/>
                  <a:gd name="connsiteY4" fmla="*/ 86601 h 17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202" h="173202">
                    <a:moveTo>
                      <a:pt x="173203" y="86601"/>
                    </a:moveTo>
                    <a:cubicBezTo>
                      <a:pt x="173203" y="134430"/>
                      <a:pt x="134430" y="173203"/>
                      <a:pt x="86601" y="173203"/>
                    </a:cubicBezTo>
                    <a:cubicBezTo>
                      <a:pt x="38773" y="173203"/>
                      <a:pt x="0" y="134430"/>
                      <a:pt x="0" y="86601"/>
                    </a:cubicBezTo>
                    <a:cubicBezTo>
                      <a:pt x="0" y="38773"/>
                      <a:pt x="38773" y="0"/>
                      <a:pt x="86601" y="0"/>
                    </a:cubicBezTo>
                    <a:cubicBezTo>
                      <a:pt x="134430" y="0"/>
                      <a:pt x="173203" y="38773"/>
                      <a:pt x="173203" y="86601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0" name="任意形状 269"/>
              <p:cNvSpPr/>
              <p:nvPr/>
            </p:nvSpPr>
            <p:spPr>
              <a:xfrm>
                <a:off x="3525680" y="2228178"/>
                <a:ext cx="196710" cy="98336"/>
              </a:xfrm>
              <a:custGeom>
                <a:avLst/>
                <a:gdLst>
                  <a:gd name="connsiteX0" fmla="*/ 163678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8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8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8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1" name="任意形状 270"/>
              <p:cNvSpPr/>
              <p:nvPr/>
            </p:nvSpPr>
            <p:spPr>
              <a:xfrm>
                <a:off x="3820497" y="2228178"/>
                <a:ext cx="196710" cy="98336"/>
              </a:xfrm>
              <a:custGeom>
                <a:avLst/>
                <a:gdLst>
                  <a:gd name="connsiteX0" fmla="*/ 163677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7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7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7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2" name="任意形状 271"/>
              <p:cNvSpPr/>
              <p:nvPr/>
            </p:nvSpPr>
            <p:spPr>
              <a:xfrm>
                <a:off x="4115277" y="2228178"/>
                <a:ext cx="196710" cy="98336"/>
              </a:xfrm>
              <a:custGeom>
                <a:avLst/>
                <a:gdLst>
                  <a:gd name="connsiteX0" fmla="*/ 163678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8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8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8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3" name="任意形状 272"/>
              <p:cNvSpPr/>
              <p:nvPr/>
            </p:nvSpPr>
            <p:spPr>
              <a:xfrm>
                <a:off x="3525680" y="2441043"/>
                <a:ext cx="196710" cy="98336"/>
              </a:xfrm>
              <a:custGeom>
                <a:avLst/>
                <a:gdLst>
                  <a:gd name="connsiteX0" fmla="*/ 163678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8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8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8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4" name="任意形状 273"/>
              <p:cNvSpPr/>
              <p:nvPr/>
            </p:nvSpPr>
            <p:spPr>
              <a:xfrm>
                <a:off x="3820497" y="2441043"/>
                <a:ext cx="196710" cy="98336"/>
              </a:xfrm>
              <a:custGeom>
                <a:avLst/>
                <a:gdLst>
                  <a:gd name="connsiteX0" fmla="*/ 163677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7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7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7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5" name="任意形状 274"/>
              <p:cNvSpPr/>
              <p:nvPr/>
            </p:nvSpPr>
            <p:spPr>
              <a:xfrm>
                <a:off x="4115277" y="2441043"/>
                <a:ext cx="196710" cy="98336"/>
              </a:xfrm>
              <a:custGeom>
                <a:avLst/>
                <a:gdLst>
                  <a:gd name="connsiteX0" fmla="*/ 163678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8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8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8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6" name="任意形状 275"/>
              <p:cNvSpPr/>
              <p:nvPr/>
            </p:nvSpPr>
            <p:spPr>
              <a:xfrm>
                <a:off x="3525680" y="2653869"/>
                <a:ext cx="196710" cy="98336"/>
              </a:xfrm>
              <a:custGeom>
                <a:avLst/>
                <a:gdLst>
                  <a:gd name="connsiteX0" fmla="*/ 163678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8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8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8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7" name="任意形状 276"/>
              <p:cNvSpPr/>
              <p:nvPr/>
            </p:nvSpPr>
            <p:spPr>
              <a:xfrm>
                <a:off x="3820497" y="2653869"/>
                <a:ext cx="196710" cy="98336"/>
              </a:xfrm>
              <a:custGeom>
                <a:avLst/>
                <a:gdLst>
                  <a:gd name="connsiteX0" fmla="*/ 163677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7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7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7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8" name="任意形状 277"/>
              <p:cNvSpPr/>
              <p:nvPr/>
            </p:nvSpPr>
            <p:spPr>
              <a:xfrm>
                <a:off x="4115277" y="2653869"/>
                <a:ext cx="196710" cy="98336"/>
              </a:xfrm>
              <a:custGeom>
                <a:avLst/>
                <a:gdLst>
                  <a:gd name="connsiteX0" fmla="*/ 163678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8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8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8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9" name="任意形状 278"/>
              <p:cNvSpPr/>
              <p:nvPr/>
            </p:nvSpPr>
            <p:spPr>
              <a:xfrm>
                <a:off x="3525680" y="2866734"/>
                <a:ext cx="196710" cy="98336"/>
              </a:xfrm>
              <a:custGeom>
                <a:avLst/>
                <a:gdLst>
                  <a:gd name="connsiteX0" fmla="*/ 163678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8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8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8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80" name="任意形状 279"/>
              <p:cNvSpPr/>
              <p:nvPr/>
            </p:nvSpPr>
            <p:spPr>
              <a:xfrm>
                <a:off x="3820497" y="2866734"/>
                <a:ext cx="196710" cy="98336"/>
              </a:xfrm>
              <a:custGeom>
                <a:avLst/>
                <a:gdLst>
                  <a:gd name="connsiteX0" fmla="*/ 163677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7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7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7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81" name="任意形状 280"/>
              <p:cNvSpPr/>
              <p:nvPr/>
            </p:nvSpPr>
            <p:spPr>
              <a:xfrm>
                <a:off x="4115277" y="2866734"/>
                <a:ext cx="196710" cy="98336"/>
              </a:xfrm>
              <a:custGeom>
                <a:avLst/>
                <a:gdLst>
                  <a:gd name="connsiteX0" fmla="*/ 163678 w 196710"/>
                  <a:gd name="connsiteY0" fmla="*/ 0 h 98336"/>
                  <a:gd name="connsiteX1" fmla="*/ 196710 w 196710"/>
                  <a:gd name="connsiteY1" fmla="*/ 0 h 98336"/>
                  <a:gd name="connsiteX2" fmla="*/ 196710 w 196710"/>
                  <a:gd name="connsiteY2" fmla="*/ 98336 h 98336"/>
                  <a:gd name="connsiteX3" fmla="*/ 163678 w 196710"/>
                  <a:gd name="connsiteY3" fmla="*/ 98336 h 98336"/>
                  <a:gd name="connsiteX4" fmla="*/ 33033 w 196710"/>
                  <a:gd name="connsiteY4" fmla="*/ 98336 h 98336"/>
                  <a:gd name="connsiteX5" fmla="*/ 0 w 196710"/>
                  <a:gd name="connsiteY5" fmla="*/ 98336 h 98336"/>
                  <a:gd name="connsiteX6" fmla="*/ 0 w 196710"/>
                  <a:gd name="connsiteY6" fmla="*/ 0 h 98336"/>
                  <a:gd name="connsiteX7" fmla="*/ 33033 w 196710"/>
                  <a:gd name="connsiteY7" fmla="*/ 0 h 9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10" h="98336">
                    <a:moveTo>
                      <a:pt x="163678" y="0"/>
                    </a:moveTo>
                    <a:cubicBezTo>
                      <a:pt x="181921" y="0"/>
                      <a:pt x="196710" y="0"/>
                      <a:pt x="196710" y="0"/>
                    </a:cubicBezTo>
                    <a:lnTo>
                      <a:pt x="196710" y="98336"/>
                    </a:lnTo>
                    <a:cubicBezTo>
                      <a:pt x="196710" y="98336"/>
                      <a:pt x="181921" y="98336"/>
                      <a:pt x="163678" y="98336"/>
                    </a:cubicBezTo>
                    <a:lnTo>
                      <a:pt x="33033" y="98336"/>
                    </a:lnTo>
                    <a:cubicBezTo>
                      <a:pt x="14789" y="98336"/>
                      <a:pt x="0" y="98336"/>
                      <a:pt x="0" y="98336"/>
                    </a:cubicBezTo>
                    <a:lnTo>
                      <a:pt x="0" y="0"/>
                    </a:lnTo>
                    <a:cubicBezTo>
                      <a:pt x="0" y="0"/>
                      <a:pt x="14789" y="0"/>
                      <a:pt x="33033" y="0"/>
                    </a:cubicBez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54" name="任意形状 253"/>
            <p:cNvSpPr/>
            <p:nvPr/>
          </p:nvSpPr>
          <p:spPr>
            <a:xfrm>
              <a:off x="3517564" y="1924597"/>
              <a:ext cx="238201" cy="127825"/>
            </a:xfrm>
            <a:custGeom>
              <a:avLst/>
              <a:gdLst>
                <a:gd name="connsiteX0" fmla="*/ 205169 w 238201"/>
                <a:gd name="connsiteY0" fmla="*/ 0 h 127825"/>
                <a:gd name="connsiteX1" fmla="*/ 238201 w 238201"/>
                <a:gd name="connsiteY1" fmla="*/ 0 h 127825"/>
                <a:gd name="connsiteX2" fmla="*/ 238201 w 238201"/>
                <a:gd name="connsiteY2" fmla="*/ 127825 h 127825"/>
                <a:gd name="connsiteX3" fmla="*/ 205169 w 238201"/>
                <a:gd name="connsiteY3" fmla="*/ 127825 h 127825"/>
                <a:gd name="connsiteX4" fmla="*/ 33033 w 238201"/>
                <a:gd name="connsiteY4" fmla="*/ 127825 h 127825"/>
                <a:gd name="connsiteX5" fmla="*/ 0 w 238201"/>
                <a:gd name="connsiteY5" fmla="*/ 127825 h 127825"/>
                <a:gd name="connsiteX6" fmla="*/ 0 w 238201"/>
                <a:gd name="connsiteY6" fmla="*/ 0 h 127825"/>
                <a:gd name="connsiteX7" fmla="*/ 33033 w 238201"/>
                <a:gd name="connsiteY7" fmla="*/ 0 h 127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201" h="127825">
                  <a:moveTo>
                    <a:pt x="205169" y="0"/>
                  </a:moveTo>
                  <a:cubicBezTo>
                    <a:pt x="223412" y="0"/>
                    <a:pt x="238201" y="0"/>
                    <a:pt x="238201" y="0"/>
                  </a:cubicBezTo>
                  <a:lnTo>
                    <a:pt x="238201" y="127825"/>
                  </a:lnTo>
                  <a:cubicBezTo>
                    <a:pt x="238201" y="127825"/>
                    <a:pt x="223412" y="127825"/>
                    <a:pt x="205169" y="127825"/>
                  </a:cubicBezTo>
                  <a:lnTo>
                    <a:pt x="33033" y="127825"/>
                  </a:lnTo>
                  <a:cubicBezTo>
                    <a:pt x="14789" y="127825"/>
                    <a:pt x="0" y="127825"/>
                    <a:pt x="0" y="127825"/>
                  </a:cubicBezTo>
                  <a:lnTo>
                    <a:pt x="0" y="0"/>
                  </a:lnTo>
                  <a:cubicBezTo>
                    <a:pt x="0" y="0"/>
                    <a:pt x="14789" y="0"/>
                    <a:pt x="33033" y="0"/>
                  </a:cubicBezTo>
                  <a:close/>
                </a:path>
              </a:pathLst>
            </a:custGeom>
            <a:solidFill>
              <a:srgbClr val="EF526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55" name="任意形状 254"/>
            <p:cNvSpPr/>
            <p:nvPr/>
          </p:nvSpPr>
          <p:spPr>
            <a:xfrm>
              <a:off x="4073786" y="1924597"/>
              <a:ext cx="238201" cy="127825"/>
            </a:xfrm>
            <a:custGeom>
              <a:avLst/>
              <a:gdLst>
                <a:gd name="connsiteX0" fmla="*/ 205169 w 238201"/>
                <a:gd name="connsiteY0" fmla="*/ 0 h 127825"/>
                <a:gd name="connsiteX1" fmla="*/ 238201 w 238201"/>
                <a:gd name="connsiteY1" fmla="*/ 0 h 127825"/>
                <a:gd name="connsiteX2" fmla="*/ 238201 w 238201"/>
                <a:gd name="connsiteY2" fmla="*/ 127825 h 127825"/>
                <a:gd name="connsiteX3" fmla="*/ 205169 w 238201"/>
                <a:gd name="connsiteY3" fmla="*/ 127825 h 127825"/>
                <a:gd name="connsiteX4" fmla="*/ 33033 w 238201"/>
                <a:gd name="connsiteY4" fmla="*/ 127825 h 127825"/>
                <a:gd name="connsiteX5" fmla="*/ 0 w 238201"/>
                <a:gd name="connsiteY5" fmla="*/ 127825 h 127825"/>
                <a:gd name="connsiteX6" fmla="*/ 0 w 238201"/>
                <a:gd name="connsiteY6" fmla="*/ 0 h 127825"/>
                <a:gd name="connsiteX7" fmla="*/ 33033 w 238201"/>
                <a:gd name="connsiteY7" fmla="*/ 0 h 127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201" h="127825">
                  <a:moveTo>
                    <a:pt x="205169" y="0"/>
                  </a:moveTo>
                  <a:cubicBezTo>
                    <a:pt x="223412" y="0"/>
                    <a:pt x="238201" y="0"/>
                    <a:pt x="238201" y="0"/>
                  </a:cubicBezTo>
                  <a:lnTo>
                    <a:pt x="238201" y="127825"/>
                  </a:lnTo>
                  <a:cubicBezTo>
                    <a:pt x="238201" y="127825"/>
                    <a:pt x="223412" y="127825"/>
                    <a:pt x="205169" y="127825"/>
                  </a:cubicBezTo>
                  <a:lnTo>
                    <a:pt x="33033" y="127825"/>
                  </a:lnTo>
                  <a:cubicBezTo>
                    <a:pt x="14790" y="127825"/>
                    <a:pt x="0" y="127825"/>
                    <a:pt x="0" y="127825"/>
                  </a:cubicBezTo>
                  <a:lnTo>
                    <a:pt x="0" y="0"/>
                  </a:lnTo>
                  <a:cubicBezTo>
                    <a:pt x="0" y="0"/>
                    <a:pt x="14790" y="0"/>
                    <a:pt x="33033" y="0"/>
                  </a:cubicBezTo>
                  <a:close/>
                </a:path>
              </a:pathLst>
            </a:custGeom>
            <a:solidFill>
              <a:srgbClr val="2CBFA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82" name="图形 199"/>
          <p:cNvGrpSpPr>
            <a:grpSpLocks noChangeAspect="1"/>
          </p:cNvGrpSpPr>
          <p:nvPr/>
        </p:nvGrpSpPr>
        <p:grpSpPr>
          <a:xfrm>
            <a:off x="2651421" y="3125963"/>
            <a:ext cx="720000" cy="720000"/>
            <a:chOff x="5890580" y="-2767124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83" name="任意形状 282"/>
            <p:cNvSpPr/>
            <p:nvPr/>
          </p:nvSpPr>
          <p:spPr>
            <a:xfrm>
              <a:off x="7848920" y="-1431985"/>
              <a:ext cx="960119" cy="912266"/>
            </a:xfrm>
            <a:custGeom>
              <a:avLst/>
              <a:gdLst>
                <a:gd name="connsiteX0" fmla="*/ 0 w 960119"/>
                <a:gd name="connsiteY0" fmla="*/ 820827 h 912266"/>
                <a:gd name="connsiteX1" fmla="*/ 0 w 960119"/>
                <a:gd name="connsiteY1" fmla="*/ 45720 h 912266"/>
                <a:gd name="connsiteX2" fmla="*/ 45720 w 960119"/>
                <a:gd name="connsiteY2" fmla="*/ 0 h 912266"/>
                <a:gd name="connsiteX3" fmla="*/ 914400 w 960119"/>
                <a:gd name="connsiteY3" fmla="*/ 0 h 912266"/>
                <a:gd name="connsiteX4" fmla="*/ 960120 w 960119"/>
                <a:gd name="connsiteY4" fmla="*/ 45720 h 912266"/>
                <a:gd name="connsiteX5" fmla="*/ 960120 w 960119"/>
                <a:gd name="connsiteY5" fmla="*/ 820827 h 912266"/>
                <a:gd name="connsiteX6" fmla="*/ 881901 w 960119"/>
                <a:gd name="connsiteY6" fmla="*/ 912266 h 912266"/>
                <a:gd name="connsiteX7" fmla="*/ 371742 w 960119"/>
                <a:gd name="connsiteY7" fmla="*/ 912266 h 912266"/>
                <a:gd name="connsiteX8" fmla="*/ 0 w 960119"/>
                <a:gd name="connsiteY8" fmla="*/ 883768 h 91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119" h="912266">
                  <a:moveTo>
                    <a:pt x="0" y="820827"/>
                  </a:moveTo>
                  <a:lnTo>
                    <a:pt x="0" y="45720"/>
                  </a:lnTo>
                  <a:cubicBezTo>
                    <a:pt x="0" y="20471"/>
                    <a:pt x="20471" y="0"/>
                    <a:pt x="45720" y="0"/>
                  </a:cubicBezTo>
                  <a:lnTo>
                    <a:pt x="914400" y="0"/>
                  </a:lnTo>
                  <a:cubicBezTo>
                    <a:pt x="939649" y="0"/>
                    <a:pt x="960120" y="20471"/>
                    <a:pt x="960120" y="45720"/>
                  </a:cubicBezTo>
                  <a:lnTo>
                    <a:pt x="960120" y="820827"/>
                  </a:lnTo>
                  <a:lnTo>
                    <a:pt x="881901" y="912266"/>
                  </a:lnTo>
                  <a:lnTo>
                    <a:pt x="371742" y="912266"/>
                  </a:lnTo>
                  <a:lnTo>
                    <a:pt x="0" y="883768"/>
                  </a:ln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84" name="任意形状 283"/>
            <p:cNvSpPr/>
            <p:nvPr/>
          </p:nvSpPr>
          <p:spPr>
            <a:xfrm>
              <a:off x="6854167" y="599620"/>
              <a:ext cx="2949511" cy="174955"/>
            </a:xfrm>
            <a:custGeom>
              <a:avLst/>
              <a:gdLst>
                <a:gd name="connsiteX0" fmla="*/ 2949512 w 2949511"/>
                <a:gd name="connsiteY0" fmla="*/ 0 h 174955"/>
                <a:gd name="connsiteX1" fmla="*/ 2949512 w 2949511"/>
                <a:gd name="connsiteY1" fmla="*/ 129235 h 174955"/>
                <a:gd name="connsiteX2" fmla="*/ 2903791 w 2949511"/>
                <a:gd name="connsiteY2" fmla="*/ 174955 h 174955"/>
                <a:gd name="connsiteX3" fmla="*/ 45720 w 2949511"/>
                <a:gd name="connsiteY3" fmla="*/ 174955 h 174955"/>
                <a:gd name="connsiteX4" fmla="*/ 0 w 2949511"/>
                <a:gd name="connsiteY4" fmla="*/ 129235 h 174955"/>
                <a:gd name="connsiteX5" fmla="*/ 0 w 2949511"/>
                <a:gd name="connsiteY5" fmla="*/ 0 h 174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9511" h="174955">
                  <a:moveTo>
                    <a:pt x="2949512" y="0"/>
                  </a:moveTo>
                  <a:lnTo>
                    <a:pt x="2949512" y="129235"/>
                  </a:lnTo>
                  <a:cubicBezTo>
                    <a:pt x="2949512" y="154484"/>
                    <a:pt x="2929052" y="174955"/>
                    <a:pt x="2903791" y="174955"/>
                  </a:cubicBezTo>
                  <a:lnTo>
                    <a:pt x="45720" y="174955"/>
                  </a:lnTo>
                  <a:cubicBezTo>
                    <a:pt x="20471" y="174955"/>
                    <a:pt x="0" y="154484"/>
                    <a:pt x="0" y="1292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85" name="任意形状 284"/>
            <p:cNvSpPr/>
            <p:nvPr/>
          </p:nvSpPr>
          <p:spPr>
            <a:xfrm>
              <a:off x="6766880" y="284152"/>
              <a:ext cx="3124200" cy="387781"/>
            </a:xfrm>
            <a:custGeom>
              <a:avLst/>
              <a:gdLst>
                <a:gd name="connsiteX0" fmla="*/ 0 w 3124200"/>
                <a:gd name="connsiteY0" fmla="*/ 159639 h 387781"/>
                <a:gd name="connsiteX1" fmla="*/ 0 w 3124200"/>
                <a:gd name="connsiteY1" fmla="*/ 342062 h 387781"/>
                <a:gd name="connsiteX2" fmla="*/ 45720 w 3124200"/>
                <a:gd name="connsiteY2" fmla="*/ 387782 h 387781"/>
                <a:gd name="connsiteX3" fmla="*/ 3078480 w 3124200"/>
                <a:gd name="connsiteY3" fmla="*/ 387782 h 387781"/>
                <a:gd name="connsiteX4" fmla="*/ 3124200 w 3124200"/>
                <a:gd name="connsiteY4" fmla="*/ 342062 h 387781"/>
                <a:gd name="connsiteX5" fmla="*/ 3124200 w 3124200"/>
                <a:gd name="connsiteY5" fmla="*/ 159639 h 387781"/>
                <a:gd name="connsiteX6" fmla="*/ 2793530 w 3124200"/>
                <a:gd name="connsiteY6" fmla="*/ 108318 h 387781"/>
                <a:gd name="connsiteX7" fmla="*/ 2098015 w 3124200"/>
                <a:gd name="connsiteY7" fmla="*/ 48463 h 387781"/>
                <a:gd name="connsiteX8" fmla="*/ 641375 w 3124200"/>
                <a:gd name="connsiteY8" fmla="*/ 0 h 387781"/>
                <a:gd name="connsiteX9" fmla="*/ 156781 w 3124200"/>
                <a:gd name="connsiteY9" fmla="*/ 102603 h 38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4200" h="387781">
                  <a:moveTo>
                    <a:pt x="0" y="159639"/>
                  </a:moveTo>
                  <a:lnTo>
                    <a:pt x="0" y="342062"/>
                  </a:lnTo>
                  <a:cubicBezTo>
                    <a:pt x="0" y="367311"/>
                    <a:pt x="20471" y="387782"/>
                    <a:pt x="45720" y="387782"/>
                  </a:cubicBezTo>
                  <a:lnTo>
                    <a:pt x="3078480" y="387782"/>
                  </a:lnTo>
                  <a:cubicBezTo>
                    <a:pt x="3103740" y="387782"/>
                    <a:pt x="3124200" y="367311"/>
                    <a:pt x="3124200" y="342062"/>
                  </a:cubicBezTo>
                  <a:lnTo>
                    <a:pt x="3124200" y="159639"/>
                  </a:lnTo>
                  <a:lnTo>
                    <a:pt x="2793530" y="108318"/>
                  </a:lnTo>
                  <a:lnTo>
                    <a:pt x="2098015" y="48463"/>
                  </a:lnTo>
                  <a:lnTo>
                    <a:pt x="641375" y="0"/>
                  </a:lnTo>
                  <a:lnTo>
                    <a:pt x="156781" y="102603"/>
                  </a:ln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86" name="任意形状 285"/>
            <p:cNvSpPr/>
            <p:nvPr/>
          </p:nvSpPr>
          <p:spPr>
            <a:xfrm>
              <a:off x="6766880" y="-610930"/>
              <a:ext cx="3124200" cy="1054722"/>
            </a:xfrm>
            <a:custGeom>
              <a:avLst/>
              <a:gdLst>
                <a:gd name="connsiteX0" fmla="*/ 2043341 w 3124200"/>
                <a:gd name="connsiteY0" fmla="*/ 0 h 1054722"/>
                <a:gd name="connsiteX1" fmla="*/ 3124200 w 3124200"/>
                <a:gd name="connsiteY1" fmla="*/ 1054722 h 1054722"/>
                <a:gd name="connsiteX2" fmla="*/ 0 w 3124200"/>
                <a:gd name="connsiteY2" fmla="*/ 1054722 h 1054722"/>
                <a:gd name="connsiteX3" fmla="*/ 1080859 w 3124200"/>
                <a:gd name="connsiteY3" fmla="*/ 0 h 105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4200" h="1054722">
                  <a:moveTo>
                    <a:pt x="2043341" y="0"/>
                  </a:moveTo>
                  <a:lnTo>
                    <a:pt x="3124200" y="1054722"/>
                  </a:lnTo>
                  <a:lnTo>
                    <a:pt x="0" y="1054722"/>
                  </a:lnTo>
                  <a:lnTo>
                    <a:pt x="1080859" y="0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87" name="任意形状 286"/>
            <p:cNvSpPr/>
            <p:nvPr/>
          </p:nvSpPr>
          <p:spPr>
            <a:xfrm>
              <a:off x="7775199" y="-83474"/>
              <a:ext cx="1107648" cy="338861"/>
            </a:xfrm>
            <a:custGeom>
              <a:avLst/>
              <a:gdLst>
                <a:gd name="connsiteX0" fmla="*/ 981110 w 1107648"/>
                <a:gd name="connsiteY0" fmla="*/ 25489 h 338861"/>
                <a:gd name="connsiteX1" fmla="*/ 1103030 w 1107648"/>
                <a:gd name="connsiteY1" fmla="*/ 273139 h 338861"/>
                <a:gd name="connsiteX2" fmla="*/ 1081922 w 1107648"/>
                <a:gd name="connsiteY2" fmla="*/ 334255 h 338861"/>
                <a:gd name="connsiteX3" fmla="*/ 1062111 w 1107648"/>
                <a:gd name="connsiteY3" fmla="*/ 338862 h 338861"/>
                <a:gd name="connsiteX4" fmla="*/ 45526 w 1107648"/>
                <a:gd name="connsiteY4" fmla="*/ 338862 h 338861"/>
                <a:gd name="connsiteX5" fmla="*/ 0 w 1107648"/>
                <a:gd name="connsiteY5" fmla="*/ 292951 h 338861"/>
                <a:gd name="connsiteX6" fmla="*/ 4607 w 1107648"/>
                <a:gd name="connsiteY6" fmla="*/ 273139 h 338861"/>
                <a:gd name="connsiteX7" fmla="*/ 126527 w 1107648"/>
                <a:gd name="connsiteY7" fmla="*/ 25489 h 338861"/>
                <a:gd name="connsiteX8" fmla="*/ 167446 w 1107648"/>
                <a:gd name="connsiteY8" fmla="*/ 0 h 338861"/>
                <a:gd name="connsiteX9" fmla="*/ 940190 w 1107648"/>
                <a:gd name="connsiteY9" fmla="*/ 0 h 338861"/>
                <a:gd name="connsiteX10" fmla="*/ 981110 w 1107648"/>
                <a:gd name="connsiteY10" fmla="*/ 25489 h 33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7648" h="338861">
                  <a:moveTo>
                    <a:pt x="981110" y="25489"/>
                  </a:moveTo>
                  <a:lnTo>
                    <a:pt x="1103030" y="273139"/>
                  </a:lnTo>
                  <a:cubicBezTo>
                    <a:pt x="1114079" y="295847"/>
                    <a:pt x="1104626" y="323206"/>
                    <a:pt x="1081922" y="334255"/>
                  </a:cubicBezTo>
                  <a:cubicBezTo>
                    <a:pt x="1075746" y="337258"/>
                    <a:pt x="1068976" y="338831"/>
                    <a:pt x="1062111" y="338862"/>
                  </a:cubicBezTo>
                  <a:lnTo>
                    <a:pt x="45526" y="338862"/>
                  </a:lnTo>
                  <a:cubicBezTo>
                    <a:pt x="20277" y="338755"/>
                    <a:pt x="-106" y="318200"/>
                    <a:pt x="0" y="292951"/>
                  </a:cubicBezTo>
                  <a:cubicBezTo>
                    <a:pt x="27" y="286085"/>
                    <a:pt x="1604" y="279311"/>
                    <a:pt x="4607" y="273139"/>
                  </a:cubicBezTo>
                  <a:lnTo>
                    <a:pt x="126527" y="25489"/>
                  </a:lnTo>
                  <a:cubicBezTo>
                    <a:pt x="134215" y="9906"/>
                    <a:pt x="150073" y="31"/>
                    <a:pt x="167446" y="0"/>
                  </a:cubicBezTo>
                  <a:lnTo>
                    <a:pt x="940190" y="0"/>
                  </a:lnTo>
                  <a:cubicBezTo>
                    <a:pt x="957564" y="31"/>
                    <a:pt x="973421" y="9906"/>
                    <a:pt x="981110" y="25489"/>
                  </a:cubicBez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88" name="任意形状 287"/>
            <p:cNvSpPr/>
            <p:nvPr/>
          </p:nvSpPr>
          <p:spPr>
            <a:xfrm>
              <a:off x="8551560" y="50409"/>
              <a:ext cx="179260" cy="71132"/>
            </a:xfrm>
            <a:custGeom>
              <a:avLst/>
              <a:gdLst>
                <a:gd name="connsiteX0" fmla="*/ 143675 w 179260"/>
                <a:gd name="connsiteY0" fmla="*/ 0 h 71132"/>
                <a:gd name="connsiteX1" fmla="*/ 179260 w 179260"/>
                <a:gd name="connsiteY1" fmla="*/ 0 h 71132"/>
                <a:gd name="connsiteX2" fmla="*/ 179260 w 179260"/>
                <a:gd name="connsiteY2" fmla="*/ 71132 h 71132"/>
                <a:gd name="connsiteX3" fmla="*/ 143675 w 179260"/>
                <a:gd name="connsiteY3" fmla="*/ 71132 h 71132"/>
                <a:gd name="connsiteX4" fmla="*/ 35585 w 179260"/>
                <a:gd name="connsiteY4" fmla="*/ 71132 h 71132"/>
                <a:gd name="connsiteX5" fmla="*/ 0 w 179260"/>
                <a:gd name="connsiteY5" fmla="*/ 71132 h 71132"/>
                <a:gd name="connsiteX6" fmla="*/ 0 w 179260"/>
                <a:gd name="connsiteY6" fmla="*/ 0 h 71132"/>
                <a:gd name="connsiteX7" fmla="*/ 35585 w 179260"/>
                <a:gd name="connsiteY7" fmla="*/ 0 h 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60" h="71132">
                  <a:moveTo>
                    <a:pt x="143675" y="0"/>
                  </a:moveTo>
                  <a:cubicBezTo>
                    <a:pt x="163328" y="0"/>
                    <a:pt x="179260" y="0"/>
                    <a:pt x="179260" y="0"/>
                  </a:cubicBezTo>
                  <a:lnTo>
                    <a:pt x="179260" y="71132"/>
                  </a:lnTo>
                  <a:cubicBezTo>
                    <a:pt x="179260" y="71132"/>
                    <a:pt x="163328" y="71132"/>
                    <a:pt x="143675" y="71132"/>
                  </a:cubicBezTo>
                  <a:lnTo>
                    <a:pt x="35585" y="71132"/>
                  </a:lnTo>
                  <a:cubicBezTo>
                    <a:pt x="15932" y="71132"/>
                    <a:pt x="0" y="71132"/>
                    <a:pt x="0" y="71132"/>
                  </a:cubicBezTo>
                  <a:lnTo>
                    <a:pt x="0" y="0"/>
                  </a:lnTo>
                  <a:cubicBezTo>
                    <a:pt x="0" y="0"/>
                    <a:pt x="15932" y="0"/>
                    <a:pt x="35585" y="0"/>
                  </a:cubicBezTo>
                  <a:close/>
                </a:path>
              </a:pathLst>
            </a:custGeom>
            <a:solidFill>
              <a:srgbClr val="828A9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89" name="任意形状 288"/>
            <p:cNvSpPr/>
            <p:nvPr/>
          </p:nvSpPr>
          <p:spPr>
            <a:xfrm>
              <a:off x="8239368" y="50409"/>
              <a:ext cx="179260" cy="71132"/>
            </a:xfrm>
            <a:custGeom>
              <a:avLst/>
              <a:gdLst>
                <a:gd name="connsiteX0" fmla="*/ 143675 w 179260"/>
                <a:gd name="connsiteY0" fmla="*/ 0 h 71132"/>
                <a:gd name="connsiteX1" fmla="*/ 179260 w 179260"/>
                <a:gd name="connsiteY1" fmla="*/ 0 h 71132"/>
                <a:gd name="connsiteX2" fmla="*/ 179260 w 179260"/>
                <a:gd name="connsiteY2" fmla="*/ 71132 h 71132"/>
                <a:gd name="connsiteX3" fmla="*/ 143675 w 179260"/>
                <a:gd name="connsiteY3" fmla="*/ 71132 h 71132"/>
                <a:gd name="connsiteX4" fmla="*/ 35585 w 179260"/>
                <a:gd name="connsiteY4" fmla="*/ 71132 h 71132"/>
                <a:gd name="connsiteX5" fmla="*/ 0 w 179260"/>
                <a:gd name="connsiteY5" fmla="*/ 71132 h 71132"/>
                <a:gd name="connsiteX6" fmla="*/ 0 w 179260"/>
                <a:gd name="connsiteY6" fmla="*/ 0 h 71132"/>
                <a:gd name="connsiteX7" fmla="*/ 35585 w 179260"/>
                <a:gd name="connsiteY7" fmla="*/ 0 h 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60" h="71132">
                  <a:moveTo>
                    <a:pt x="143675" y="0"/>
                  </a:moveTo>
                  <a:cubicBezTo>
                    <a:pt x="163328" y="0"/>
                    <a:pt x="179260" y="0"/>
                    <a:pt x="179260" y="0"/>
                  </a:cubicBezTo>
                  <a:lnTo>
                    <a:pt x="179260" y="71132"/>
                  </a:lnTo>
                  <a:cubicBezTo>
                    <a:pt x="179260" y="71132"/>
                    <a:pt x="163328" y="71132"/>
                    <a:pt x="143675" y="71132"/>
                  </a:cubicBezTo>
                  <a:lnTo>
                    <a:pt x="35585" y="71132"/>
                  </a:lnTo>
                  <a:cubicBezTo>
                    <a:pt x="15932" y="71132"/>
                    <a:pt x="0" y="71132"/>
                    <a:pt x="0" y="71132"/>
                  </a:cubicBezTo>
                  <a:lnTo>
                    <a:pt x="0" y="0"/>
                  </a:lnTo>
                  <a:cubicBezTo>
                    <a:pt x="0" y="0"/>
                    <a:pt x="15932" y="0"/>
                    <a:pt x="35585" y="0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90" name="任意形状 289"/>
            <p:cNvSpPr/>
            <p:nvPr/>
          </p:nvSpPr>
          <p:spPr>
            <a:xfrm>
              <a:off x="7927177" y="50409"/>
              <a:ext cx="179260" cy="71132"/>
            </a:xfrm>
            <a:custGeom>
              <a:avLst/>
              <a:gdLst>
                <a:gd name="connsiteX0" fmla="*/ 143675 w 179260"/>
                <a:gd name="connsiteY0" fmla="*/ 0 h 71132"/>
                <a:gd name="connsiteX1" fmla="*/ 179260 w 179260"/>
                <a:gd name="connsiteY1" fmla="*/ 0 h 71132"/>
                <a:gd name="connsiteX2" fmla="*/ 179260 w 179260"/>
                <a:gd name="connsiteY2" fmla="*/ 71132 h 71132"/>
                <a:gd name="connsiteX3" fmla="*/ 143675 w 179260"/>
                <a:gd name="connsiteY3" fmla="*/ 71132 h 71132"/>
                <a:gd name="connsiteX4" fmla="*/ 35585 w 179260"/>
                <a:gd name="connsiteY4" fmla="*/ 71132 h 71132"/>
                <a:gd name="connsiteX5" fmla="*/ 0 w 179260"/>
                <a:gd name="connsiteY5" fmla="*/ 71132 h 71132"/>
                <a:gd name="connsiteX6" fmla="*/ 0 w 179260"/>
                <a:gd name="connsiteY6" fmla="*/ 0 h 71132"/>
                <a:gd name="connsiteX7" fmla="*/ 35585 w 179260"/>
                <a:gd name="connsiteY7" fmla="*/ 0 h 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260" h="71132">
                  <a:moveTo>
                    <a:pt x="143675" y="0"/>
                  </a:moveTo>
                  <a:cubicBezTo>
                    <a:pt x="163328" y="0"/>
                    <a:pt x="179260" y="0"/>
                    <a:pt x="179260" y="0"/>
                  </a:cubicBezTo>
                  <a:lnTo>
                    <a:pt x="179260" y="71132"/>
                  </a:lnTo>
                  <a:cubicBezTo>
                    <a:pt x="179260" y="71132"/>
                    <a:pt x="163328" y="71132"/>
                    <a:pt x="143675" y="71132"/>
                  </a:cubicBezTo>
                  <a:lnTo>
                    <a:pt x="35585" y="71132"/>
                  </a:lnTo>
                  <a:cubicBezTo>
                    <a:pt x="15932" y="71132"/>
                    <a:pt x="0" y="71132"/>
                    <a:pt x="0" y="71132"/>
                  </a:cubicBezTo>
                  <a:lnTo>
                    <a:pt x="0" y="0"/>
                  </a:lnTo>
                  <a:cubicBezTo>
                    <a:pt x="0" y="0"/>
                    <a:pt x="15932" y="0"/>
                    <a:pt x="35585" y="0"/>
                  </a:cubicBezTo>
                  <a:close/>
                </a:path>
              </a:pathLst>
            </a:custGeom>
            <a:solidFill>
              <a:srgbClr val="828A9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91" name="图形 202"/>
          <p:cNvGrpSpPr>
            <a:grpSpLocks noChangeAspect="1"/>
          </p:cNvGrpSpPr>
          <p:nvPr/>
        </p:nvGrpSpPr>
        <p:grpSpPr>
          <a:xfrm>
            <a:off x="825271" y="4315053"/>
            <a:ext cx="720000" cy="720000"/>
            <a:chOff x="3311320" y="4414063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292" name="任意形状 291"/>
            <p:cNvSpPr/>
            <p:nvPr/>
          </p:nvSpPr>
          <p:spPr>
            <a:xfrm>
              <a:off x="4265458" y="7723810"/>
              <a:ext cx="122339" cy="69151"/>
            </a:xfrm>
            <a:custGeom>
              <a:avLst/>
              <a:gdLst>
                <a:gd name="connsiteX0" fmla="*/ 122339 w 122339"/>
                <a:gd name="connsiteY0" fmla="*/ 0 h 69151"/>
                <a:gd name="connsiteX1" fmla="*/ 122339 w 122339"/>
                <a:gd name="connsiteY1" fmla="*/ 48692 h 69151"/>
                <a:gd name="connsiteX2" fmla="*/ 101879 w 122339"/>
                <a:gd name="connsiteY2" fmla="*/ 69151 h 69151"/>
                <a:gd name="connsiteX3" fmla="*/ 20460 w 122339"/>
                <a:gd name="connsiteY3" fmla="*/ 69151 h 69151"/>
                <a:gd name="connsiteX4" fmla="*/ 0 w 122339"/>
                <a:gd name="connsiteY4" fmla="*/ 48692 h 69151"/>
                <a:gd name="connsiteX5" fmla="*/ 0 w 122339"/>
                <a:gd name="connsiteY5" fmla="*/ 0 h 69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339" h="69151">
                  <a:moveTo>
                    <a:pt x="122339" y="0"/>
                  </a:moveTo>
                  <a:lnTo>
                    <a:pt x="122339" y="48692"/>
                  </a:lnTo>
                  <a:cubicBezTo>
                    <a:pt x="122339" y="59992"/>
                    <a:pt x="113180" y="69151"/>
                    <a:pt x="101879" y="69151"/>
                  </a:cubicBezTo>
                  <a:lnTo>
                    <a:pt x="20460" y="69151"/>
                  </a:lnTo>
                  <a:cubicBezTo>
                    <a:pt x="9159" y="69151"/>
                    <a:pt x="0" y="59992"/>
                    <a:pt x="0" y="4869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1445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93" name="任意形状 292"/>
            <p:cNvSpPr/>
            <p:nvPr/>
          </p:nvSpPr>
          <p:spPr>
            <a:xfrm>
              <a:off x="4841530" y="7723810"/>
              <a:ext cx="122148" cy="69151"/>
            </a:xfrm>
            <a:custGeom>
              <a:avLst/>
              <a:gdLst>
                <a:gd name="connsiteX0" fmla="*/ 122149 w 122148"/>
                <a:gd name="connsiteY0" fmla="*/ 0 h 69151"/>
                <a:gd name="connsiteX1" fmla="*/ 122149 w 122148"/>
                <a:gd name="connsiteY1" fmla="*/ 48692 h 69151"/>
                <a:gd name="connsiteX2" fmla="*/ 101689 w 122148"/>
                <a:gd name="connsiteY2" fmla="*/ 69151 h 69151"/>
                <a:gd name="connsiteX3" fmla="*/ 20460 w 122148"/>
                <a:gd name="connsiteY3" fmla="*/ 69151 h 69151"/>
                <a:gd name="connsiteX4" fmla="*/ 0 w 122148"/>
                <a:gd name="connsiteY4" fmla="*/ 48692 h 69151"/>
                <a:gd name="connsiteX5" fmla="*/ 0 w 122148"/>
                <a:gd name="connsiteY5" fmla="*/ 0 h 69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48" h="69151">
                  <a:moveTo>
                    <a:pt x="122149" y="0"/>
                  </a:moveTo>
                  <a:lnTo>
                    <a:pt x="122149" y="48692"/>
                  </a:lnTo>
                  <a:cubicBezTo>
                    <a:pt x="122149" y="59992"/>
                    <a:pt x="112989" y="69151"/>
                    <a:pt x="101689" y="69151"/>
                  </a:cubicBezTo>
                  <a:lnTo>
                    <a:pt x="20460" y="69151"/>
                  </a:lnTo>
                  <a:cubicBezTo>
                    <a:pt x="9159" y="69151"/>
                    <a:pt x="0" y="59992"/>
                    <a:pt x="0" y="4869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1445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94" name="任意形状 293"/>
            <p:cNvSpPr/>
            <p:nvPr/>
          </p:nvSpPr>
          <p:spPr>
            <a:xfrm>
              <a:off x="4187620" y="6522593"/>
              <a:ext cx="853897" cy="1215466"/>
            </a:xfrm>
            <a:custGeom>
              <a:avLst/>
              <a:gdLst>
                <a:gd name="connsiteX0" fmla="*/ 793623 w 853897"/>
                <a:gd name="connsiteY0" fmla="*/ 0 h 1215466"/>
                <a:gd name="connsiteX1" fmla="*/ 853897 w 853897"/>
                <a:gd name="connsiteY1" fmla="*/ 0 h 1215466"/>
                <a:gd name="connsiteX2" fmla="*/ 853897 w 853897"/>
                <a:gd name="connsiteY2" fmla="*/ 1215466 h 1215466"/>
                <a:gd name="connsiteX3" fmla="*/ 793623 w 853897"/>
                <a:gd name="connsiteY3" fmla="*/ 1215466 h 1215466"/>
                <a:gd name="connsiteX4" fmla="*/ 60274 w 853897"/>
                <a:gd name="connsiteY4" fmla="*/ 1215466 h 1215466"/>
                <a:gd name="connsiteX5" fmla="*/ 0 w 853897"/>
                <a:gd name="connsiteY5" fmla="*/ 1215466 h 1215466"/>
                <a:gd name="connsiteX6" fmla="*/ 0 w 853897"/>
                <a:gd name="connsiteY6" fmla="*/ 0 h 1215466"/>
                <a:gd name="connsiteX7" fmla="*/ 60274 w 853897"/>
                <a:gd name="connsiteY7" fmla="*/ 0 h 1215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3897" h="1215466">
                  <a:moveTo>
                    <a:pt x="793623" y="0"/>
                  </a:moveTo>
                  <a:cubicBezTo>
                    <a:pt x="826912" y="0"/>
                    <a:pt x="853897" y="0"/>
                    <a:pt x="853897" y="0"/>
                  </a:cubicBezTo>
                  <a:lnTo>
                    <a:pt x="853897" y="1215466"/>
                  </a:lnTo>
                  <a:cubicBezTo>
                    <a:pt x="853897" y="1215466"/>
                    <a:pt x="826912" y="1215466"/>
                    <a:pt x="793623" y="1215466"/>
                  </a:cubicBezTo>
                  <a:lnTo>
                    <a:pt x="60274" y="1215466"/>
                  </a:lnTo>
                  <a:cubicBezTo>
                    <a:pt x="26986" y="1215466"/>
                    <a:pt x="0" y="1215466"/>
                    <a:pt x="0" y="1215466"/>
                  </a:cubicBezTo>
                  <a:lnTo>
                    <a:pt x="0" y="0"/>
                  </a:lnTo>
                  <a:cubicBezTo>
                    <a:pt x="0" y="0"/>
                    <a:pt x="26986" y="0"/>
                    <a:pt x="60274" y="0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95" name="任意形状 294"/>
            <p:cNvSpPr/>
            <p:nvPr/>
          </p:nvSpPr>
          <p:spPr>
            <a:xfrm>
              <a:off x="4441327" y="6634454"/>
              <a:ext cx="346481" cy="346481"/>
            </a:xfrm>
            <a:custGeom>
              <a:avLst/>
              <a:gdLst>
                <a:gd name="connsiteX0" fmla="*/ 346481 w 346481"/>
                <a:gd name="connsiteY0" fmla="*/ 173241 h 346481"/>
                <a:gd name="connsiteX1" fmla="*/ 173241 w 346481"/>
                <a:gd name="connsiteY1" fmla="*/ 346481 h 346481"/>
                <a:gd name="connsiteX2" fmla="*/ 0 w 346481"/>
                <a:gd name="connsiteY2" fmla="*/ 173241 h 346481"/>
                <a:gd name="connsiteX3" fmla="*/ 173241 w 346481"/>
                <a:gd name="connsiteY3" fmla="*/ 0 h 346481"/>
                <a:gd name="connsiteX4" fmla="*/ 346481 w 346481"/>
                <a:gd name="connsiteY4" fmla="*/ 173241 h 346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481" h="346481">
                  <a:moveTo>
                    <a:pt x="346481" y="173241"/>
                  </a:moveTo>
                  <a:cubicBezTo>
                    <a:pt x="346481" y="268919"/>
                    <a:pt x="268919" y="346481"/>
                    <a:pt x="173241" y="346481"/>
                  </a:cubicBezTo>
                  <a:cubicBezTo>
                    <a:pt x="77562" y="346481"/>
                    <a:pt x="0" y="268919"/>
                    <a:pt x="0" y="173241"/>
                  </a:cubicBezTo>
                  <a:cubicBezTo>
                    <a:pt x="0" y="77563"/>
                    <a:pt x="77562" y="0"/>
                    <a:pt x="173241" y="0"/>
                  </a:cubicBezTo>
                  <a:cubicBezTo>
                    <a:pt x="268919" y="0"/>
                    <a:pt x="346481" y="77563"/>
                    <a:pt x="346481" y="173241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96" name="任意形状 295"/>
            <p:cNvSpPr/>
            <p:nvPr/>
          </p:nvSpPr>
          <p:spPr>
            <a:xfrm>
              <a:off x="4484380" y="6677507"/>
              <a:ext cx="260375" cy="260375"/>
            </a:xfrm>
            <a:custGeom>
              <a:avLst/>
              <a:gdLst>
                <a:gd name="connsiteX0" fmla="*/ 260375 w 260375"/>
                <a:gd name="connsiteY0" fmla="*/ 130188 h 260375"/>
                <a:gd name="connsiteX1" fmla="*/ 130188 w 260375"/>
                <a:gd name="connsiteY1" fmla="*/ 260376 h 260375"/>
                <a:gd name="connsiteX2" fmla="*/ 0 w 260375"/>
                <a:gd name="connsiteY2" fmla="*/ 130188 h 260375"/>
                <a:gd name="connsiteX3" fmla="*/ 130188 w 260375"/>
                <a:gd name="connsiteY3" fmla="*/ 0 h 260375"/>
                <a:gd name="connsiteX4" fmla="*/ 260375 w 260375"/>
                <a:gd name="connsiteY4" fmla="*/ 130188 h 260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375" h="260375">
                  <a:moveTo>
                    <a:pt x="260375" y="130188"/>
                  </a:moveTo>
                  <a:cubicBezTo>
                    <a:pt x="260375" y="202088"/>
                    <a:pt x="202088" y="260376"/>
                    <a:pt x="130188" y="260376"/>
                  </a:cubicBezTo>
                  <a:cubicBezTo>
                    <a:pt x="58287" y="260376"/>
                    <a:pt x="0" y="202088"/>
                    <a:pt x="0" y="130188"/>
                  </a:cubicBezTo>
                  <a:cubicBezTo>
                    <a:pt x="0" y="58287"/>
                    <a:pt x="58287" y="0"/>
                    <a:pt x="130188" y="0"/>
                  </a:cubicBezTo>
                  <a:cubicBezTo>
                    <a:pt x="202088" y="0"/>
                    <a:pt x="260375" y="58287"/>
                    <a:pt x="260375" y="130188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97" name="任意形状 296"/>
            <p:cNvSpPr/>
            <p:nvPr/>
          </p:nvSpPr>
          <p:spPr>
            <a:xfrm>
              <a:off x="4557266" y="6750393"/>
              <a:ext cx="114604" cy="114604"/>
            </a:xfrm>
            <a:custGeom>
              <a:avLst/>
              <a:gdLst>
                <a:gd name="connsiteX0" fmla="*/ 114605 w 114604"/>
                <a:gd name="connsiteY0" fmla="*/ 57302 h 114604"/>
                <a:gd name="connsiteX1" fmla="*/ 57302 w 114604"/>
                <a:gd name="connsiteY1" fmla="*/ 114605 h 114604"/>
                <a:gd name="connsiteX2" fmla="*/ 0 w 114604"/>
                <a:gd name="connsiteY2" fmla="*/ 57302 h 114604"/>
                <a:gd name="connsiteX3" fmla="*/ 57302 w 114604"/>
                <a:gd name="connsiteY3" fmla="*/ 0 h 114604"/>
                <a:gd name="connsiteX4" fmla="*/ 114605 w 114604"/>
                <a:gd name="connsiteY4" fmla="*/ 57302 h 114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604" h="114604">
                  <a:moveTo>
                    <a:pt x="114605" y="57302"/>
                  </a:moveTo>
                  <a:cubicBezTo>
                    <a:pt x="114605" y="88950"/>
                    <a:pt x="88950" y="114605"/>
                    <a:pt x="57302" y="114605"/>
                  </a:cubicBezTo>
                  <a:cubicBezTo>
                    <a:pt x="25655" y="114605"/>
                    <a:pt x="0" y="88950"/>
                    <a:pt x="0" y="57302"/>
                  </a:cubicBezTo>
                  <a:cubicBezTo>
                    <a:pt x="0" y="25655"/>
                    <a:pt x="25655" y="0"/>
                    <a:pt x="57302" y="0"/>
                  </a:cubicBezTo>
                  <a:cubicBezTo>
                    <a:pt x="88950" y="0"/>
                    <a:pt x="114605" y="25655"/>
                    <a:pt x="114605" y="57302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98" name="任意形状 297"/>
            <p:cNvSpPr/>
            <p:nvPr/>
          </p:nvSpPr>
          <p:spPr>
            <a:xfrm>
              <a:off x="4357203" y="7103351"/>
              <a:ext cx="514731" cy="514730"/>
            </a:xfrm>
            <a:custGeom>
              <a:avLst/>
              <a:gdLst>
                <a:gd name="connsiteX0" fmla="*/ 514731 w 514731"/>
                <a:gd name="connsiteY0" fmla="*/ 257365 h 514730"/>
                <a:gd name="connsiteX1" fmla="*/ 257365 w 514731"/>
                <a:gd name="connsiteY1" fmla="*/ 514731 h 514730"/>
                <a:gd name="connsiteX2" fmla="*/ 0 w 514731"/>
                <a:gd name="connsiteY2" fmla="*/ 257365 h 514730"/>
                <a:gd name="connsiteX3" fmla="*/ 257365 w 514731"/>
                <a:gd name="connsiteY3" fmla="*/ 0 h 514730"/>
                <a:gd name="connsiteX4" fmla="*/ 514731 w 514731"/>
                <a:gd name="connsiteY4" fmla="*/ 257365 h 514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731" h="514730">
                  <a:moveTo>
                    <a:pt x="514731" y="257365"/>
                  </a:moveTo>
                  <a:cubicBezTo>
                    <a:pt x="514731" y="399504"/>
                    <a:pt x="399505" y="514731"/>
                    <a:pt x="257365" y="514731"/>
                  </a:cubicBezTo>
                  <a:cubicBezTo>
                    <a:pt x="115226" y="514731"/>
                    <a:pt x="0" y="399504"/>
                    <a:pt x="0" y="257365"/>
                  </a:cubicBezTo>
                  <a:cubicBezTo>
                    <a:pt x="0" y="115226"/>
                    <a:pt x="115226" y="0"/>
                    <a:pt x="257365" y="0"/>
                  </a:cubicBezTo>
                  <a:cubicBezTo>
                    <a:pt x="399504" y="0"/>
                    <a:pt x="514731" y="115226"/>
                    <a:pt x="514731" y="257365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299" name="任意形状 298"/>
            <p:cNvSpPr/>
            <p:nvPr/>
          </p:nvSpPr>
          <p:spPr>
            <a:xfrm>
              <a:off x="4411609" y="7157758"/>
              <a:ext cx="405917" cy="405917"/>
            </a:xfrm>
            <a:custGeom>
              <a:avLst/>
              <a:gdLst>
                <a:gd name="connsiteX0" fmla="*/ 405917 w 405917"/>
                <a:gd name="connsiteY0" fmla="*/ 202959 h 405917"/>
                <a:gd name="connsiteX1" fmla="*/ 202959 w 405917"/>
                <a:gd name="connsiteY1" fmla="*/ 405917 h 405917"/>
                <a:gd name="connsiteX2" fmla="*/ 0 w 405917"/>
                <a:gd name="connsiteY2" fmla="*/ 202959 h 405917"/>
                <a:gd name="connsiteX3" fmla="*/ 202959 w 405917"/>
                <a:gd name="connsiteY3" fmla="*/ 0 h 405917"/>
                <a:gd name="connsiteX4" fmla="*/ 405917 w 405917"/>
                <a:gd name="connsiteY4" fmla="*/ 202959 h 40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917" h="405917">
                  <a:moveTo>
                    <a:pt x="405917" y="202959"/>
                  </a:moveTo>
                  <a:cubicBezTo>
                    <a:pt x="405917" y="315050"/>
                    <a:pt x="315050" y="405917"/>
                    <a:pt x="202959" y="405917"/>
                  </a:cubicBezTo>
                  <a:cubicBezTo>
                    <a:pt x="90868" y="405917"/>
                    <a:pt x="0" y="315050"/>
                    <a:pt x="0" y="202959"/>
                  </a:cubicBezTo>
                  <a:cubicBezTo>
                    <a:pt x="0" y="90867"/>
                    <a:pt x="90868" y="0"/>
                    <a:pt x="202959" y="0"/>
                  </a:cubicBezTo>
                  <a:cubicBezTo>
                    <a:pt x="315050" y="0"/>
                    <a:pt x="405917" y="90867"/>
                    <a:pt x="405917" y="202959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0" name="任意形状 299"/>
            <p:cNvSpPr/>
            <p:nvPr/>
          </p:nvSpPr>
          <p:spPr>
            <a:xfrm>
              <a:off x="4525224" y="7271372"/>
              <a:ext cx="178688" cy="178688"/>
            </a:xfrm>
            <a:custGeom>
              <a:avLst/>
              <a:gdLst>
                <a:gd name="connsiteX0" fmla="*/ 178689 w 178688"/>
                <a:gd name="connsiteY0" fmla="*/ 89344 h 178688"/>
                <a:gd name="connsiteX1" fmla="*/ 89344 w 178688"/>
                <a:gd name="connsiteY1" fmla="*/ 178689 h 178688"/>
                <a:gd name="connsiteX2" fmla="*/ 0 w 178688"/>
                <a:gd name="connsiteY2" fmla="*/ 89344 h 178688"/>
                <a:gd name="connsiteX3" fmla="*/ 89344 w 178688"/>
                <a:gd name="connsiteY3" fmla="*/ 0 h 178688"/>
                <a:gd name="connsiteX4" fmla="*/ 178689 w 178688"/>
                <a:gd name="connsiteY4" fmla="*/ 89344 h 17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688" h="178688">
                  <a:moveTo>
                    <a:pt x="178689" y="89344"/>
                  </a:moveTo>
                  <a:cubicBezTo>
                    <a:pt x="178689" y="138688"/>
                    <a:pt x="138688" y="178689"/>
                    <a:pt x="89344" y="178689"/>
                  </a:cubicBezTo>
                  <a:cubicBezTo>
                    <a:pt x="40001" y="178689"/>
                    <a:pt x="0" y="138688"/>
                    <a:pt x="0" y="89344"/>
                  </a:cubicBezTo>
                  <a:cubicBezTo>
                    <a:pt x="0" y="40001"/>
                    <a:pt x="40001" y="0"/>
                    <a:pt x="89344" y="0"/>
                  </a:cubicBezTo>
                  <a:cubicBezTo>
                    <a:pt x="138688" y="0"/>
                    <a:pt x="178689" y="40001"/>
                    <a:pt x="178689" y="89344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1" name="任意形状 300"/>
            <p:cNvSpPr/>
            <p:nvPr/>
          </p:nvSpPr>
          <p:spPr>
            <a:xfrm>
              <a:off x="6535760" y="7723810"/>
              <a:ext cx="122339" cy="69151"/>
            </a:xfrm>
            <a:custGeom>
              <a:avLst/>
              <a:gdLst>
                <a:gd name="connsiteX0" fmla="*/ 122339 w 122339"/>
                <a:gd name="connsiteY0" fmla="*/ 0 h 69151"/>
                <a:gd name="connsiteX1" fmla="*/ 122339 w 122339"/>
                <a:gd name="connsiteY1" fmla="*/ 48692 h 69151"/>
                <a:gd name="connsiteX2" fmla="*/ 101880 w 122339"/>
                <a:gd name="connsiteY2" fmla="*/ 69151 h 69151"/>
                <a:gd name="connsiteX3" fmla="*/ 20460 w 122339"/>
                <a:gd name="connsiteY3" fmla="*/ 69151 h 69151"/>
                <a:gd name="connsiteX4" fmla="*/ 0 w 122339"/>
                <a:gd name="connsiteY4" fmla="*/ 48692 h 69151"/>
                <a:gd name="connsiteX5" fmla="*/ 0 w 122339"/>
                <a:gd name="connsiteY5" fmla="*/ 0 h 69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339" h="69151">
                  <a:moveTo>
                    <a:pt x="122339" y="0"/>
                  </a:moveTo>
                  <a:lnTo>
                    <a:pt x="122339" y="48692"/>
                  </a:lnTo>
                  <a:cubicBezTo>
                    <a:pt x="122339" y="59992"/>
                    <a:pt x="113180" y="69151"/>
                    <a:pt x="101880" y="69151"/>
                  </a:cubicBezTo>
                  <a:lnTo>
                    <a:pt x="20460" y="69151"/>
                  </a:lnTo>
                  <a:cubicBezTo>
                    <a:pt x="9159" y="69151"/>
                    <a:pt x="0" y="59992"/>
                    <a:pt x="0" y="4869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1445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2" name="任意形状 301"/>
            <p:cNvSpPr/>
            <p:nvPr/>
          </p:nvSpPr>
          <p:spPr>
            <a:xfrm>
              <a:off x="7111642" y="7723810"/>
              <a:ext cx="122339" cy="69151"/>
            </a:xfrm>
            <a:custGeom>
              <a:avLst/>
              <a:gdLst>
                <a:gd name="connsiteX0" fmla="*/ 122339 w 122339"/>
                <a:gd name="connsiteY0" fmla="*/ 0 h 69151"/>
                <a:gd name="connsiteX1" fmla="*/ 122339 w 122339"/>
                <a:gd name="connsiteY1" fmla="*/ 48692 h 69151"/>
                <a:gd name="connsiteX2" fmla="*/ 101879 w 122339"/>
                <a:gd name="connsiteY2" fmla="*/ 69151 h 69151"/>
                <a:gd name="connsiteX3" fmla="*/ 20460 w 122339"/>
                <a:gd name="connsiteY3" fmla="*/ 69151 h 69151"/>
                <a:gd name="connsiteX4" fmla="*/ 0 w 122339"/>
                <a:gd name="connsiteY4" fmla="*/ 48692 h 69151"/>
                <a:gd name="connsiteX5" fmla="*/ 0 w 122339"/>
                <a:gd name="connsiteY5" fmla="*/ 0 h 69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339" h="69151">
                  <a:moveTo>
                    <a:pt x="122339" y="0"/>
                  </a:moveTo>
                  <a:lnTo>
                    <a:pt x="122339" y="48692"/>
                  </a:lnTo>
                  <a:cubicBezTo>
                    <a:pt x="122339" y="59992"/>
                    <a:pt x="113195" y="69151"/>
                    <a:pt x="101879" y="69151"/>
                  </a:cubicBezTo>
                  <a:lnTo>
                    <a:pt x="20460" y="69151"/>
                  </a:lnTo>
                  <a:cubicBezTo>
                    <a:pt x="9159" y="69151"/>
                    <a:pt x="0" y="59992"/>
                    <a:pt x="0" y="4869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1445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3" name="任意形状 302"/>
            <p:cNvSpPr/>
            <p:nvPr/>
          </p:nvSpPr>
          <p:spPr>
            <a:xfrm>
              <a:off x="6457922" y="6522593"/>
              <a:ext cx="853897" cy="1215466"/>
            </a:xfrm>
            <a:custGeom>
              <a:avLst/>
              <a:gdLst>
                <a:gd name="connsiteX0" fmla="*/ 793623 w 853897"/>
                <a:gd name="connsiteY0" fmla="*/ 0 h 1215466"/>
                <a:gd name="connsiteX1" fmla="*/ 853897 w 853897"/>
                <a:gd name="connsiteY1" fmla="*/ 0 h 1215466"/>
                <a:gd name="connsiteX2" fmla="*/ 853897 w 853897"/>
                <a:gd name="connsiteY2" fmla="*/ 1215466 h 1215466"/>
                <a:gd name="connsiteX3" fmla="*/ 793623 w 853897"/>
                <a:gd name="connsiteY3" fmla="*/ 1215466 h 1215466"/>
                <a:gd name="connsiteX4" fmla="*/ 60274 w 853897"/>
                <a:gd name="connsiteY4" fmla="*/ 1215466 h 1215466"/>
                <a:gd name="connsiteX5" fmla="*/ 0 w 853897"/>
                <a:gd name="connsiteY5" fmla="*/ 1215466 h 1215466"/>
                <a:gd name="connsiteX6" fmla="*/ 0 w 853897"/>
                <a:gd name="connsiteY6" fmla="*/ 0 h 1215466"/>
                <a:gd name="connsiteX7" fmla="*/ 60274 w 853897"/>
                <a:gd name="connsiteY7" fmla="*/ 0 h 1215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3897" h="1215466">
                  <a:moveTo>
                    <a:pt x="793623" y="0"/>
                  </a:moveTo>
                  <a:cubicBezTo>
                    <a:pt x="826912" y="0"/>
                    <a:pt x="853897" y="0"/>
                    <a:pt x="853897" y="0"/>
                  </a:cubicBezTo>
                  <a:lnTo>
                    <a:pt x="853897" y="1215466"/>
                  </a:lnTo>
                  <a:cubicBezTo>
                    <a:pt x="853897" y="1215466"/>
                    <a:pt x="826912" y="1215466"/>
                    <a:pt x="793623" y="1215466"/>
                  </a:cubicBezTo>
                  <a:lnTo>
                    <a:pt x="60274" y="1215466"/>
                  </a:lnTo>
                  <a:cubicBezTo>
                    <a:pt x="26985" y="1215466"/>
                    <a:pt x="0" y="1215466"/>
                    <a:pt x="0" y="1215466"/>
                  </a:cubicBezTo>
                  <a:lnTo>
                    <a:pt x="0" y="0"/>
                  </a:lnTo>
                  <a:cubicBezTo>
                    <a:pt x="0" y="0"/>
                    <a:pt x="26985" y="0"/>
                    <a:pt x="60274" y="0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4" name="任意形状 303"/>
            <p:cNvSpPr/>
            <p:nvPr/>
          </p:nvSpPr>
          <p:spPr>
            <a:xfrm>
              <a:off x="6711630" y="6634454"/>
              <a:ext cx="346481" cy="346481"/>
            </a:xfrm>
            <a:custGeom>
              <a:avLst/>
              <a:gdLst>
                <a:gd name="connsiteX0" fmla="*/ 346482 w 346481"/>
                <a:gd name="connsiteY0" fmla="*/ 173241 h 346481"/>
                <a:gd name="connsiteX1" fmla="*/ 173241 w 346481"/>
                <a:gd name="connsiteY1" fmla="*/ 346481 h 346481"/>
                <a:gd name="connsiteX2" fmla="*/ 0 w 346481"/>
                <a:gd name="connsiteY2" fmla="*/ 173241 h 346481"/>
                <a:gd name="connsiteX3" fmla="*/ 173241 w 346481"/>
                <a:gd name="connsiteY3" fmla="*/ 0 h 346481"/>
                <a:gd name="connsiteX4" fmla="*/ 346482 w 346481"/>
                <a:gd name="connsiteY4" fmla="*/ 173241 h 346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481" h="346481">
                  <a:moveTo>
                    <a:pt x="346482" y="173241"/>
                  </a:moveTo>
                  <a:cubicBezTo>
                    <a:pt x="346482" y="268919"/>
                    <a:pt x="268919" y="346481"/>
                    <a:pt x="173241" y="346481"/>
                  </a:cubicBezTo>
                  <a:cubicBezTo>
                    <a:pt x="77563" y="346481"/>
                    <a:pt x="0" y="268919"/>
                    <a:pt x="0" y="173241"/>
                  </a:cubicBezTo>
                  <a:cubicBezTo>
                    <a:pt x="0" y="77563"/>
                    <a:pt x="77563" y="0"/>
                    <a:pt x="173241" y="0"/>
                  </a:cubicBezTo>
                  <a:cubicBezTo>
                    <a:pt x="268919" y="0"/>
                    <a:pt x="346482" y="77563"/>
                    <a:pt x="346482" y="173241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5" name="任意形状 304"/>
            <p:cNvSpPr/>
            <p:nvPr/>
          </p:nvSpPr>
          <p:spPr>
            <a:xfrm>
              <a:off x="6754683" y="6677507"/>
              <a:ext cx="260375" cy="260375"/>
            </a:xfrm>
            <a:custGeom>
              <a:avLst/>
              <a:gdLst>
                <a:gd name="connsiteX0" fmla="*/ 260375 w 260375"/>
                <a:gd name="connsiteY0" fmla="*/ 130188 h 260375"/>
                <a:gd name="connsiteX1" fmla="*/ 130188 w 260375"/>
                <a:gd name="connsiteY1" fmla="*/ 260376 h 260375"/>
                <a:gd name="connsiteX2" fmla="*/ 0 w 260375"/>
                <a:gd name="connsiteY2" fmla="*/ 130188 h 260375"/>
                <a:gd name="connsiteX3" fmla="*/ 130188 w 260375"/>
                <a:gd name="connsiteY3" fmla="*/ 0 h 260375"/>
                <a:gd name="connsiteX4" fmla="*/ 260375 w 260375"/>
                <a:gd name="connsiteY4" fmla="*/ 130188 h 260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375" h="260375">
                  <a:moveTo>
                    <a:pt x="260375" y="130188"/>
                  </a:moveTo>
                  <a:cubicBezTo>
                    <a:pt x="260375" y="202088"/>
                    <a:pt x="202088" y="260376"/>
                    <a:pt x="130188" y="260376"/>
                  </a:cubicBezTo>
                  <a:cubicBezTo>
                    <a:pt x="58287" y="260376"/>
                    <a:pt x="0" y="202088"/>
                    <a:pt x="0" y="130188"/>
                  </a:cubicBezTo>
                  <a:cubicBezTo>
                    <a:pt x="0" y="58287"/>
                    <a:pt x="58287" y="0"/>
                    <a:pt x="130188" y="0"/>
                  </a:cubicBezTo>
                  <a:cubicBezTo>
                    <a:pt x="202088" y="0"/>
                    <a:pt x="260375" y="58287"/>
                    <a:pt x="260375" y="130188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6" name="任意形状 305"/>
            <p:cNvSpPr/>
            <p:nvPr/>
          </p:nvSpPr>
          <p:spPr>
            <a:xfrm>
              <a:off x="6827569" y="6750393"/>
              <a:ext cx="114604" cy="114604"/>
            </a:xfrm>
            <a:custGeom>
              <a:avLst/>
              <a:gdLst>
                <a:gd name="connsiteX0" fmla="*/ 114605 w 114604"/>
                <a:gd name="connsiteY0" fmla="*/ 57302 h 114604"/>
                <a:gd name="connsiteX1" fmla="*/ 57302 w 114604"/>
                <a:gd name="connsiteY1" fmla="*/ 114605 h 114604"/>
                <a:gd name="connsiteX2" fmla="*/ 0 w 114604"/>
                <a:gd name="connsiteY2" fmla="*/ 57302 h 114604"/>
                <a:gd name="connsiteX3" fmla="*/ 57302 w 114604"/>
                <a:gd name="connsiteY3" fmla="*/ 0 h 114604"/>
                <a:gd name="connsiteX4" fmla="*/ 114605 w 114604"/>
                <a:gd name="connsiteY4" fmla="*/ 57302 h 114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604" h="114604">
                  <a:moveTo>
                    <a:pt x="114605" y="57302"/>
                  </a:moveTo>
                  <a:cubicBezTo>
                    <a:pt x="114605" y="88950"/>
                    <a:pt x="88950" y="114605"/>
                    <a:pt x="57302" y="114605"/>
                  </a:cubicBezTo>
                  <a:cubicBezTo>
                    <a:pt x="25655" y="114605"/>
                    <a:pt x="0" y="88950"/>
                    <a:pt x="0" y="57302"/>
                  </a:cubicBezTo>
                  <a:cubicBezTo>
                    <a:pt x="0" y="25655"/>
                    <a:pt x="25655" y="0"/>
                    <a:pt x="57302" y="0"/>
                  </a:cubicBezTo>
                  <a:cubicBezTo>
                    <a:pt x="88950" y="0"/>
                    <a:pt x="114605" y="25655"/>
                    <a:pt x="114605" y="57302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7" name="任意形状 306"/>
            <p:cNvSpPr/>
            <p:nvPr/>
          </p:nvSpPr>
          <p:spPr>
            <a:xfrm>
              <a:off x="6627505" y="7103351"/>
              <a:ext cx="514730" cy="514730"/>
            </a:xfrm>
            <a:custGeom>
              <a:avLst/>
              <a:gdLst>
                <a:gd name="connsiteX0" fmla="*/ 514731 w 514730"/>
                <a:gd name="connsiteY0" fmla="*/ 257365 h 514730"/>
                <a:gd name="connsiteX1" fmla="*/ 257366 w 514730"/>
                <a:gd name="connsiteY1" fmla="*/ 514731 h 514730"/>
                <a:gd name="connsiteX2" fmla="*/ 0 w 514730"/>
                <a:gd name="connsiteY2" fmla="*/ 257365 h 514730"/>
                <a:gd name="connsiteX3" fmla="*/ 257366 w 514730"/>
                <a:gd name="connsiteY3" fmla="*/ 0 h 514730"/>
                <a:gd name="connsiteX4" fmla="*/ 514731 w 514730"/>
                <a:gd name="connsiteY4" fmla="*/ 257365 h 514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730" h="514730">
                  <a:moveTo>
                    <a:pt x="514731" y="257365"/>
                  </a:moveTo>
                  <a:cubicBezTo>
                    <a:pt x="514731" y="399504"/>
                    <a:pt x="399505" y="514731"/>
                    <a:pt x="257366" y="514731"/>
                  </a:cubicBezTo>
                  <a:cubicBezTo>
                    <a:pt x="115227" y="514731"/>
                    <a:pt x="0" y="399504"/>
                    <a:pt x="0" y="257365"/>
                  </a:cubicBezTo>
                  <a:cubicBezTo>
                    <a:pt x="0" y="115226"/>
                    <a:pt x="115227" y="0"/>
                    <a:pt x="257366" y="0"/>
                  </a:cubicBezTo>
                  <a:cubicBezTo>
                    <a:pt x="399505" y="0"/>
                    <a:pt x="514731" y="115226"/>
                    <a:pt x="514731" y="257365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8" name="任意形状 307"/>
            <p:cNvSpPr/>
            <p:nvPr/>
          </p:nvSpPr>
          <p:spPr>
            <a:xfrm>
              <a:off x="6681912" y="7157758"/>
              <a:ext cx="405917" cy="405917"/>
            </a:xfrm>
            <a:custGeom>
              <a:avLst/>
              <a:gdLst>
                <a:gd name="connsiteX0" fmla="*/ 405917 w 405917"/>
                <a:gd name="connsiteY0" fmla="*/ 202959 h 405917"/>
                <a:gd name="connsiteX1" fmla="*/ 202959 w 405917"/>
                <a:gd name="connsiteY1" fmla="*/ 405917 h 405917"/>
                <a:gd name="connsiteX2" fmla="*/ 0 w 405917"/>
                <a:gd name="connsiteY2" fmla="*/ 202959 h 405917"/>
                <a:gd name="connsiteX3" fmla="*/ 202959 w 405917"/>
                <a:gd name="connsiteY3" fmla="*/ 0 h 405917"/>
                <a:gd name="connsiteX4" fmla="*/ 405917 w 405917"/>
                <a:gd name="connsiteY4" fmla="*/ 202959 h 40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917" h="405917">
                  <a:moveTo>
                    <a:pt x="405917" y="202959"/>
                  </a:moveTo>
                  <a:cubicBezTo>
                    <a:pt x="405917" y="315050"/>
                    <a:pt x="315050" y="405917"/>
                    <a:pt x="202959" y="405917"/>
                  </a:cubicBezTo>
                  <a:cubicBezTo>
                    <a:pt x="90868" y="405917"/>
                    <a:pt x="0" y="315050"/>
                    <a:pt x="0" y="202959"/>
                  </a:cubicBezTo>
                  <a:cubicBezTo>
                    <a:pt x="0" y="90867"/>
                    <a:pt x="90868" y="0"/>
                    <a:pt x="202959" y="0"/>
                  </a:cubicBezTo>
                  <a:cubicBezTo>
                    <a:pt x="315050" y="0"/>
                    <a:pt x="405917" y="90867"/>
                    <a:pt x="405917" y="202959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09" name="任意形状 308"/>
            <p:cNvSpPr/>
            <p:nvPr/>
          </p:nvSpPr>
          <p:spPr>
            <a:xfrm>
              <a:off x="6795526" y="7271372"/>
              <a:ext cx="178688" cy="178688"/>
            </a:xfrm>
            <a:custGeom>
              <a:avLst/>
              <a:gdLst>
                <a:gd name="connsiteX0" fmla="*/ 178689 w 178688"/>
                <a:gd name="connsiteY0" fmla="*/ 89344 h 178688"/>
                <a:gd name="connsiteX1" fmla="*/ 89344 w 178688"/>
                <a:gd name="connsiteY1" fmla="*/ 178689 h 178688"/>
                <a:gd name="connsiteX2" fmla="*/ 0 w 178688"/>
                <a:gd name="connsiteY2" fmla="*/ 89344 h 178688"/>
                <a:gd name="connsiteX3" fmla="*/ 89344 w 178688"/>
                <a:gd name="connsiteY3" fmla="*/ 0 h 178688"/>
                <a:gd name="connsiteX4" fmla="*/ 178689 w 178688"/>
                <a:gd name="connsiteY4" fmla="*/ 89344 h 178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688" h="178688">
                  <a:moveTo>
                    <a:pt x="178689" y="89344"/>
                  </a:moveTo>
                  <a:cubicBezTo>
                    <a:pt x="178689" y="138688"/>
                    <a:pt x="138688" y="178689"/>
                    <a:pt x="89344" y="178689"/>
                  </a:cubicBezTo>
                  <a:cubicBezTo>
                    <a:pt x="40001" y="178689"/>
                    <a:pt x="0" y="138688"/>
                    <a:pt x="0" y="89344"/>
                  </a:cubicBezTo>
                  <a:cubicBezTo>
                    <a:pt x="0" y="40001"/>
                    <a:pt x="40001" y="0"/>
                    <a:pt x="89344" y="0"/>
                  </a:cubicBezTo>
                  <a:cubicBezTo>
                    <a:pt x="138688" y="0"/>
                    <a:pt x="178689" y="40001"/>
                    <a:pt x="178689" y="89344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0" name="任意形状 309"/>
            <p:cNvSpPr/>
            <p:nvPr/>
          </p:nvSpPr>
          <p:spPr>
            <a:xfrm>
              <a:off x="5241465" y="7689862"/>
              <a:ext cx="178079" cy="100660"/>
            </a:xfrm>
            <a:custGeom>
              <a:avLst/>
              <a:gdLst>
                <a:gd name="connsiteX0" fmla="*/ 178079 w 178079"/>
                <a:gd name="connsiteY0" fmla="*/ 0 h 100660"/>
                <a:gd name="connsiteX1" fmla="*/ 178079 w 178079"/>
                <a:gd name="connsiteY1" fmla="*/ 70866 h 100660"/>
                <a:gd name="connsiteX2" fmla="*/ 148285 w 178079"/>
                <a:gd name="connsiteY2" fmla="*/ 100660 h 100660"/>
                <a:gd name="connsiteX3" fmla="*/ 29794 w 178079"/>
                <a:gd name="connsiteY3" fmla="*/ 100660 h 100660"/>
                <a:gd name="connsiteX4" fmla="*/ 0 w 178079"/>
                <a:gd name="connsiteY4" fmla="*/ 70866 h 100660"/>
                <a:gd name="connsiteX5" fmla="*/ 0 w 178079"/>
                <a:gd name="connsiteY5" fmla="*/ 0 h 10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079" h="100660">
                  <a:moveTo>
                    <a:pt x="178079" y="0"/>
                  </a:moveTo>
                  <a:lnTo>
                    <a:pt x="178079" y="70866"/>
                  </a:lnTo>
                  <a:cubicBezTo>
                    <a:pt x="178079" y="87321"/>
                    <a:pt x="164741" y="100660"/>
                    <a:pt x="148285" y="100660"/>
                  </a:cubicBezTo>
                  <a:lnTo>
                    <a:pt x="29794" y="100660"/>
                  </a:lnTo>
                  <a:cubicBezTo>
                    <a:pt x="13339" y="100660"/>
                    <a:pt x="0" y="87321"/>
                    <a:pt x="0" y="7086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1445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1" name="任意形状 310"/>
            <p:cNvSpPr/>
            <p:nvPr/>
          </p:nvSpPr>
          <p:spPr>
            <a:xfrm>
              <a:off x="6079856" y="7689862"/>
              <a:ext cx="178117" cy="100660"/>
            </a:xfrm>
            <a:custGeom>
              <a:avLst/>
              <a:gdLst>
                <a:gd name="connsiteX0" fmla="*/ 178117 w 178117"/>
                <a:gd name="connsiteY0" fmla="*/ 0 h 100660"/>
                <a:gd name="connsiteX1" fmla="*/ 178117 w 178117"/>
                <a:gd name="connsiteY1" fmla="*/ 70866 h 100660"/>
                <a:gd name="connsiteX2" fmla="*/ 148323 w 178117"/>
                <a:gd name="connsiteY2" fmla="*/ 100660 h 100660"/>
                <a:gd name="connsiteX3" fmla="*/ 29794 w 178117"/>
                <a:gd name="connsiteY3" fmla="*/ 100660 h 100660"/>
                <a:gd name="connsiteX4" fmla="*/ 0 w 178117"/>
                <a:gd name="connsiteY4" fmla="*/ 70866 h 100660"/>
                <a:gd name="connsiteX5" fmla="*/ 0 w 178117"/>
                <a:gd name="connsiteY5" fmla="*/ 0 h 10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117" h="100660">
                  <a:moveTo>
                    <a:pt x="178117" y="0"/>
                  </a:moveTo>
                  <a:lnTo>
                    <a:pt x="178117" y="70866"/>
                  </a:lnTo>
                  <a:cubicBezTo>
                    <a:pt x="178117" y="87321"/>
                    <a:pt x="164779" y="100660"/>
                    <a:pt x="148323" y="100660"/>
                  </a:cubicBezTo>
                  <a:lnTo>
                    <a:pt x="29794" y="100660"/>
                  </a:lnTo>
                  <a:cubicBezTo>
                    <a:pt x="13339" y="100660"/>
                    <a:pt x="0" y="87321"/>
                    <a:pt x="0" y="7086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1445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2" name="任意形状 311"/>
            <p:cNvSpPr/>
            <p:nvPr/>
          </p:nvSpPr>
          <p:spPr>
            <a:xfrm>
              <a:off x="5115088" y="5911964"/>
              <a:ext cx="1269263" cy="1806702"/>
            </a:xfrm>
            <a:custGeom>
              <a:avLst/>
              <a:gdLst>
                <a:gd name="connsiteX0" fmla="*/ 1179690 w 1269263"/>
                <a:gd name="connsiteY0" fmla="*/ 0 h 1806702"/>
                <a:gd name="connsiteX1" fmla="*/ 1269263 w 1269263"/>
                <a:gd name="connsiteY1" fmla="*/ 0 h 1806702"/>
                <a:gd name="connsiteX2" fmla="*/ 1269263 w 1269263"/>
                <a:gd name="connsiteY2" fmla="*/ 1806702 h 1806702"/>
                <a:gd name="connsiteX3" fmla="*/ 1179690 w 1269263"/>
                <a:gd name="connsiteY3" fmla="*/ 1806702 h 1806702"/>
                <a:gd name="connsiteX4" fmla="*/ 89573 w 1269263"/>
                <a:gd name="connsiteY4" fmla="*/ 1806702 h 1806702"/>
                <a:gd name="connsiteX5" fmla="*/ 0 w 1269263"/>
                <a:gd name="connsiteY5" fmla="*/ 1806702 h 1806702"/>
                <a:gd name="connsiteX6" fmla="*/ 0 w 1269263"/>
                <a:gd name="connsiteY6" fmla="*/ 0 h 1806702"/>
                <a:gd name="connsiteX7" fmla="*/ 89573 w 1269263"/>
                <a:gd name="connsiteY7" fmla="*/ 0 h 1806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9263" h="1806702">
                  <a:moveTo>
                    <a:pt x="1179690" y="0"/>
                  </a:moveTo>
                  <a:cubicBezTo>
                    <a:pt x="1229160" y="0"/>
                    <a:pt x="1269263" y="0"/>
                    <a:pt x="1269263" y="0"/>
                  </a:cubicBezTo>
                  <a:lnTo>
                    <a:pt x="1269263" y="1806702"/>
                  </a:lnTo>
                  <a:cubicBezTo>
                    <a:pt x="1269263" y="1806702"/>
                    <a:pt x="1229160" y="1806702"/>
                    <a:pt x="1179690" y="1806702"/>
                  </a:cubicBezTo>
                  <a:lnTo>
                    <a:pt x="89573" y="1806702"/>
                  </a:lnTo>
                  <a:cubicBezTo>
                    <a:pt x="40103" y="1806702"/>
                    <a:pt x="0" y="1806702"/>
                    <a:pt x="0" y="1806702"/>
                  </a:cubicBezTo>
                  <a:lnTo>
                    <a:pt x="0" y="0"/>
                  </a:lnTo>
                  <a:cubicBezTo>
                    <a:pt x="0" y="0"/>
                    <a:pt x="40103" y="0"/>
                    <a:pt x="89573" y="0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3" name="任意形状 312"/>
            <p:cNvSpPr/>
            <p:nvPr/>
          </p:nvSpPr>
          <p:spPr>
            <a:xfrm>
              <a:off x="5367157" y="6775196"/>
              <a:ext cx="765124" cy="765124"/>
            </a:xfrm>
            <a:custGeom>
              <a:avLst/>
              <a:gdLst>
                <a:gd name="connsiteX0" fmla="*/ 765124 w 765124"/>
                <a:gd name="connsiteY0" fmla="*/ 382562 h 765124"/>
                <a:gd name="connsiteX1" fmla="*/ 382562 w 765124"/>
                <a:gd name="connsiteY1" fmla="*/ 765124 h 765124"/>
                <a:gd name="connsiteX2" fmla="*/ 0 w 765124"/>
                <a:gd name="connsiteY2" fmla="*/ 382562 h 765124"/>
                <a:gd name="connsiteX3" fmla="*/ 382562 w 765124"/>
                <a:gd name="connsiteY3" fmla="*/ 0 h 765124"/>
                <a:gd name="connsiteX4" fmla="*/ 765124 w 765124"/>
                <a:gd name="connsiteY4" fmla="*/ 382562 h 76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124" h="765124">
                  <a:moveTo>
                    <a:pt x="765124" y="382562"/>
                  </a:moveTo>
                  <a:cubicBezTo>
                    <a:pt x="765124" y="593846"/>
                    <a:pt x="593846" y="765124"/>
                    <a:pt x="382562" y="765124"/>
                  </a:cubicBezTo>
                  <a:cubicBezTo>
                    <a:pt x="171279" y="765124"/>
                    <a:pt x="0" y="593846"/>
                    <a:pt x="0" y="382562"/>
                  </a:cubicBezTo>
                  <a:cubicBezTo>
                    <a:pt x="0" y="171279"/>
                    <a:pt x="171279" y="0"/>
                    <a:pt x="382562" y="0"/>
                  </a:cubicBezTo>
                  <a:cubicBezTo>
                    <a:pt x="593732" y="274"/>
                    <a:pt x="764850" y="171393"/>
                    <a:pt x="765124" y="382562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4" name="任意形状 313"/>
            <p:cNvSpPr/>
            <p:nvPr/>
          </p:nvSpPr>
          <p:spPr>
            <a:xfrm>
              <a:off x="5448006" y="6856044"/>
              <a:ext cx="603427" cy="603427"/>
            </a:xfrm>
            <a:custGeom>
              <a:avLst/>
              <a:gdLst>
                <a:gd name="connsiteX0" fmla="*/ 603428 w 603427"/>
                <a:gd name="connsiteY0" fmla="*/ 301714 h 603427"/>
                <a:gd name="connsiteX1" fmla="*/ 301714 w 603427"/>
                <a:gd name="connsiteY1" fmla="*/ 603428 h 603427"/>
                <a:gd name="connsiteX2" fmla="*/ 0 w 603427"/>
                <a:gd name="connsiteY2" fmla="*/ 301714 h 603427"/>
                <a:gd name="connsiteX3" fmla="*/ 301714 w 603427"/>
                <a:gd name="connsiteY3" fmla="*/ 0 h 603427"/>
                <a:gd name="connsiteX4" fmla="*/ 603428 w 603427"/>
                <a:gd name="connsiteY4" fmla="*/ 301714 h 603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427" h="603427">
                  <a:moveTo>
                    <a:pt x="603428" y="301714"/>
                  </a:moveTo>
                  <a:cubicBezTo>
                    <a:pt x="603428" y="468346"/>
                    <a:pt x="468346" y="603428"/>
                    <a:pt x="301714" y="603428"/>
                  </a:cubicBezTo>
                  <a:cubicBezTo>
                    <a:pt x="135082" y="603428"/>
                    <a:pt x="0" y="468346"/>
                    <a:pt x="0" y="301714"/>
                  </a:cubicBezTo>
                  <a:cubicBezTo>
                    <a:pt x="0" y="135082"/>
                    <a:pt x="135082" y="0"/>
                    <a:pt x="301714" y="0"/>
                  </a:cubicBezTo>
                  <a:cubicBezTo>
                    <a:pt x="468346" y="0"/>
                    <a:pt x="603428" y="135082"/>
                    <a:pt x="603428" y="301714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5" name="任意形状 314"/>
            <p:cNvSpPr/>
            <p:nvPr/>
          </p:nvSpPr>
          <p:spPr>
            <a:xfrm>
              <a:off x="5616903" y="7024941"/>
              <a:ext cx="265633" cy="265633"/>
            </a:xfrm>
            <a:custGeom>
              <a:avLst/>
              <a:gdLst>
                <a:gd name="connsiteX0" fmla="*/ 265633 w 265633"/>
                <a:gd name="connsiteY0" fmla="*/ 132817 h 265633"/>
                <a:gd name="connsiteX1" fmla="*/ 132817 w 265633"/>
                <a:gd name="connsiteY1" fmla="*/ 265633 h 265633"/>
                <a:gd name="connsiteX2" fmla="*/ 0 w 265633"/>
                <a:gd name="connsiteY2" fmla="*/ 132817 h 265633"/>
                <a:gd name="connsiteX3" fmla="*/ 132817 w 265633"/>
                <a:gd name="connsiteY3" fmla="*/ 0 h 265633"/>
                <a:gd name="connsiteX4" fmla="*/ 265633 w 265633"/>
                <a:gd name="connsiteY4" fmla="*/ 132817 h 265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633" h="265633">
                  <a:moveTo>
                    <a:pt x="265633" y="132817"/>
                  </a:moveTo>
                  <a:cubicBezTo>
                    <a:pt x="265633" y="206169"/>
                    <a:pt x="206169" y="265633"/>
                    <a:pt x="132817" y="265633"/>
                  </a:cubicBezTo>
                  <a:cubicBezTo>
                    <a:pt x="59464" y="265633"/>
                    <a:pt x="0" y="206169"/>
                    <a:pt x="0" y="132817"/>
                  </a:cubicBezTo>
                  <a:cubicBezTo>
                    <a:pt x="0" y="59464"/>
                    <a:pt x="59464" y="0"/>
                    <a:pt x="132817" y="0"/>
                  </a:cubicBezTo>
                  <a:cubicBezTo>
                    <a:pt x="206169" y="0"/>
                    <a:pt x="265633" y="59464"/>
                    <a:pt x="265633" y="132817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6" name="任意形状 315"/>
            <p:cNvSpPr/>
            <p:nvPr/>
          </p:nvSpPr>
          <p:spPr>
            <a:xfrm>
              <a:off x="5286881" y="6082423"/>
              <a:ext cx="925639" cy="396125"/>
            </a:xfrm>
            <a:custGeom>
              <a:avLst/>
              <a:gdLst>
                <a:gd name="connsiteX0" fmla="*/ 903122 w 925639"/>
                <a:gd name="connsiteY0" fmla="*/ 0 h 396125"/>
                <a:gd name="connsiteX1" fmla="*/ 925640 w 925639"/>
                <a:gd name="connsiteY1" fmla="*/ 0 h 396125"/>
                <a:gd name="connsiteX2" fmla="*/ 925640 w 925639"/>
                <a:gd name="connsiteY2" fmla="*/ 396126 h 396125"/>
                <a:gd name="connsiteX3" fmla="*/ 903122 w 925639"/>
                <a:gd name="connsiteY3" fmla="*/ 396126 h 396125"/>
                <a:gd name="connsiteX4" fmla="*/ 22517 w 925639"/>
                <a:gd name="connsiteY4" fmla="*/ 396126 h 396125"/>
                <a:gd name="connsiteX5" fmla="*/ 0 w 925639"/>
                <a:gd name="connsiteY5" fmla="*/ 396126 h 396125"/>
                <a:gd name="connsiteX6" fmla="*/ 0 w 925639"/>
                <a:gd name="connsiteY6" fmla="*/ 0 h 396125"/>
                <a:gd name="connsiteX7" fmla="*/ 22517 w 925639"/>
                <a:gd name="connsiteY7" fmla="*/ 0 h 396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639" h="396125">
                  <a:moveTo>
                    <a:pt x="903122" y="0"/>
                  </a:moveTo>
                  <a:cubicBezTo>
                    <a:pt x="915558" y="0"/>
                    <a:pt x="925640" y="0"/>
                    <a:pt x="925640" y="0"/>
                  </a:cubicBezTo>
                  <a:lnTo>
                    <a:pt x="925640" y="396126"/>
                  </a:lnTo>
                  <a:cubicBezTo>
                    <a:pt x="925640" y="396126"/>
                    <a:pt x="915558" y="396126"/>
                    <a:pt x="903122" y="396126"/>
                  </a:cubicBezTo>
                  <a:lnTo>
                    <a:pt x="22517" y="396126"/>
                  </a:lnTo>
                  <a:cubicBezTo>
                    <a:pt x="10081" y="396126"/>
                    <a:pt x="0" y="396126"/>
                    <a:pt x="0" y="396126"/>
                  </a:cubicBezTo>
                  <a:lnTo>
                    <a:pt x="0" y="0"/>
                  </a:lnTo>
                  <a:cubicBezTo>
                    <a:pt x="0" y="0"/>
                    <a:pt x="10081" y="0"/>
                    <a:pt x="22517" y="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7" name="任意形状 316"/>
            <p:cNvSpPr/>
            <p:nvPr/>
          </p:nvSpPr>
          <p:spPr>
            <a:xfrm>
              <a:off x="5335611" y="6129363"/>
              <a:ext cx="828179" cy="189814"/>
            </a:xfrm>
            <a:custGeom>
              <a:avLst/>
              <a:gdLst>
                <a:gd name="connsiteX0" fmla="*/ 0 w 828179"/>
                <a:gd name="connsiteY0" fmla="*/ 0 h 189814"/>
                <a:gd name="connsiteX1" fmla="*/ 828180 w 828179"/>
                <a:gd name="connsiteY1" fmla="*/ 0 h 189814"/>
                <a:gd name="connsiteX2" fmla="*/ 828180 w 828179"/>
                <a:gd name="connsiteY2" fmla="*/ 189814 h 189814"/>
                <a:gd name="connsiteX3" fmla="*/ 0 w 828179"/>
                <a:gd name="connsiteY3" fmla="*/ 189814 h 189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8179" h="189814">
                  <a:moveTo>
                    <a:pt x="0" y="0"/>
                  </a:moveTo>
                  <a:lnTo>
                    <a:pt x="828180" y="0"/>
                  </a:lnTo>
                  <a:lnTo>
                    <a:pt x="828180" y="189814"/>
                  </a:lnTo>
                  <a:lnTo>
                    <a:pt x="0" y="189814"/>
                  </a:lnTo>
                  <a:close/>
                </a:path>
              </a:pathLst>
            </a:custGeom>
            <a:solidFill>
              <a:srgbClr val="69B0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8" name="任意形状 317"/>
            <p:cNvSpPr/>
            <p:nvPr/>
          </p:nvSpPr>
          <p:spPr>
            <a:xfrm>
              <a:off x="5335573" y="6382994"/>
              <a:ext cx="115709" cy="34480"/>
            </a:xfrm>
            <a:custGeom>
              <a:avLst/>
              <a:gdLst>
                <a:gd name="connsiteX0" fmla="*/ 98489 w 115709"/>
                <a:gd name="connsiteY0" fmla="*/ 0 h 34480"/>
                <a:gd name="connsiteX1" fmla="*/ 115710 w 115709"/>
                <a:gd name="connsiteY1" fmla="*/ 0 h 34480"/>
                <a:gd name="connsiteX2" fmla="*/ 115710 w 115709"/>
                <a:gd name="connsiteY2" fmla="*/ 34481 h 34480"/>
                <a:gd name="connsiteX3" fmla="*/ 98489 w 115709"/>
                <a:gd name="connsiteY3" fmla="*/ 34481 h 34480"/>
                <a:gd name="connsiteX4" fmla="*/ 17221 w 115709"/>
                <a:gd name="connsiteY4" fmla="*/ 34481 h 34480"/>
                <a:gd name="connsiteX5" fmla="*/ 0 w 115709"/>
                <a:gd name="connsiteY5" fmla="*/ 34481 h 34480"/>
                <a:gd name="connsiteX6" fmla="*/ 0 w 115709"/>
                <a:gd name="connsiteY6" fmla="*/ 0 h 34480"/>
                <a:gd name="connsiteX7" fmla="*/ 17221 w 115709"/>
                <a:gd name="connsiteY7" fmla="*/ 0 h 34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709" h="34480">
                  <a:moveTo>
                    <a:pt x="98489" y="0"/>
                  </a:moveTo>
                  <a:cubicBezTo>
                    <a:pt x="108000" y="0"/>
                    <a:pt x="115710" y="0"/>
                    <a:pt x="115710" y="0"/>
                  </a:cubicBezTo>
                  <a:lnTo>
                    <a:pt x="115710" y="34481"/>
                  </a:lnTo>
                  <a:cubicBezTo>
                    <a:pt x="115710" y="34481"/>
                    <a:pt x="108000" y="34481"/>
                    <a:pt x="98489" y="34481"/>
                  </a:cubicBezTo>
                  <a:lnTo>
                    <a:pt x="17221" y="34481"/>
                  </a:lnTo>
                  <a:cubicBezTo>
                    <a:pt x="7710" y="34481"/>
                    <a:pt x="0" y="34481"/>
                    <a:pt x="0" y="34481"/>
                  </a:cubicBezTo>
                  <a:lnTo>
                    <a:pt x="0" y="0"/>
                  </a:lnTo>
                  <a:cubicBezTo>
                    <a:pt x="0" y="0"/>
                    <a:pt x="7710" y="0"/>
                    <a:pt x="17221" y="0"/>
                  </a:cubicBezTo>
                  <a:close/>
                </a:path>
              </a:pathLst>
            </a:custGeom>
            <a:solidFill>
              <a:srgbClr val="EF526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19" name="任意形状 318"/>
            <p:cNvSpPr/>
            <p:nvPr/>
          </p:nvSpPr>
          <p:spPr>
            <a:xfrm>
              <a:off x="5513804" y="6382994"/>
              <a:ext cx="115709" cy="34480"/>
            </a:xfrm>
            <a:custGeom>
              <a:avLst/>
              <a:gdLst>
                <a:gd name="connsiteX0" fmla="*/ 98489 w 115709"/>
                <a:gd name="connsiteY0" fmla="*/ 0 h 34480"/>
                <a:gd name="connsiteX1" fmla="*/ 115710 w 115709"/>
                <a:gd name="connsiteY1" fmla="*/ 0 h 34480"/>
                <a:gd name="connsiteX2" fmla="*/ 115710 w 115709"/>
                <a:gd name="connsiteY2" fmla="*/ 34481 h 34480"/>
                <a:gd name="connsiteX3" fmla="*/ 98489 w 115709"/>
                <a:gd name="connsiteY3" fmla="*/ 34481 h 34480"/>
                <a:gd name="connsiteX4" fmla="*/ 17221 w 115709"/>
                <a:gd name="connsiteY4" fmla="*/ 34481 h 34480"/>
                <a:gd name="connsiteX5" fmla="*/ 0 w 115709"/>
                <a:gd name="connsiteY5" fmla="*/ 34481 h 34480"/>
                <a:gd name="connsiteX6" fmla="*/ 0 w 115709"/>
                <a:gd name="connsiteY6" fmla="*/ 0 h 34480"/>
                <a:gd name="connsiteX7" fmla="*/ 17221 w 115709"/>
                <a:gd name="connsiteY7" fmla="*/ 0 h 34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709" h="34480">
                  <a:moveTo>
                    <a:pt x="98489" y="0"/>
                  </a:moveTo>
                  <a:cubicBezTo>
                    <a:pt x="108000" y="0"/>
                    <a:pt x="115710" y="0"/>
                    <a:pt x="115710" y="0"/>
                  </a:cubicBezTo>
                  <a:lnTo>
                    <a:pt x="115710" y="34481"/>
                  </a:lnTo>
                  <a:cubicBezTo>
                    <a:pt x="115710" y="34481"/>
                    <a:pt x="108000" y="34481"/>
                    <a:pt x="98489" y="34481"/>
                  </a:cubicBezTo>
                  <a:lnTo>
                    <a:pt x="17221" y="34481"/>
                  </a:lnTo>
                  <a:cubicBezTo>
                    <a:pt x="7710" y="34481"/>
                    <a:pt x="0" y="34481"/>
                    <a:pt x="0" y="34481"/>
                  </a:cubicBezTo>
                  <a:lnTo>
                    <a:pt x="0" y="0"/>
                  </a:lnTo>
                  <a:cubicBezTo>
                    <a:pt x="0" y="0"/>
                    <a:pt x="7710" y="0"/>
                    <a:pt x="17221" y="0"/>
                  </a:cubicBezTo>
                  <a:close/>
                </a:path>
              </a:pathLst>
            </a:custGeom>
            <a:solidFill>
              <a:srgbClr val="2CBFA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320" name="图形 202"/>
            <p:cNvGrpSpPr/>
            <p:nvPr/>
          </p:nvGrpSpPr>
          <p:grpSpPr>
            <a:xfrm>
              <a:off x="5691998" y="6382994"/>
              <a:ext cx="472135" cy="34480"/>
              <a:chOff x="5691998" y="6382994"/>
              <a:chExt cx="472135" cy="34480"/>
            </a:xfrm>
            <a:solidFill>
              <a:srgbClr val="575B6D"/>
            </a:solidFill>
          </p:grpSpPr>
          <p:sp>
            <p:nvSpPr>
              <p:cNvPr id="324" name="任意形状 323"/>
              <p:cNvSpPr/>
              <p:nvPr/>
            </p:nvSpPr>
            <p:spPr>
              <a:xfrm>
                <a:off x="5691998" y="6382994"/>
                <a:ext cx="115709" cy="34480"/>
              </a:xfrm>
              <a:custGeom>
                <a:avLst/>
                <a:gdLst>
                  <a:gd name="connsiteX0" fmla="*/ 98488 w 115709"/>
                  <a:gd name="connsiteY0" fmla="*/ 0 h 34480"/>
                  <a:gd name="connsiteX1" fmla="*/ 115710 w 115709"/>
                  <a:gd name="connsiteY1" fmla="*/ 0 h 34480"/>
                  <a:gd name="connsiteX2" fmla="*/ 115710 w 115709"/>
                  <a:gd name="connsiteY2" fmla="*/ 34481 h 34480"/>
                  <a:gd name="connsiteX3" fmla="*/ 98488 w 115709"/>
                  <a:gd name="connsiteY3" fmla="*/ 34481 h 34480"/>
                  <a:gd name="connsiteX4" fmla="*/ 17221 w 115709"/>
                  <a:gd name="connsiteY4" fmla="*/ 34481 h 34480"/>
                  <a:gd name="connsiteX5" fmla="*/ 0 w 115709"/>
                  <a:gd name="connsiteY5" fmla="*/ 34481 h 34480"/>
                  <a:gd name="connsiteX6" fmla="*/ 0 w 115709"/>
                  <a:gd name="connsiteY6" fmla="*/ 0 h 34480"/>
                  <a:gd name="connsiteX7" fmla="*/ 17221 w 115709"/>
                  <a:gd name="connsiteY7" fmla="*/ 0 h 34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5709" h="34480">
                    <a:moveTo>
                      <a:pt x="98488" y="0"/>
                    </a:moveTo>
                    <a:cubicBezTo>
                      <a:pt x="108000" y="0"/>
                      <a:pt x="115710" y="0"/>
                      <a:pt x="115710" y="0"/>
                    </a:cubicBezTo>
                    <a:lnTo>
                      <a:pt x="115710" y="34481"/>
                    </a:lnTo>
                    <a:cubicBezTo>
                      <a:pt x="115710" y="34481"/>
                      <a:pt x="108000" y="34481"/>
                      <a:pt x="98488" y="34481"/>
                    </a:cubicBezTo>
                    <a:lnTo>
                      <a:pt x="17221" y="34481"/>
                    </a:lnTo>
                    <a:cubicBezTo>
                      <a:pt x="7710" y="34481"/>
                      <a:pt x="0" y="34481"/>
                      <a:pt x="0" y="34481"/>
                    </a:cubicBezTo>
                    <a:lnTo>
                      <a:pt x="0" y="0"/>
                    </a:lnTo>
                    <a:cubicBezTo>
                      <a:pt x="0" y="0"/>
                      <a:pt x="7710" y="0"/>
                      <a:pt x="17221" y="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25" name="任意形状 324"/>
              <p:cNvSpPr/>
              <p:nvPr/>
            </p:nvSpPr>
            <p:spPr>
              <a:xfrm>
                <a:off x="5870230" y="6382994"/>
                <a:ext cx="115709" cy="34480"/>
              </a:xfrm>
              <a:custGeom>
                <a:avLst/>
                <a:gdLst>
                  <a:gd name="connsiteX0" fmla="*/ 98489 w 115709"/>
                  <a:gd name="connsiteY0" fmla="*/ 0 h 34480"/>
                  <a:gd name="connsiteX1" fmla="*/ 115710 w 115709"/>
                  <a:gd name="connsiteY1" fmla="*/ 0 h 34480"/>
                  <a:gd name="connsiteX2" fmla="*/ 115710 w 115709"/>
                  <a:gd name="connsiteY2" fmla="*/ 34481 h 34480"/>
                  <a:gd name="connsiteX3" fmla="*/ 98489 w 115709"/>
                  <a:gd name="connsiteY3" fmla="*/ 34481 h 34480"/>
                  <a:gd name="connsiteX4" fmla="*/ 17221 w 115709"/>
                  <a:gd name="connsiteY4" fmla="*/ 34481 h 34480"/>
                  <a:gd name="connsiteX5" fmla="*/ 0 w 115709"/>
                  <a:gd name="connsiteY5" fmla="*/ 34481 h 34480"/>
                  <a:gd name="connsiteX6" fmla="*/ 0 w 115709"/>
                  <a:gd name="connsiteY6" fmla="*/ 0 h 34480"/>
                  <a:gd name="connsiteX7" fmla="*/ 17221 w 115709"/>
                  <a:gd name="connsiteY7" fmla="*/ 0 h 34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5709" h="34480">
                    <a:moveTo>
                      <a:pt x="98489" y="0"/>
                    </a:moveTo>
                    <a:cubicBezTo>
                      <a:pt x="108000" y="0"/>
                      <a:pt x="115710" y="0"/>
                      <a:pt x="115710" y="0"/>
                    </a:cubicBezTo>
                    <a:lnTo>
                      <a:pt x="115710" y="34481"/>
                    </a:lnTo>
                    <a:cubicBezTo>
                      <a:pt x="115710" y="34481"/>
                      <a:pt x="108000" y="34481"/>
                      <a:pt x="98489" y="34481"/>
                    </a:cubicBezTo>
                    <a:lnTo>
                      <a:pt x="17221" y="34481"/>
                    </a:lnTo>
                    <a:cubicBezTo>
                      <a:pt x="7710" y="34481"/>
                      <a:pt x="0" y="34481"/>
                      <a:pt x="0" y="34481"/>
                    </a:cubicBezTo>
                    <a:lnTo>
                      <a:pt x="0" y="0"/>
                    </a:lnTo>
                    <a:cubicBezTo>
                      <a:pt x="0" y="0"/>
                      <a:pt x="7710" y="0"/>
                      <a:pt x="17221" y="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26" name="任意形状 325"/>
              <p:cNvSpPr/>
              <p:nvPr/>
            </p:nvSpPr>
            <p:spPr>
              <a:xfrm>
                <a:off x="6048424" y="6382994"/>
                <a:ext cx="115709" cy="34480"/>
              </a:xfrm>
              <a:custGeom>
                <a:avLst/>
                <a:gdLst>
                  <a:gd name="connsiteX0" fmla="*/ 98489 w 115709"/>
                  <a:gd name="connsiteY0" fmla="*/ 0 h 34480"/>
                  <a:gd name="connsiteX1" fmla="*/ 115710 w 115709"/>
                  <a:gd name="connsiteY1" fmla="*/ 0 h 34480"/>
                  <a:gd name="connsiteX2" fmla="*/ 115710 w 115709"/>
                  <a:gd name="connsiteY2" fmla="*/ 34481 h 34480"/>
                  <a:gd name="connsiteX3" fmla="*/ 98489 w 115709"/>
                  <a:gd name="connsiteY3" fmla="*/ 34481 h 34480"/>
                  <a:gd name="connsiteX4" fmla="*/ 17221 w 115709"/>
                  <a:gd name="connsiteY4" fmla="*/ 34481 h 34480"/>
                  <a:gd name="connsiteX5" fmla="*/ 0 w 115709"/>
                  <a:gd name="connsiteY5" fmla="*/ 34481 h 34480"/>
                  <a:gd name="connsiteX6" fmla="*/ 0 w 115709"/>
                  <a:gd name="connsiteY6" fmla="*/ 0 h 34480"/>
                  <a:gd name="connsiteX7" fmla="*/ 17221 w 115709"/>
                  <a:gd name="connsiteY7" fmla="*/ 0 h 34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5709" h="34480">
                    <a:moveTo>
                      <a:pt x="98489" y="0"/>
                    </a:moveTo>
                    <a:cubicBezTo>
                      <a:pt x="108000" y="0"/>
                      <a:pt x="115710" y="0"/>
                      <a:pt x="115710" y="0"/>
                    </a:cubicBezTo>
                    <a:lnTo>
                      <a:pt x="115710" y="34481"/>
                    </a:lnTo>
                    <a:cubicBezTo>
                      <a:pt x="115710" y="34481"/>
                      <a:pt x="108000" y="34481"/>
                      <a:pt x="98489" y="34481"/>
                    </a:cubicBezTo>
                    <a:lnTo>
                      <a:pt x="17221" y="34481"/>
                    </a:lnTo>
                    <a:cubicBezTo>
                      <a:pt x="7710" y="34481"/>
                      <a:pt x="0" y="34481"/>
                      <a:pt x="0" y="34481"/>
                    </a:cubicBezTo>
                    <a:lnTo>
                      <a:pt x="0" y="0"/>
                    </a:lnTo>
                    <a:cubicBezTo>
                      <a:pt x="0" y="0"/>
                      <a:pt x="7710" y="0"/>
                      <a:pt x="17221" y="0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321" name="图形 202"/>
            <p:cNvGrpSpPr/>
            <p:nvPr/>
          </p:nvGrpSpPr>
          <p:grpSpPr>
            <a:xfrm>
              <a:off x="5667157" y="6129363"/>
              <a:ext cx="369798" cy="189814"/>
              <a:chOff x="5667157" y="6129363"/>
              <a:chExt cx="369798" cy="189814"/>
            </a:xfrm>
            <a:solidFill>
              <a:srgbClr val="EEEFEE"/>
            </a:solidFill>
          </p:grpSpPr>
          <p:sp>
            <p:nvSpPr>
              <p:cNvPr id="322" name="任意形状 321"/>
              <p:cNvSpPr/>
              <p:nvPr/>
            </p:nvSpPr>
            <p:spPr>
              <a:xfrm>
                <a:off x="5667157" y="6129363"/>
                <a:ext cx="169316" cy="189814"/>
              </a:xfrm>
              <a:custGeom>
                <a:avLst/>
                <a:gdLst>
                  <a:gd name="connsiteX0" fmla="*/ 24841 w 169316"/>
                  <a:gd name="connsiteY0" fmla="*/ 189814 h 189814"/>
                  <a:gd name="connsiteX1" fmla="*/ 0 w 169316"/>
                  <a:gd name="connsiteY1" fmla="*/ 189814 h 189814"/>
                  <a:gd name="connsiteX2" fmla="*/ 144475 w 169316"/>
                  <a:gd name="connsiteY2" fmla="*/ 0 h 189814"/>
                  <a:gd name="connsiteX3" fmla="*/ 169316 w 169316"/>
                  <a:gd name="connsiteY3" fmla="*/ 0 h 189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16" h="189814">
                    <a:moveTo>
                      <a:pt x="24841" y="189814"/>
                    </a:moveTo>
                    <a:lnTo>
                      <a:pt x="0" y="189814"/>
                    </a:lnTo>
                    <a:lnTo>
                      <a:pt x="144475" y="0"/>
                    </a:lnTo>
                    <a:lnTo>
                      <a:pt x="169316" y="0"/>
                    </a:ln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23" name="任意形状 322"/>
              <p:cNvSpPr/>
              <p:nvPr/>
            </p:nvSpPr>
            <p:spPr>
              <a:xfrm>
                <a:off x="5770370" y="6129363"/>
                <a:ext cx="266585" cy="189814"/>
              </a:xfrm>
              <a:custGeom>
                <a:avLst/>
                <a:gdLst>
                  <a:gd name="connsiteX0" fmla="*/ 122111 w 266585"/>
                  <a:gd name="connsiteY0" fmla="*/ 189814 h 189814"/>
                  <a:gd name="connsiteX1" fmla="*/ 0 w 266585"/>
                  <a:gd name="connsiteY1" fmla="*/ 189814 h 189814"/>
                  <a:gd name="connsiteX2" fmla="*/ 144437 w 266585"/>
                  <a:gd name="connsiteY2" fmla="*/ 0 h 189814"/>
                  <a:gd name="connsiteX3" fmla="*/ 266586 w 266585"/>
                  <a:gd name="connsiteY3" fmla="*/ 0 h 189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585" h="189814">
                    <a:moveTo>
                      <a:pt x="122111" y="189814"/>
                    </a:moveTo>
                    <a:lnTo>
                      <a:pt x="0" y="189814"/>
                    </a:lnTo>
                    <a:lnTo>
                      <a:pt x="144437" y="0"/>
                    </a:lnTo>
                    <a:lnTo>
                      <a:pt x="266586" y="0"/>
                    </a:ln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327" name="图形 207"/>
          <p:cNvGrpSpPr>
            <a:grpSpLocks noChangeAspect="1"/>
          </p:cNvGrpSpPr>
          <p:nvPr/>
        </p:nvGrpSpPr>
        <p:grpSpPr>
          <a:xfrm>
            <a:off x="2746906" y="4157846"/>
            <a:ext cx="720000" cy="720000"/>
            <a:chOff x="-715312" y="4072087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28" name="任意形状 327"/>
            <p:cNvSpPr/>
            <p:nvPr/>
          </p:nvSpPr>
          <p:spPr>
            <a:xfrm>
              <a:off x="2986103" y="6290116"/>
              <a:ext cx="299084" cy="280682"/>
            </a:xfrm>
            <a:custGeom>
              <a:avLst/>
              <a:gdLst>
                <a:gd name="connsiteX0" fmla="*/ 0 w 299084"/>
                <a:gd name="connsiteY0" fmla="*/ 0 h 280682"/>
                <a:gd name="connsiteX1" fmla="*/ 240030 w 299084"/>
                <a:gd name="connsiteY1" fmla="*/ 0 h 280682"/>
                <a:gd name="connsiteX2" fmla="*/ 299085 w 299084"/>
                <a:gd name="connsiteY2" fmla="*/ 59093 h 280682"/>
                <a:gd name="connsiteX3" fmla="*/ 299085 w 299084"/>
                <a:gd name="connsiteY3" fmla="*/ 114491 h 280682"/>
                <a:gd name="connsiteX4" fmla="*/ 239992 w 299084"/>
                <a:gd name="connsiteY4" fmla="*/ 173584 h 280682"/>
                <a:gd name="connsiteX5" fmla="*/ 199377 w 299084"/>
                <a:gd name="connsiteY5" fmla="*/ 173584 h 280682"/>
                <a:gd name="connsiteX6" fmla="*/ 169850 w 299084"/>
                <a:gd name="connsiteY6" fmla="*/ 203111 h 280682"/>
                <a:gd name="connsiteX7" fmla="*/ 169850 w 299084"/>
                <a:gd name="connsiteY7" fmla="*/ 221590 h 280682"/>
                <a:gd name="connsiteX8" fmla="*/ 110757 w 299084"/>
                <a:gd name="connsiteY8" fmla="*/ 280683 h 280682"/>
                <a:gd name="connsiteX9" fmla="*/ 0 w 299084"/>
                <a:gd name="connsiteY9" fmla="*/ 280683 h 28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9084" h="280682">
                  <a:moveTo>
                    <a:pt x="0" y="0"/>
                  </a:moveTo>
                  <a:lnTo>
                    <a:pt x="240030" y="0"/>
                  </a:lnTo>
                  <a:cubicBezTo>
                    <a:pt x="272644" y="23"/>
                    <a:pt x="299085" y="26472"/>
                    <a:pt x="299085" y="59093"/>
                  </a:cubicBezTo>
                  <a:lnTo>
                    <a:pt x="299085" y="114491"/>
                  </a:lnTo>
                  <a:cubicBezTo>
                    <a:pt x="299085" y="147127"/>
                    <a:pt x="272644" y="173584"/>
                    <a:pt x="239992" y="173584"/>
                  </a:cubicBezTo>
                  <a:lnTo>
                    <a:pt x="199377" y="173584"/>
                  </a:lnTo>
                  <a:cubicBezTo>
                    <a:pt x="183071" y="173584"/>
                    <a:pt x="169850" y="186804"/>
                    <a:pt x="169850" y="203111"/>
                  </a:cubicBezTo>
                  <a:lnTo>
                    <a:pt x="169850" y="221590"/>
                  </a:lnTo>
                  <a:cubicBezTo>
                    <a:pt x="169850" y="254226"/>
                    <a:pt x="143408" y="280683"/>
                    <a:pt x="110757" y="280683"/>
                  </a:cubicBezTo>
                  <a:lnTo>
                    <a:pt x="0" y="280683"/>
                  </a:ln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29" name="任意形状 328"/>
            <p:cNvSpPr/>
            <p:nvPr/>
          </p:nvSpPr>
          <p:spPr>
            <a:xfrm>
              <a:off x="160988" y="6290116"/>
              <a:ext cx="299085" cy="280682"/>
            </a:xfrm>
            <a:custGeom>
              <a:avLst/>
              <a:gdLst>
                <a:gd name="connsiteX0" fmla="*/ 299085 w 299085"/>
                <a:gd name="connsiteY0" fmla="*/ 0 h 280682"/>
                <a:gd name="connsiteX1" fmla="*/ 59055 w 299085"/>
                <a:gd name="connsiteY1" fmla="*/ 0 h 280682"/>
                <a:gd name="connsiteX2" fmla="*/ 0 w 299085"/>
                <a:gd name="connsiteY2" fmla="*/ 59093 h 280682"/>
                <a:gd name="connsiteX3" fmla="*/ 0 w 299085"/>
                <a:gd name="connsiteY3" fmla="*/ 114491 h 280682"/>
                <a:gd name="connsiteX4" fmla="*/ 59093 w 299085"/>
                <a:gd name="connsiteY4" fmla="*/ 173584 h 280682"/>
                <a:gd name="connsiteX5" fmla="*/ 99708 w 299085"/>
                <a:gd name="connsiteY5" fmla="*/ 173584 h 280682"/>
                <a:gd name="connsiteX6" fmla="*/ 129235 w 299085"/>
                <a:gd name="connsiteY6" fmla="*/ 203111 h 280682"/>
                <a:gd name="connsiteX7" fmla="*/ 129235 w 299085"/>
                <a:gd name="connsiteY7" fmla="*/ 221590 h 280682"/>
                <a:gd name="connsiteX8" fmla="*/ 188328 w 299085"/>
                <a:gd name="connsiteY8" fmla="*/ 280683 h 280682"/>
                <a:gd name="connsiteX9" fmla="*/ 299085 w 299085"/>
                <a:gd name="connsiteY9" fmla="*/ 280683 h 28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9085" h="280682">
                  <a:moveTo>
                    <a:pt x="299085" y="0"/>
                  </a:moveTo>
                  <a:lnTo>
                    <a:pt x="59055" y="0"/>
                  </a:lnTo>
                  <a:cubicBezTo>
                    <a:pt x="26434" y="23"/>
                    <a:pt x="0" y="26472"/>
                    <a:pt x="0" y="59093"/>
                  </a:cubicBezTo>
                  <a:lnTo>
                    <a:pt x="0" y="114491"/>
                  </a:lnTo>
                  <a:cubicBezTo>
                    <a:pt x="0" y="147127"/>
                    <a:pt x="26457" y="173584"/>
                    <a:pt x="59093" y="173584"/>
                  </a:cubicBezTo>
                  <a:lnTo>
                    <a:pt x="99708" y="173584"/>
                  </a:lnTo>
                  <a:cubicBezTo>
                    <a:pt x="116015" y="173584"/>
                    <a:pt x="129235" y="186804"/>
                    <a:pt x="129235" y="203111"/>
                  </a:cubicBezTo>
                  <a:lnTo>
                    <a:pt x="129235" y="221590"/>
                  </a:lnTo>
                  <a:cubicBezTo>
                    <a:pt x="129235" y="254226"/>
                    <a:pt x="155692" y="280683"/>
                    <a:pt x="188328" y="280683"/>
                  </a:cubicBezTo>
                  <a:lnTo>
                    <a:pt x="299085" y="280683"/>
                  </a:ln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0" name="任意形状 329"/>
            <p:cNvSpPr/>
            <p:nvPr/>
          </p:nvSpPr>
          <p:spPr>
            <a:xfrm>
              <a:off x="1632486" y="5413283"/>
              <a:ext cx="178574" cy="215912"/>
            </a:xfrm>
            <a:custGeom>
              <a:avLst/>
              <a:gdLst>
                <a:gd name="connsiteX0" fmla="*/ 0 w 178574"/>
                <a:gd name="connsiteY0" fmla="*/ 0 h 215912"/>
                <a:gd name="connsiteX1" fmla="*/ 178575 w 178574"/>
                <a:gd name="connsiteY1" fmla="*/ 0 h 215912"/>
                <a:gd name="connsiteX2" fmla="*/ 178575 w 178574"/>
                <a:gd name="connsiteY2" fmla="*/ 215913 h 215912"/>
                <a:gd name="connsiteX3" fmla="*/ 0 w 178574"/>
                <a:gd name="connsiteY3" fmla="*/ 215913 h 21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574" h="215912">
                  <a:moveTo>
                    <a:pt x="0" y="0"/>
                  </a:moveTo>
                  <a:lnTo>
                    <a:pt x="178575" y="0"/>
                  </a:lnTo>
                  <a:lnTo>
                    <a:pt x="178575" y="215913"/>
                  </a:lnTo>
                  <a:lnTo>
                    <a:pt x="0" y="215913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1" name="任意形状 330"/>
            <p:cNvSpPr/>
            <p:nvPr/>
          </p:nvSpPr>
          <p:spPr>
            <a:xfrm>
              <a:off x="1492849" y="5311670"/>
              <a:ext cx="457847" cy="155067"/>
            </a:xfrm>
            <a:custGeom>
              <a:avLst/>
              <a:gdLst>
                <a:gd name="connsiteX0" fmla="*/ 380314 w 457847"/>
                <a:gd name="connsiteY0" fmla="*/ 0 h 155067"/>
                <a:gd name="connsiteX1" fmla="*/ 457848 w 457847"/>
                <a:gd name="connsiteY1" fmla="*/ 0 h 155067"/>
                <a:gd name="connsiteX2" fmla="*/ 457848 w 457847"/>
                <a:gd name="connsiteY2" fmla="*/ 155067 h 155067"/>
                <a:gd name="connsiteX3" fmla="*/ 380314 w 457847"/>
                <a:gd name="connsiteY3" fmla="*/ 155067 h 155067"/>
                <a:gd name="connsiteX4" fmla="*/ 77534 w 457847"/>
                <a:gd name="connsiteY4" fmla="*/ 155067 h 155067"/>
                <a:gd name="connsiteX5" fmla="*/ 0 w 457847"/>
                <a:gd name="connsiteY5" fmla="*/ 155067 h 155067"/>
                <a:gd name="connsiteX6" fmla="*/ 0 w 457847"/>
                <a:gd name="connsiteY6" fmla="*/ 0 h 155067"/>
                <a:gd name="connsiteX7" fmla="*/ 77534 w 457847"/>
                <a:gd name="connsiteY7" fmla="*/ 0 h 155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7847" h="155067">
                  <a:moveTo>
                    <a:pt x="380314" y="0"/>
                  </a:moveTo>
                  <a:cubicBezTo>
                    <a:pt x="423135" y="0"/>
                    <a:pt x="457848" y="0"/>
                    <a:pt x="457848" y="0"/>
                  </a:cubicBezTo>
                  <a:lnTo>
                    <a:pt x="457848" y="155067"/>
                  </a:lnTo>
                  <a:cubicBezTo>
                    <a:pt x="457848" y="155067"/>
                    <a:pt x="423135" y="155067"/>
                    <a:pt x="380314" y="155067"/>
                  </a:cubicBezTo>
                  <a:lnTo>
                    <a:pt x="77534" y="155067"/>
                  </a:lnTo>
                  <a:cubicBezTo>
                    <a:pt x="34713" y="155067"/>
                    <a:pt x="0" y="155067"/>
                    <a:pt x="0" y="155067"/>
                  </a:cubicBezTo>
                  <a:lnTo>
                    <a:pt x="0" y="0"/>
                  </a:lnTo>
                  <a:cubicBezTo>
                    <a:pt x="0" y="0"/>
                    <a:pt x="34713" y="0"/>
                    <a:pt x="77534" y="0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2" name="任意形状 331"/>
            <p:cNvSpPr/>
            <p:nvPr/>
          </p:nvSpPr>
          <p:spPr>
            <a:xfrm>
              <a:off x="415877" y="5567702"/>
              <a:ext cx="2611754" cy="409384"/>
            </a:xfrm>
            <a:custGeom>
              <a:avLst/>
              <a:gdLst>
                <a:gd name="connsiteX0" fmla="*/ 2611755 w 2611754"/>
                <a:gd name="connsiteY0" fmla="*/ 409384 h 409384"/>
                <a:gd name="connsiteX1" fmla="*/ 2385212 w 2611754"/>
                <a:gd name="connsiteY1" fmla="*/ 404965 h 409384"/>
                <a:gd name="connsiteX2" fmla="*/ 1025843 w 2611754"/>
                <a:gd name="connsiteY2" fmla="*/ 378905 h 409384"/>
                <a:gd name="connsiteX3" fmla="*/ 0 w 2611754"/>
                <a:gd name="connsiteY3" fmla="*/ 409384 h 409384"/>
                <a:gd name="connsiteX4" fmla="*/ 334975 w 2611754"/>
                <a:gd name="connsiteY4" fmla="*/ 168364 h 409384"/>
                <a:gd name="connsiteX5" fmla="*/ 1305916 w 2611754"/>
                <a:gd name="connsiteY5" fmla="*/ 0 h 409384"/>
                <a:gd name="connsiteX6" fmla="*/ 2611755 w 2611754"/>
                <a:gd name="connsiteY6" fmla="*/ 409384 h 40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11754" h="409384">
                  <a:moveTo>
                    <a:pt x="2611755" y="409384"/>
                  </a:moveTo>
                  <a:lnTo>
                    <a:pt x="2385212" y="404965"/>
                  </a:lnTo>
                  <a:lnTo>
                    <a:pt x="1025843" y="378905"/>
                  </a:lnTo>
                  <a:lnTo>
                    <a:pt x="0" y="409384"/>
                  </a:lnTo>
                  <a:cubicBezTo>
                    <a:pt x="60541" y="317221"/>
                    <a:pt x="177508" y="234810"/>
                    <a:pt x="334975" y="168364"/>
                  </a:cubicBezTo>
                  <a:cubicBezTo>
                    <a:pt x="580720" y="64694"/>
                    <a:pt x="924878" y="0"/>
                    <a:pt x="1305916" y="0"/>
                  </a:cubicBezTo>
                  <a:cubicBezTo>
                    <a:pt x="1930908" y="76"/>
                    <a:pt x="2456993" y="173736"/>
                    <a:pt x="2611755" y="409384"/>
                  </a:cubicBez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3" name="任意形状 332"/>
            <p:cNvSpPr/>
            <p:nvPr/>
          </p:nvSpPr>
          <p:spPr>
            <a:xfrm>
              <a:off x="415877" y="5628979"/>
              <a:ext cx="2385212" cy="348107"/>
            </a:xfrm>
            <a:custGeom>
              <a:avLst/>
              <a:gdLst>
                <a:gd name="connsiteX0" fmla="*/ 2385212 w 2385212"/>
                <a:gd name="connsiteY0" fmla="*/ 343764 h 348107"/>
                <a:gd name="connsiteX1" fmla="*/ 1025843 w 2385212"/>
                <a:gd name="connsiteY1" fmla="*/ 317628 h 348107"/>
                <a:gd name="connsiteX2" fmla="*/ 0 w 2385212"/>
                <a:gd name="connsiteY2" fmla="*/ 348108 h 348107"/>
                <a:gd name="connsiteX3" fmla="*/ 334975 w 2385212"/>
                <a:gd name="connsiteY3" fmla="*/ 107087 h 348107"/>
                <a:gd name="connsiteX4" fmla="*/ 1133704 w 2385212"/>
                <a:gd name="connsiteY4" fmla="*/ 140 h 348107"/>
                <a:gd name="connsiteX5" fmla="*/ 2385212 w 2385212"/>
                <a:gd name="connsiteY5" fmla="*/ 343764 h 348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85212" h="348107">
                  <a:moveTo>
                    <a:pt x="2385212" y="343764"/>
                  </a:moveTo>
                  <a:lnTo>
                    <a:pt x="1025843" y="317628"/>
                  </a:lnTo>
                  <a:lnTo>
                    <a:pt x="0" y="348108"/>
                  </a:lnTo>
                  <a:cubicBezTo>
                    <a:pt x="60541" y="255944"/>
                    <a:pt x="177508" y="173533"/>
                    <a:pt x="334975" y="107087"/>
                  </a:cubicBezTo>
                  <a:cubicBezTo>
                    <a:pt x="594741" y="33466"/>
                    <a:pt x="863719" y="-2550"/>
                    <a:pt x="1133704" y="140"/>
                  </a:cubicBezTo>
                  <a:cubicBezTo>
                    <a:pt x="1699031" y="216"/>
                    <a:pt x="2183168" y="142367"/>
                    <a:pt x="2385212" y="343764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4" name="任意形状 333"/>
            <p:cNvSpPr/>
            <p:nvPr/>
          </p:nvSpPr>
          <p:spPr>
            <a:xfrm>
              <a:off x="389588" y="5946759"/>
              <a:ext cx="2664371" cy="30403"/>
            </a:xfrm>
            <a:custGeom>
              <a:avLst/>
              <a:gdLst>
                <a:gd name="connsiteX0" fmla="*/ 2664371 w 2664371"/>
                <a:gd name="connsiteY0" fmla="*/ 30404 h 30403"/>
                <a:gd name="connsiteX1" fmla="*/ 0 w 2664371"/>
                <a:gd name="connsiteY1" fmla="*/ 30404 h 30403"/>
                <a:gd name="connsiteX2" fmla="*/ 1046531 w 2664371"/>
                <a:gd name="connsiteY2" fmla="*/ 0 h 30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64371" h="30403">
                  <a:moveTo>
                    <a:pt x="2664371" y="30404"/>
                  </a:moveTo>
                  <a:lnTo>
                    <a:pt x="0" y="30404"/>
                  </a:lnTo>
                  <a:lnTo>
                    <a:pt x="1046531" y="0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5" name="任意形状 334"/>
            <p:cNvSpPr/>
            <p:nvPr/>
          </p:nvSpPr>
          <p:spPr>
            <a:xfrm>
              <a:off x="418620" y="6045095"/>
              <a:ext cx="2609011" cy="1664207"/>
            </a:xfrm>
            <a:custGeom>
              <a:avLst/>
              <a:gdLst>
                <a:gd name="connsiteX0" fmla="*/ 2609012 w 2609011"/>
                <a:gd name="connsiteY0" fmla="*/ 0 h 1664207"/>
                <a:gd name="connsiteX1" fmla="*/ 2609012 w 2609011"/>
                <a:gd name="connsiteY1" fmla="*/ 1457439 h 1664207"/>
                <a:gd name="connsiteX2" fmla="*/ 2372792 w 2609011"/>
                <a:gd name="connsiteY2" fmla="*/ 1664208 h 1664207"/>
                <a:gd name="connsiteX3" fmla="*/ 236220 w 2609011"/>
                <a:gd name="connsiteY3" fmla="*/ 1664208 h 1664207"/>
                <a:gd name="connsiteX4" fmla="*/ 0 w 2609011"/>
                <a:gd name="connsiteY4" fmla="*/ 1457439 h 1664207"/>
                <a:gd name="connsiteX5" fmla="*/ 0 w 2609011"/>
                <a:gd name="connsiteY5" fmla="*/ 0 h 166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09011" h="1664207">
                  <a:moveTo>
                    <a:pt x="2609012" y="0"/>
                  </a:moveTo>
                  <a:lnTo>
                    <a:pt x="2609012" y="1457439"/>
                  </a:lnTo>
                  <a:cubicBezTo>
                    <a:pt x="2609012" y="1558443"/>
                    <a:pt x="2503246" y="1664208"/>
                    <a:pt x="2372792" y="1664208"/>
                  </a:cubicBezTo>
                  <a:lnTo>
                    <a:pt x="236220" y="1664208"/>
                  </a:lnTo>
                  <a:cubicBezTo>
                    <a:pt x="105651" y="1664208"/>
                    <a:pt x="0" y="1558443"/>
                    <a:pt x="0" y="145743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6" name="任意形状 335"/>
            <p:cNvSpPr/>
            <p:nvPr/>
          </p:nvSpPr>
          <p:spPr>
            <a:xfrm>
              <a:off x="418620" y="6045095"/>
              <a:ext cx="2378887" cy="1664207"/>
            </a:xfrm>
            <a:custGeom>
              <a:avLst/>
              <a:gdLst>
                <a:gd name="connsiteX0" fmla="*/ 2378888 w 2378887"/>
                <a:gd name="connsiteY0" fmla="*/ 0 h 1664207"/>
                <a:gd name="connsiteX1" fmla="*/ 2378888 w 2378887"/>
                <a:gd name="connsiteY1" fmla="*/ 1457439 h 1664207"/>
                <a:gd name="connsiteX2" fmla="*/ 2142668 w 2378887"/>
                <a:gd name="connsiteY2" fmla="*/ 1664208 h 1664207"/>
                <a:gd name="connsiteX3" fmla="*/ 236220 w 2378887"/>
                <a:gd name="connsiteY3" fmla="*/ 1664208 h 1664207"/>
                <a:gd name="connsiteX4" fmla="*/ 0 w 2378887"/>
                <a:gd name="connsiteY4" fmla="*/ 1457439 h 1664207"/>
                <a:gd name="connsiteX5" fmla="*/ 0 w 2378887"/>
                <a:gd name="connsiteY5" fmla="*/ 0 h 166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8887" h="1664207">
                  <a:moveTo>
                    <a:pt x="2378888" y="0"/>
                  </a:moveTo>
                  <a:lnTo>
                    <a:pt x="2378888" y="1457439"/>
                  </a:lnTo>
                  <a:cubicBezTo>
                    <a:pt x="2378888" y="1558443"/>
                    <a:pt x="2272856" y="1664208"/>
                    <a:pt x="2142668" y="1664208"/>
                  </a:cubicBezTo>
                  <a:lnTo>
                    <a:pt x="236220" y="1664208"/>
                  </a:lnTo>
                  <a:cubicBezTo>
                    <a:pt x="105651" y="1664208"/>
                    <a:pt x="0" y="1558443"/>
                    <a:pt x="0" y="145743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7" name="任意形状 336"/>
            <p:cNvSpPr/>
            <p:nvPr/>
          </p:nvSpPr>
          <p:spPr>
            <a:xfrm>
              <a:off x="285613" y="5909840"/>
              <a:ext cx="2874987" cy="199377"/>
            </a:xfrm>
            <a:custGeom>
              <a:avLst/>
              <a:gdLst>
                <a:gd name="connsiteX0" fmla="*/ 2775280 w 2874987"/>
                <a:gd name="connsiteY0" fmla="*/ 0 h 199377"/>
                <a:gd name="connsiteX1" fmla="*/ 2874988 w 2874987"/>
                <a:gd name="connsiteY1" fmla="*/ 0 h 199377"/>
                <a:gd name="connsiteX2" fmla="*/ 2874988 w 2874987"/>
                <a:gd name="connsiteY2" fmla="*/ 199377 h 199377"/>
                <a:gd name="connsiteX3" fmla="*/ 2775280 w 2874987"/>
                <a:gd name="connsiteY3" fmla="*/ 199377 h 199377"/>
                <a:gd name="connsiteX4" fmla="*/ 99708 w 2874987"/>
                <a:gd name="connsiteY4" fmla="*/ 199377 h 199377"/>
                <a:gd name="connsiteX5" fmla="*/ 0 w 2874987"/>
                <a:gd name="connsiteY5" fmla="*/ 199377 h 199377"/>
                <a:gd name="connsiteX6" fmla="*/ 0 w 2874987"/>
                <a:gd name="connsiteY6" fmla="*/ 0 h 199377"/>
                <a:gd name="connsiteX7" fmla="*/ 99708 w 2874987"/>
                <a:gd name="connsiteY7" fmla="*/ 0 h 199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74987" h="199377">
                  <a:moveTo>
                    <a:pt x="2775280" y="0"/>
                  </a:moveTo>
                  <a:cubicBezTo>
                    <a:pt x="2830347" y="0"/>
                    <a:pt x="2874988" y="0"/>
                    <a:pt x="2874988" y="0"/>
                  </a:cubicBezTo>
                  <a:lnTo>
                    <a:pt x="2874988" y="199377"/>
                  </a:lnTo>
                  <a:cubicBezTo>
                    <a:pt x="2874988" y="199377"/>
                    <a:pt x="2830347" y="199377"/>
                    <a:pt x="2775280" y="199377"/>
                  </a:cubicBezTo>
                  <a:lnTo>
                    <a:pt x="99708" y="199377"/>
                  </a:lnTo>
                  <a:cubicBezTo>
                    <a:pt x="44641" y="199377"/>
                    <a:pt x="0" y="199377"/>
                    <a:pt x="0" y="199377"/>
                  </a:cubicBezTo>
                  <a:lnTo>
                    <a:pt x="0" y="0"/>
                  </a:lnTo>
                  <a:cubicBezTo>
                    <a:pt x="0" y="0"/>
                    <a:pt x="44641" y="0"/>
                    <a:pt x="99708" y="0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8" name="任意形状 337"/>
            <p:cNvSpPr/>
            <p:nvPr/>
          </p:nvSpPr>
          <p:spPr>
            <a:xfrm>
              <a:off x="1479400" y="6463662"/>
              <a:ext cx="487375" cy="487375"/>
            </a:xfrm>
            <a:custGeom>
              <a:avLst/>
              <a:gdLst>
                <a:gd name="connsiteX0" fmla="*/ 487375 w 487375"/>
                <a:gd name="connsiteY0" fmla="*/ 243688 h 487375"/>
                <a:gd name="connsiteX1" fmla="*/ 243688 w 487375"/>
                <a:gd name="connsiteY1" fmla="*/ 487375 h 487375"/>
                <a:gd name="connsiteX2" fmla="*/ 0 w 487375"/>
                <a:gd name="connsiteY2" fmla="*/ 243688 h 487375"/>
                <a:gd name="connsiteX3" fmla="*/ 243688 w 487375"/>
                <a:gd name="connsiteY3" fmla="*/ 0 h 487375"/>
                <a:gd name="connsiteX4" fmla="*/ 487375 w 487375"/>
                <a:gd name="connsiteY4" fmla="*/ 243688 h 48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375" h="487375">
                  <a:moveTo>
                    <a:pt x="487375" y="243688"/>
                  </a:moveTo>
                  <a:cubicBezTo>
                    <a:pt x="487375" y="378272"/>
                    <a:pt x="378273" y="487375"/>
                    <a:pt x="243688" y="487375"/>
                  </a:cubicBezTo>
                  <a:cubicBezTo>
                    <a:pt x="109103" y="487375"/>
                    <a:pt x="0" y="378273"/>
                    <a:pt x="0" y="243688"/>
                  </a:cubicBezTo>
                  <a:cubicBezTo>
                    <a:pt x="0" y="109103"/>
                    <a:pt x="109103" y="0"/>
                    <a:pt x="243688" y="0"/>
                  </a:cubicBezTo>
                  <a:cubicBezTo>
                    <a:pt x="378272" y="0"/>
                    <a:pt x="487375" y="109103"/>
                    <a:pt x="487375" y="243688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39" name="任意形状 338"/>
            <p:cNvSpPr/>
            <p:nvPr/>
          </p:nvSpPr>
          <p:spPr>
            <a:xfrm>
              <a:off x="1681139" y="6380604"/>
              <a:ext cx="83896" cy="337832"/>
            </a:xfrm>
            <a:custGeom>
              <a:avLst/>
              <a:gdLst>
                <a:gd name="connsiteX0" fmla="*/ 41948 w 83896"/>
                <a:gd name="connsiteY0" fmla="*/ 0 h 337832"/>
                <a:gd name="connsiteX1" fmla="*/ 83896 w 83896"/>
                <a:gd name="connsiteY1" fmla="*/ 0 h 337832"/>
                <a:gd name="connsiteX2" fmla="*/ 83896 w 83896"/>
                <a:gd name="connsiteY2" fmla="*/ 337833 h 337832"/>
                <a:gd name="connsiteX3" fmla="*/ 41948 w 83896"/>
                <a:gd name="connsiteY3" fmla="*/ 337833 h 337832"/>
                <a:gd name="connsiteX4" fmla="*/ 41948 w 83896"/>
                <a:gd name="connsiteY4" fmla="*/ 337833 h 337832"/>
                <a:gd name="connsiteX5" fmla="*/ 0 w 83896"/>
                <a:gd name="connsiteY5" fmla="*/ 337833 h 337832"/>
                <a:gd name="connsiteX6" fmla="*/ 0 w 83896"/>
                <a:gd name="connsiteY6" fmla="*/ 0 h 337832"/>
                <a:gd name="connsiteX7" fmla="*/ 41948 w 83896"/>
                <a:gd name="connsiteY7" fmla="*/ 0 h 33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896" h="337832">
                  <a:moveTo>
                    <a:pt x="41948" y="0"/>
                  </a:moveTo>
                  <a:cubicBezTo>
                    <a:pt x="65115" y="0"/>
                    <a:pt x="83896" y="0"/>
                    <a:pt x="83896" y="0"/>
                  </a:cubicBezTo>
                  <a:lnTo>
                    <a:pt x="83896" y="337833"/>
                  </a:lnTo>
                  <a:cubicBezTo>
                    <a:pt x="83896" y="337833"/>
                    <a:pt x="65115" y="337833"/>
                    <a:pt x="41948" y="337833"/>
                  </a:cubicBezTo>
                  <a:lnTo>
                    <a:pt x="41948" y="337833"/>
                  </a:lnTo>
                  <a:cubicBezTo>
                    <a:pt x="18781" y="337833"/>
                    <a:pt x="0" y="337833"/>
                    <a:pt x="0" y="337833"/>
                  </a:cubicBezTo>
                  <a:lnTo>
                    <a:pt x="0" y="0"/>
                  </a:lnTo>
                  <a:cubicBezTo>
                    <a:pt x="0" y="0"/>
                    <a:pt x="18781" y="0"/>
                    <a:pt x="41948" y="0"/>
                  </a:cubicBezTo>
                  <a:close/>
                </a:path>
              </a:pathLst>
            </a:custGeom>
            <a:solidFill>
              <a:srgbClr val="828A9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340" name="图形 207"/>
            <p:cNvGrpSpPr/>
            <p:nvPr/>
          </p:nvGrpSpPr>
          <p:grpSpPr>
            <a:xfrm>
              <a:off x="1102820" y="6605089"/>
              <a:ext cx="1240688" cy="226542"/>
              <a:chOff x="1102820" y="6605089"/>
              <a:chExt cx="1240688" cy="226542"/>
            </a:xfrm>
            <a:solidFill>
              <a:srgbClr val="575B6D"/>
            </a:solidFill>
          </p:grpSpPr>
          <p:sp>
            <p:nvSpPr>
              <p:cNvPr id="341" name="任意形状 340"/>
              <p:cNvSpPr/>
              <p:nvPr/>
            </p:nvSpPr>
            <p:spPr>
              <a:xfrm>
                <a:off x="2116965" y="6605089"/>
                <a:ext cx="226542" cy="226542"/>
              </a:xfrm>
              <a:custGeom>
                <a:avLst/>
                <a:gdLst>
                  <a:gd name="connsiteX0" fmla="*/ 226542 w 226542"/>
                  <a:gd name="connsiteY0" fmla="*/ 113271 h 226542"/>
                  <a:gd name="connsiteX1" fmla="*/ 113271 w 226542"/>
                  <a:gd name="connsiteY1" fmla="*/ 226543 h 226542"/>
                  <a:gd name="connsiteX2" fmla="*/ 0 w 226542"/>
                  <a:gd name="connsiteY2" fmla="*/ 113271 h 226542"/>
                  <a:gd name="connsiteX3" fmla="*/ 113271 w 226542"/>
                  <a:gd name="connsiteY3" fmla="*/ 0 h 226542"/>
                  <a:gd name="connsiteX4" fmla="*/ 226542 w 226542"/>
                  <a:gd name="connsiteY4" fmla="*/ 113271 h 226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542" h="226542">
                    <a:moveTo>
                      <a:pt x="226542" y="113271"/>
                    </a:moveTo>
                    <a:cubicBezTo>
                      <a:pt x="226542" y="175829"/>
                      <a:pt x="175829" y="226543"/>
                      <a:pt x="113271" y="226543"/>
                    </a:cubicBezTo>
                    <a:cubicBezTo>
                      <a:pt x="50713" y="226543"/>
                      <a:pt x="0" y="175829"/>
                      <a:pt x="0" y="113271"/>
                    </a:cubicBezTo>
                    <a:cubicBezTo>
                      <a:pt x="0" y="50713"/>
                      <a:pt x="50713" y="0"/>
                      <a:pt x="113271" y="0"/>
                    </a:cubicBezTo>
                    <a:cubicBezTo>
                      <a:pt x="175829" y="0"/>
                      <a:pt x="226542" y="50713"/>
                      <a:pt x="226542" y="113271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42" name="任意形状 341"/>
              <p:cNvSpPr/>
              <p:nvPr/>
            </p:nvSpPr>
            <p:spPr>
              <a:xfrm>
                <a:off x="1102820" y="6605089"/>
                <a:ext cx="226542" cy="226542"/>
              </a:xfrm>
              <a:custGeom>
                <a:avLst/>
                <a:gdLst>
                  <a:gd name="connsiteX0" fmla="*/ 226543 w 226542"/>
                  <a:gd name="connsiteY0" fmla="*/ 113271 h 226542"/>
                  <a:gd name="connsiteX1" fmla="*/ 113271 w 226542"/>
                  <a:gd name="connsiteY1" fmla="*/ 226543 h 226542"/>
                  <a:gd name="connsiteX2" fmla="*/ 0 w 226542"/>
                  <a:gd name="connsiteY2" fmla="*/ 113271 h 226542"/>
                  <a:gd name="connsiteX3" fmla="*/ 113271 w 226542"/>
                  <a:gd name="connsiteY3" fmla="*/ 0 h 226542"/>
                  <a:gd name="connsiteX4" fmla="*/ 226543 w 226542"/>
                  <a:gd name="connsiteY4" fmla="*/ 113271 h 226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542" h="226542">
                    <a:moveTo>
                      <a:pt x="226543" y="113271"/>
                    </a:moveTo>
                    <a:cubicBezTo>
                      <a:pt x="226543" y="175829"/>
                      <a:pt x="175829" y="226543"/>
                      <a:pt x="113271" y="226543"/>
                    </a:cubicBezTo>
                    <a:cubicBezTo>
                      <a:pt x="50713" y="226543"/>
                      <a:pt x="0" y="175829"/>
                      <a:pt x="0" y="113271"/>
                    </a:cubicBezTo>
                    <a:cubicBezTo>
                      <a:pt x="0" y="50713"/>
                      <a:pt x="50713" y="0"/>
                      <a:pt x="113271" y="0"/>
                    </a:cubicBezTo>
                    <a:cubicBezTo>
                      <a:pt x="175829" y="0"/>
                      <a:pt x="226543" y="50713"/>
                      <a:pt x="226543" y="113271"/>
                    </a:cubicBezTo>
                    <a:close/>
                  </a:path>
                </a:pathLst>
              </a:custGeom>
              <a:solidFill>
                <a:srgbClr val="575B6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343" name="图形 190"/>
          <p:cNvGrpSpPr>
            <a:grpSpLocks noChangeAspect="1"/>
          </p:cNvGrpSpPr>
          <p:nvPr/>
        </p:nvGrpSpPr>
        <p:grpSpPr>
          <a:xfrm>
            <a:off x="385064" y="1678274"/>
            <a:ext cx="720000" cy="720000"/>
            <a:chOff x="3657600" y="990600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44" name="任意形状 343"/>
            <p:cNvSpPr/>
            <p:nvPr/>
          </p:nvSpPr>
          <p:spPr>
            <a:xfrm>
              <a:off x="6723773" y="4782959"/>
              <a:ext cx="246812" cy="208140"/>
            </a:xfrm>
            <a:custGeom>
              <a:avLst/>
              <a:gdLst>
                <a:gd name="connsiteX0" fmla="*/ 246812 w 246812"/>
                <a:gd name="connsiteY0" fmla="*/ 0 h 208140"/>
                <a:gd name="connsiteX1" fmla="*/ 246812 w 246812"/>
                <a:gd name="connsiteY1" fmla="*/ 148590 h 208140"/>
                <a:gd name="connsiteX2" fmla="*/ 187414 w 246812"/>
                <a:gd name="connsiteY2" fmla="*/ 208140 h 208140"/>
                <a:gd name="connsiteX3" fmla="*/ 187338 w 246812"/>
                <a:gd name="connsiteY3" fmla="*/ 208140 h 208140"/>
                <a:gd name="connsiteX4" fmla="*/ 59474 w 246812"/>
                <a:gd name="connsiteY4" fmla="*/ 208140 h 208140"/>
                <a:gd name="connsiteX5" fmla="*/ 0 w 246812"/>
                <a:gd name="connsiteY5" fmla="*/ 148666 h 208140"/>
                <a:gd name="connsiteX6" fmla="*/ 0 w 246812"/>
                <a:gd name="connsiteY6" fmla="*/ 76 h 208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6812" h="208140">
                  <a:moveTo>
                    <a:pt x="246812" y="0"/>
                  </a:moveTo>
                  <a:lnTo>
                    <a:pt x="246812" y="148590"/>
                  </a:lnTo>
                  <a:cubicBezTo>
                    <a:pt x="246854" y="181432"/>
                    <a:pt x="220260" y="208102"/>
                    <a:pt x="187414" y="208140"/>
                  </a:cubicBezTo>
                  <a:cubicBezTo>
                    <a:pt x="187387" y="208140"/>
                    <a:pt x="187364" y="208140"/>
                    <a:pt x="187338" y="208140"/>
                  </a:cubicBezTo>
                  <a:lnTo>
                    <a:pt x="59474" y="208140"/>
                  </a:lnTo>
                  <a:cubicBezTo>
                    <a:pt x="26628" y="208140"/>
                    <a:pt x="0" y="181508"/>
                    <a:pt x="0" y="148666"/>
                  </a:cubicBezTo>
                  <a:lnTo>
                    <a:pt x="0" y="76"/>
                  </a:ln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45" name="任意形状 344"/>
            <p:cNvSpPr/>
            <p:nvPr/>
          </p:nvSpPr>
          <p:spPr>
            <a:xfrm>
              <a:off x="5221414" y="4782959"/>
              <a:ext cx="246811" cy="208140"/>
            </a:xfrm>
            <a:custGeom>
              <a:avLst/>
              <a:gdLst>
                <a:gd name="connsiteX0" fmla="*/ 246812 w 246811"/>
                <a:gd name="connsiteY0" fmla="*/ 0 h 208140"/>
                <a:gd name="connsiteX1" fmla="*/ 246812 w 246811"/>
                <a:gd name="connsiteY1" fmla="*/ 148590 h 208140"/>
                <a:gd name="connsiteX2" fmla="*/ 187414 w 246811"/>
                <a:gd name="connsiteY2" fmla="*/ 208140 h 208140"/>
                <a:gd name="connsiteX3" fmla="*/ 187338 w 246811"/>
                <a:gd name="connsiteY3" fmla="*/ 208140 h 208140"/>
                <a:gd name="connsiteX4" fmla="*/ 59474 w 246811"/>
                <a:gd name="connsiteY4" fmla="*/ 208140 h 208140"/>
                <a:gd name="connsiteX5" fmla="*/ 0 w 246811"/>
                <a:gd name="connsiteY5" fmla="*/ 148666 h 208140"/>
                <a:gd name="connsiteX6" fmla="*/ 0 w 246811"/>
                <a:gd name="connsiteY6" fmla="*/ 76 h 208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6811" h="208140">
                  <a:moveTo>
                    <a:pt x="246812" y="0"/>
                  </a:moveTo>
                  <a:lnTo>
                    <a:pt x="246812" y="148590"/>
                  </a:lnTo>
                  <a:cubicBezTo>
                    <a:pt x="246854" y="181432"/>
                    <a:pt x="220260" y="208102"/>
                    <a:pt x="187414" y="208140"/>
                  </a:cubicBezTo>
                  <a:cubicBezTo>
                    <a:pt x="187387" y="208140"/>
                    <a:pt x="187364" y="208140"/>
                    <a:pt x="187338" y="208140"/>
                  </a:cubicBezTo>
                  <a:lnTo>
                    <a:pt x="59474" y="208140"/>
                  </a:lnTo>
                  <a:cubicBezTo>
                    <a:pt x="26628" y="208140"/>
                    <a:pt x="0" y="181508"/>
                    <a:pt x="0" y="148666"/>
                  </a:cubicBezTo>
                  <a:lnTo>
                    <a:pt x="0" y="76"/>
                  </a:ln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46" name="任意形状 345"/>
            <p:cNvSpPr/>
            <p:nvPr/>
          </p:nvSpPr>
          <p:spPr>
            <a:xfrm>
              <a:off x="4983975" y="1866900"/>
              <a:ext cx="2224049" cy="2999689"/>
            </a:xfrm>
            <a:custGeom>
              <a:avLst/>
              <a:gdLst>
                <a:gd name="connsiteX0" fmla="*/ 1996707 w 2224049"/>
                <a:gd name="connsiteY0" fmla="*/ 0 h 2999689"/>
                <a:gd name="connsiteX1" fmla="*/ 2224050 w 2224049"/>
                <a:gd name="connsiteY1" fmla="*/ 0 h 2999689"/>
                <a:gd name="connsiteX2" fmla="*/ 2224050 w 2224049"/>
                <a:gd name="connsiteY2" fmla="*/ 2999689 h 2999689"/>
                <a:gd name="connsiteX3" fmla="*/ 1996707 w 2224049"/>
                <a:gd name="connsiteY3" fmla="*/ 2999689 h 2999689"/>
                <a:gd name="connsiteX4" fmla="*/ 227343 w 2224049"/>
                <a:gd name="connsiteY4" fmla="*/ 2999689 h 2999689"/>
                <a:gd name="connsiteX5" fmla="*/ 0 w 2224049"/>
                <a:gd name="connsiteY5" fmla="*/ 2999689 h 2999689"/>
                <a:gd name="connsiteX6" fmla="*/ 0 w 2224049"/>
                <a:gd name="connsiteY6" fmla="*/ 0 h 2999689"/>
                <a:gd name="connsiteX7" fmla="*/ 227343 w 2224049"/>
                <a:gd name="connsiteY7" fmla="*/ 0 h 299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4049" h="2999689">
                  <a:moveTo>
                    <a:pt x="1996707" y="0"/>
                  </a:moveTo>
                  <a:cubicBezTo>
                    <a:pt x="2122265" y="0"/>
                    <a:pt x="2224050" y="0"/>
                    <a:pt x="2224050" y="0"/>
                  </a:cubicBezTo>
                  <a:lnTo>
                    <a:pt x="2224050" y="2999689"/>
                  </a:lnTo>
                  <a:cubicBezTo>
                    <a:pt x="2224050" y="2999689"/>
                    <a:pt x="2122265" y="2999689"/>
                    <a:pt x="1996707" y="2999689"/>
                  </a:cubicBezTo>
                  <a:lnTo>
                    <a:pt x="227343" y="2999689"/>
                  </a:lnTo>
                  <a:cubicBezTo>
                    <a:pt x="101785" y="2999689"/>
                    <a:pt x="0" y="2999689"/>
                    <a:pt x="0" y="2999689"/>
                  </a:cubicBezTo>
                  <a:lnTo>
                    <a:pt x="0" y="0"/>
                  </a:lnTo>
                  <a:cubicBezTo>
                    <a:pt x="0" y="0"/>
                    <a:pt x="101785" y="0"/>
                    <a:pt x="227343" y="0"/>
                  </a:cubicBez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47" name="任意形状 346"/>
            <p:cNvSpPr/>
            <p:nvPr/>
          </p:nvSpPr>
          <p:spPr>
            <a:xfrm>
              <a:off x="5728906" y="3159861"/>
              <a:ext cx="1479118" cy="1706879"/>
            </a:xfrm>
            <a:custGeom>
              <a:avLst/>
              <a:gdLst>
                <a:gd name="connsiteX0" fmla="*/ 1479118 w 1479118"/>
                <a:gd name="connsiteY0" fmla="*/ 0 h 1706879"/>
                <a:gd name="connsiteX1" fmla="*/ 1479118 w 1479118"/>
                <a:gd name="connsiteY1" fmla="*/ 1479080 h 1706879"/>
                <a:gd name="connsiteX2" fmla="*/ 1252309 w 1479118"/>
                <a:gd name="connsiteY2" fmla="*/ 1706880 h 1706879"/>
                <a:gd name="connsiteX3" fmla="*/ 1251928 w 1479118"/>
                <a:gd name="connsiteY3" fmla="*/ 1706880 h 1706879"/>
                <a:gd name="connsiteX4" fmla="*/ 0 w 1479118"/>
                <a:gd name="connsiteY4" fmla="*/ 1706880 h 1706879"/>
                <a:gd name="connsiteX5" fmla="*/ 1479118 w 1479118"/>
                <a:gd name="connsiteY5" fmla="*/ 0 h 170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9118" h="1706879">
                  <a:moveTo>
                    <a:pt x="1479118" y="0"/>
                  </a:moveTo>
                  <a:lnTo>
                    <a:pt x="1479118" y="1479080"/>
                  </a:lnTo>
                  <a:cubicBezTo>
                    <a:pt x="1479392" y="1604616"/>
                    <a:pt x="1377845" y="1706613"/>
                    <a:pt x="1252309" y="1706880"/>
                  </a:cubicBezTo>
                  <a:cubicBezTo>
                    <a:pt x="1252183" y="1706880"/>
                    <a:pt x="1252054" y="1706880"/>
                    <a:pt x="1251928" y="1706880"/>
                  </a:cubicBezTo>
                  <a:lnTo>
                    <a:pt x="0" y="1706880"/>
                  </a:lnTo>
                  <a:cubicBezTo>
                    <a:pt x="934784" y="1126388"/>
                    <a:pt x="1326261" y="396659"/>
                    <a:pt x="1479118" y="0"/>
                  </a:cubicBezTo>
                  <a:close/>
                </a:path>
              </a:pathLst>
            </a:custGeom>
            <a:solidFill>
              <a:srgbClr val="E5E5E5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48" name="任意形状 347"/>
            <p:cNvSpPr/>
            <p:nvPr/>
          </p:nvSpPr>
          <p:spPr>
            <a:xfrm>
              <a:off x="5347525" y="1866900"/>
              <a:ext cx="1496948" cy="411479"/>
            </a:xfrm>
            <a:custGeom>
              <a:avLst/>
              <a:gdLst>
                <a:gd name="connsiteX0" fmla="*/ 1496949 w 1496948"/>
                <a:gd name="connsiteY0" fmla="*/ 0 h 411479"/>
                <a:gd name="connsiteX1" fmla="*/ 1496949 w 1496948"/>
                <a:gd name="connsiteY1" fmla="*/ 292608 h 411479"/>
                <a:gd name="connsiteX2" fmla="*/ 1378001 w 1496948"/>
                <a:gd name="connsiteY2" fmla="*/ 411480 h 411479"/>
                <a:gd name="connsiteX3" fmla="*/ 118948 w 1496948"/>
                <a:gd name="connsiteY3" fmla="*/ 411480 h 411479"/>
                <a:gd name="connsiteX4" fmla="*/ 0 w 1496948"/>
                <a:gd name="connsiteY4" fmla="*/ 292532 h 411479"/>
                <a:gd name="connsiteX5" fmla="*/ 0 w 1496948"/>
                <a:gd name="connsiteY5" fmla="*/ 0 h 41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6948" h="411479">
                  <a:moveTo>
                    <a:pt x="1496949" y="0"/>
                  </a:moveTo>
                  <a:lnTo>
                    <a:pt x="1496949" y="292608"/>
                  </a:lnTo>
                  <a:cubicBezTo>
                    <a:pt x="1496907" y="358273"/>
                    <a:pt x="1443666" y="411480"/>
                    <a:pt x="1378001" y="411480"/>
                  </a:cubicBezTo>
                  <a:lnTo>
                    <a:pt x="118948" y="411480"/>
                  </a:lnTo>
                  <a:cubicBezTo>
                    <a:pt x="53256" y="411480"/>
                    <a:pt x="0" y="358224"/>
                    <a:pt x="0" y="29253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49" name="任意形状 348"/>
            <p:cNvSpPr/>
            <p:nvPr/>
          </p:nvSpPr>
          <p:spPr>
            <a:xfrm>
              <a:off x="5511469" y="1996554"/>
              <a:ext cx="494233" cy="152247"/>
            </a:xfrm>
            <a:custGeom>
              <a:avLst/>
              <a:gdLst>
                <a:gd name="connsiteX0" fmla="*/ 459562 w 494233"/>
                <a:gd name="connsiteY0" fmla="*/ 0 h 152247"/>
                <a:gd name="connsiteX1" fmla="*/ 494233 w 494233"/>
                <a:gd name="connsiteY1" fmla="*/ 0 h 152247"/>
                <a:gd name="connsiteX2" fmla="*/ 494233 w 494233"/>
                <a:gd name="connsiteY2" fmla="*/ 152248 h 152247"/>
                <a:gd name="connsiteX3" fmla="*/ 459562 w 494233"/>
                <a:gd name="connsiteY3" fmla="*/ 152248 h 152247"/>
                <a:gd name="connsiteX4" fmla="*/ 34671 w 494233"/>
                <a:gd name="connsiteY4" fmla="*/ 152248 h 152247"/>
                <a:gd name="connsiteX5" fmla="*/ 0 w 494233"/>
                <a:gd name="connsiteY5" fmla="*/ 152248 h 152247"/>
                <a:gd name="connsiteX6" fmla="*/ 0 w 494233"/>
                <a:gd name="connsiteY6" fmla="*/ 0 h 152247"/>
                <a:gd name="connsiteX7" fmla="*/ 34671 w 494233"/>
                <a:gd name="connsiteY7" fmla="*/ 0 h 15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4233" h="152247">
                  <a:moveTo>
                    <a:pt x="459562" y="0"/>
                  </a:moveTo>
                  <a:cubicBezTo>
                    <a:pt x="478711" y="0"/>
                    <a:pt x="494233" y="0"/>
                    <a:pt x="494233" y="0"/>
                  </a:cubicBezTo>
                  <a:lnTo>
                    <a:pt x="494233" y="152248"/>
                  </a:lnTo>
                  <a:cubicBezTo>
                    <a:pt x="494233" y="152248"/>
                    <a:pt x="478711" y="152248"/>
                    <a:pt x="459562" y="152248"/>
                  </a:cubicBezTo>
                  <a:lnTo>
                    <a:pt x="34671" y="152248"/>
                  </a:lnTo>
                  <a:cubicBezTo>
                    <a:pt x="15523" y="152248"/>
                    <a:pt x="0" y="152248"/>
                    <a:pt x="0" y="152248"/>
                  </a:cubicBezTo>
                  <a:lnTo>
                    <a:pt x="0" y="0"/>
                  </a:lnTo>
                  <a:cubicBezTo>
                    <a:pt x="0" y="0"/>
                    <a:pt x="15523" y="0"/>
                    <a:pt x="34671" y="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0" name="任意形状 349"/>
            <p:cNvSpPr/>
            <p:nvPr/>
          </p:nvSpPr>
          <p:spPr>
            <a:xfrm>
              <a:off x="6215293" y="2016099"/>
              <a:ext cx="113764" cy="113767"/>
            </a:xfrm>
            <a:custGeom>
              <a:avLst/>
              <a:gdLst>
                <a:gd name="connsiteX0" fmla="*/ 113764 w 113764"/>
                <a:gd name="connsiteY0" fmla="*/ 56540 h 113767"/>
                <a:gd name="connsiteX1" fmla="*/ 57223 w 113764"/>
                <a:gd name="connsiteY1" fmla="*/ 113767 h 113767"/>
                <a:gd name="connsiteX2" fmla="*/ 1 w 113764"/>
                <a:gd name="connsiteY2" fmla="*/ 57226 h 113767"/>
                <a:gd name="connsiteX3" fmla="*/ 56537 w 113764"/>
                <a:gd name="connsiteY3" fmla="*/ 0 h 113767"/>
                <a:gd name="connsiteX4" fmla="*/ 57185 w 113764"/>
                <a:gd name="connsiteY4" fmla="*/ 0 h 113767"/>
                <a:gd name="connsiteX5" fmla="*/ 113764 w 113764"/>
                <a:gd name="connsiteY5" fmla="*/ 56350 h 113767"/>
                <a:gd name="connsiteX6" fmla="*/ 113764 w 113764"/>
                <a:gd name="connsiteY6" fmla="*/ 56540 h 113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764" h="113767">
                  <a:moveTo>
                    <a:pt x="113764" y="56540"/>
                  </a:moveTo>
                  <a:cubicBezTo>
                    <a:pt x="113954" y="87954"/>
                    <a:pt x="88641" y="113576"/>
                    <a:pt x="57223" y="113767"/>
                  </a:cubicBezTo>
                  <a:cubicBezTo>
                    <a:pt x="25810" y="113953"/>
                    <a:pt x="188" y="88640"/>
                    <a:pt x="1" y="57226"/>
                  </a:cubicBezTo>
                  <a:cubicBezTo>
                    <a:pt x="-190" y="25809"/>
                    <a:pt x="25124" y="191"/>
                    <a:pt x="56537" y="0"/>
                  </a:cubicBezTo>
                  <a:cubicBezTo>
                    <a:pt x="56755" y="0"/>
                    <a:pt x="56968" y="0"/>
                    <a:pt x="57185" y="0"/>
                  </a:cubicBezTo>
                  <a:cubicBezTo>
                    <a:pt x="88370" y="-65"/>
                    <a:pt x="113699" y="25165"/>
                    <a:pt x="113764" y="56350"/>
                  </a:cubicBezTo>
                  <a:cubicBezTo>
                    <a:pt x="113764" y="56415"/>
                    <a:pt x="113764" y="56476"/>
                    <a:pt x="113764" y="5654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1" name="任意形状 350"/>
            <p:cNvSpPr/>
            <p:nvPr/>
          </p:nvSpPr>
          <p:spPr>
            <a:xfrm>
              <a:off x="6389906" y="2016099"/>
              <a:ext cx="113764" cy="113767"/>
            </a:xfrm>
            <a:custGeom>
              <a:avLst/>
              <a:gdLst>
                <a:gd name="connsiteX0" fmla="*/ 113764 w 113764"/>
                <a:gd name="connsiteY0" fmla="*/ 56540 h 113767"/>
                <a:gd name="connsiteX1" fmla="*/ 57223 w 113764"/>
                <a:gd name="connsiteY1" fmla="*/ 113767 h 113767"/>
                <a:gd name="connsiteX2" fmla="*/ 1 w 113764"/>
                <a:gd name="connsiteY2" fmla="*/ 57226 h 113767"/>
                <a:gd name="connsiteX3" fmla="*/ 56537 w 113764"/>
                <a:gd name="connsiteY3" fmla="*/ 0 h 113767"/>
                <a:gd name="connsiteX4" fmla="*/ 57185 w 113764"/>
                <a:gd name="connsiteY4" fmla="*/ 0 h 113767"/>
                <a:gd name="connsiteX5" fmla="*/ 113764 w 113764"/>
                <a:gd name="connsiteY5" fmla="*/ 56350 h 113767"/>
                <a:gd name="connsiteX6" fmla="*/ 113764 w 113764"/>
                <a:gd name="connsiteY6" fmla="*/ 56540 h 113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764" h="113767">
                  <a:moveTo>
                    <a:pt x="113764" y="56540"/>
                  </a:moveTo>
                  <a:cubicBezTo>
                    <a:pt x="113954" y="87954"/>
                    <a:pt x="88641" y="113576"/>
                    <a:pt x="57223" y="113767"/>
                  </a:cubicBezTo>
                  <a:cubicBezTo>
                    <a:pt x="25810" y="113953"/>
                    <a:pt x="188" y="88640"/>
                    <a:pt x="1" y="57226"/>
                  </a:cubicBezTo>
                  <a:cubicBezTo>
                    <a:pt x="-190" y="25809"/>
                    <a:pt x="25124" y="191"/>
                    <a:pt x="56537" y="0"/>
                  </a:cubicBezTo>
                  <a:cubicBezTo>
                    <a:pt x="56755" y="0"/>
                    <a:pt x="56968" y="0"/>
                    <a:pt x="57185" y="0"/>
                  </a:cubicBezTo>
                  <a:cubicBezTo>
                    <a:pt x="88370" y="-65"/>
                    <a:pt x="113699" y="25165"/>
                    <a:pt x="113764" y="56350"/>
                  </a:cubicBezTo>
                  <a:cubicBezTo>
                    <a:pt x="113764" y="56415"/>
                    <a:pt x="113764" y="56476"/>
                    <a:pt x="113764" y="5654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2" name="任意形状 351"/>
            <p:cNvSpPr/>
            <p:nvPr/>
          </p:nvSpPr>
          <p:spPr>
            <a:xfrm>
              <a:off x="6564594" y="2016137"/>
              <a:ext cx="113765" cy="113764"/>
            </a:xfrm>
            <a:custGeom>
              <a:avLst/>
              <a:gdLst>
                <a:gd name="connsiteX0" fmla="*/ 113764 w 113765"/>
                <a:gd name="connsiteY0" fmla="*/ 56502 h 113764"/>
                <a:gd name="connsiteX1" fmla="*/ 57262 w 113765"/>
                <a:gd name="connsiteY1" fmla="*/ 113763 h 113764"/>
                <a:gd name="connsiteX2" fmla="*/ 1 w 113765"/>
                <a:gd name="connsiteY2" fmla="*/ 57264 h 113764"/>
                <a:gd name="connsiteX3" fmla="*/ 56503 w 113765"/>
                <a:gd name="connsiteY3" fmla="*/ 0 h 113764"/>
                <a:gd name="connsiteX4" fmla="*/ 57186 w 113765"/>
                <a:gd name="connsiteY4" fmla="*/ 0 h 113764"/>
                <a:gd name="connsiteX5" fmla="*/ 113764 w 113765"/>
                <a:gd name="connsiteY5" fmla="*/ 56350 h 113764"/>
                <a:gd name="connsiteX6" fmla="*/ 113764 w 113765"/>
                <a:gd name="connsiteY6" fmla="*/ 56502 h 11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765" h="113764">
                  <a:moveTo>
                    <a:pt x="113764" y="56502"/>
                  </a:moveTo>
                  <a:cubicBezTo>
                    <a:pt x="113973" y="87916"/>
                    <a:pt x="88679" y="113553"/>
                    <a:pt x="57262" y="113763"/>
                  </a:cubicBezTo>
                  <a:cubicBezTo>
                    <a:pt x="25848" y="113976"/>
                    <a:pt x="211" y="88678"/>
                    <a:pt x="1" y="57264"/>
                  </a:cubicBezTo>
                  <a:cubicBezTo>
                    <a:pt x="-208" y="25847"/>
                    <a:pt x="25086" y="210"/>
                    <a:pt x="56503" y="0"/>
                  </a:cubicBezTo>
                  <a:cubicBezTo>
                    <a:pt x="56728" y="0"/>
                    <a:pt x="56957" y="0"/>
                    <a:pt x="57186" y="0"/>
                  </a:cubicBezTo>
                  <a:cubicBezTo>
                    <a:pt x="88370" y="-65"/>
                    <a:pt x="113699" y="25165"/>
                    <a:pt x="113764" y="56350"/>
                  </a:cubicBezTo>
                  <a:cubicBezTo>
                    <a:pt x="113764" y="56400"/>
                    <a:pt x="113764" y="56453"/>
                    <a:pt x="113764" y="56502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3" name="任意形状 352"/>
            <p:cNvSpPr/>
            <p:nvPr/>
          </p:nvSpPr>
          <p:spPr>
            <a:xfrm>
              <a:off x="5178971" y="2564129"/>
              <a:ext cx="1834019" cy="1195006"/>
            </a:xfrm>
            <a:custGeom>
              <a:avLst/>
              <a:gdLst>
                <a:gd name="connsiteX0" fmla="*/ 0 w 1834019"/>
                <a:gd name="connsiteY0" fmla="*/ 0 h 1195006"/>
                <a:gd name="connsiteX1" fmla="*/ 1834020 w 1834019"/>
                <a:gd name="connsiteY1" fmla="*/ 0 h 1195006"/>
                <a:gd name="connsiteX2" fmla="*/ 1834020 w 1834019"/>
                <a:gd name="connsiteY2" fmla="*/ 1195007 h 1195006"/>
                <a:gd name="connsiteX3" fmla="*/ 0 w 1834019"/>
                <a:gd name="connsiteY3" fmla="*/ 1195007 h 119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4019" h="1195006">
                  <a:moveTo>
                    <a:pt x="0" y="0"/>
                  </a:moveTo>
                  <a:lnTo>
                    <a:pt x="1834020" y="0"/>
                  </a:lnTo>
                  <a:lnTo>
                    <a:pt x="1834020" y="1195007"/>
                  </a:lnTo>
                  <a:lnTo>
                    <a:pt x="0" y="1195007"/>
                  </a:ln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4" name="任意形状 353"/>
            <p:cNvSpPr/>
            <p:nvPr/>
          </p:nvSpPr>
          <p:spPr>
            <a:xfrm>
              <a:off x="5147538" y="2520353"/>
              <a:ext cx="1896922" cy="1280159"/>
            </a:xfrm>
            <a:custGeom>
              <a:avLst/>
              <a:gdLst>
                <a:gd name="connsiteX0" fmla="*/ 1798434 w 1896922"/>
                <a:gd name="connsiteY0" fmla="*/ 1280160 h 1280159"/>
                <a:gd name="connsiteX1" fmla="*/ 98489 w 1896922"/>
                <a:gd name="connsiteY1" fmla="*/ 1280160 h 1280159"/>
                <a:gd name="connsiteX2" fmla="*/ 0 w 1896922"/>
                <a:gd name="connsiteY2" fmla="*/ 1181672 h 1280159"/>
                <a:gd name="connsiteX3" fmla="*/ 0 w 1896922"/>
                <a:gd name="connsiteY3" fmla="*/ 98488 h 1280159"/>
                <a:gd name="connsiteX4" fmla="*/ 98489 w 1896922"/>
                <a:gd name="connsiteY4" fmla="*/ 0 h 1280159"/>
                <a:gd name="connsiteX5" fmla="*/ 1798434 w 1896922"/>
                <a:gd name="connsiteY5" fmla="*/ 0 h 1280159"/>
                <a:gd name="connsiteX6" fmla="*/ 1896923 w 1896922"/>
                <a:gd name="connsiteY6" fmla="*/ 98488 h 1280159"/>
                <a:gd name="connsiteX7" fmla="*/ 1896923 w 1896922"/>
                <a:gd name="connsiteY7" fmla="*/ 1181672 h 1280159"/>
                <a:gd name="connsiteX8" fmla="*/ 1798434 w 1896922"/>
                <a:gd name="connsiteY8" fmla="*/ 1280160 h 1280159"/>
                <a:gd name="connsiteX9" fmla="*/ 98489 w 1896922"/>
                <a:gd name="connsiteY9" fmla="*/ 65684 h 1280159"/>
                <a:gd name="connsiteX10" fmla="*/ 65646 w 1896922"/>
                <a:gd name="connsiteY10" fmla="*/ 98527 h 1280159"/>
                <a:gd name="connsiteX11" fmla="*/ 65646 w 1896922"/>
                <a:gd name="connsiteY11" fmla="*/ 1181710 h 1280159"/>
                <a:gd name="connsiteX12" fmla="*/ 98489 w 1896922"/>
                <a:gd name="connsiteY12" fmla="*/ 1214552 h 1280159"/>
                <a:gd name="connsiteX13" fmla="*/ 1798434 w 1896922"/>
                <a:gd name="connsiteY13" fmla="*/ 1214552 h 1280159"/>
                <a:gd name="connsiteX14" fmla="*/ 1831277 w 1896922"/>
                <a:gd name="connsiteY14" fmla="*/ 1181710 h 1280159"/>
                <a:gd name="connsiteX15" fmla="*/ 1831277 w 1896922"/>
                <a:gd name="connsiteY15" fmla="*/ 98488 h 1280159"/>
                <a:gd name="connsiteX16" fmla="*/ 1798434 w 1896922"/>
                <a:gd name="connsiteY16" fmla="*/ 65646 h 128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96922" h="1280159">
                  <a:moveTo>
                    <a:pt x="1798434" y="1280160"/>
                  </a:moveTo>
                  <a:lnTo>
                    <a:pt x="98489" y="1280160"/>
                  </a:lnTo>
                  <a:cubicBezTo>
                    <a:pt x="44112" y="1280118"/>
                    <a:pt x="42" y="1236048"/>
                    <a:pt x="0" y="1181672"/>
                  </a:cubicBezTo>
                  <a:lnTo>
                    <a:pt x="0" y="98488"/>
                  </a:lnTo>
                  <a:cubicBezTo>
                    <a:pt x="42" y="44112"/>
                    <a:pt x="44112" y="42"/>
                    <a:pt x="98489" y="0"/>
                  </a:cubicBezTo>
                  <a:lnTo>
                    <a:pt x="1798434" y="0"/>
                  </a:lnTo>
                  <a:cubicBezTo>
                    <a:pt x="1852811" y="42"/>
                    <a:pt x="1896881" y="44112"/>
                    <a:pt x="1896923" y="98488"/>
                  </a:cubicBezTo>
                  <a:lnTo>
                    <a:pt x="1896923" y="1181672"/>
                  </a:lnTo>
                  <a:cubicBezTo>
                    <a:pt x="1896881" y="1236048"/>
                    <a:pt x="1852811" y="1280118"/>
                    <a:pt x="1798434" y="1280160"/>
                  </a:cubicBezTo>
                  <a:close/>
                  <a:moveTo>
                    <a:pt x="98489" y="65684"/>
                  </a:moveTo>
                  <a:cubicBezTo>
                    <a:pt x="80361" y="65703"/>
                    <a:pt x="65669" y="80399"/>
                    <a:pt x="65646" y="98527"/>
                  </a:cubicBezTo>
                  <a:lnTo>
                    <a:pt x="65646" y="1181710"/>
                  </a:lnTo>
                  <a:cubicBezTo>
                    <a:pt x="65665" y="1199838"/>
                    <a:pt x="80361" y="1214533"/>
                    <a:pt x="98489" y="1214552"/>
                  </a:cubicBezTo>
                  <a:lnTo>
                    <a:pt x="1798434" y="1214552"/>
                  </a:lnTo>
                  <a:cubicBezTo>
                    <a:pt x="1816562" y="1214533"/>
                    <a:pt x="1831254" y="1199838"/>
                    <a:pt x="1831277" y="1181710"/>
                  </a:cubicBezTo>
                  <a:lnTo>
                    <a:pt x="1831277" y="98488"/>
                  </a:lnTo>
                  <a:cubicBezTo>
                    <a:pt x="1831254" y="80361"/>
                    <a:pt x="1816562" y="65665"/>
                    <a:pt x="1798434" y="65646"/>
                  </a:cubicBez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5" name="任意形状 354"/>
            <p:cNvSpPr/>
            <p:nvPr/>
          </p:nvSpPr>
          <p:spPr>
            <a:xfrm>
              <a:off x="6063157" y="2564129"/>
              <a:ext cx="65646" cy="1195006"/>
            </a:xfrm>
            <a:custGeom>
              <a:avLst/>
              <a:gdLst>
                <a:gd name="connsiteX0" fmla="*/ 0 w 65646"/>
                <a:gd name="connsiteY0" fmla="*/ 0 h 1195006"/>
                <a:gd name="connsiteX1" fmla="*/ 65646 w 65646"/>
                <a:gd name="connsiteY1" fmla="*/ 0 h 1195006"/>
                <a:gd name="connsiteX2" fmla="*/ 65646 w 65646"/>
                <a:gd name="connsiteY2" fmla="*/ 1195007 h 1195006"/>
                <a:gd name="connsiteX3" fmla="*/ 0 w 65646"/>
                <a:gd name="connsiteY3" fmla="*/ 1195007 h 119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646" h="1195006">
                  <a:moveTo>
                    <a:pt x="0" y="0"/>
                  </a:moveTo>
                  <a:lnTo>
                    <a:pt x="65646" y="0"/>
                  </a:lnTo>
                  <a:lnTo>
                    <a:pt x="65646" y="1195007"/>
                  </a:lnTo>
                  <a:lnTo>
                    <a:pt x="0" y="1195007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6" name="任意形状 355"/>
            <p:cNvSpPr/>
            <p:nvPr/>
          </p:nvSpPr>
          <p:spPr>
            <a:xfrm>
              <a:off x="5178971" y="2722778"/>
              <a:ext cx="1834019" cy="65646"/>
            </a:xfrm>
            <a:custGeom>
              <a:avLst/>
              <a:gdLst>
                <a:gd name="connsiteX0" fmla="*/ 0 w 1834019"/>
                <a:gd name="connsiteY0" fmla="*/ 0 h 65646"/>
                <a:gd name="connsiteX1" fmla="*/ 1834020 w 1834019"/>
                <a:gd name="connsiteY1" fmla="*/ 0 h 65646"/>
                <a:gd name="connsiteX2" fmla="*/ 1834020 w 1834019"/>
                <a:gd name="connsiteY2" fmla="*/ 65646 h 65646"/>
                <a:gd name="connsiteX3" fmla="*/ 0 w 1834019"/>
                <a:gd name="connsiteY3" fmla="*/ 65646 h 6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4019" h="65646">
                  <a:moveTo>
                    <a:pt x="0" y="0"/>
                  </a:moveTo>
                  <a:lnTo>
                    <a:pt x="1834020" y="0"/>
                  </a:lnTo>
                  <a:lnTo>
                    <a:pt x="1834020" y="65646"/>
                  </a:lnTo>
                  <a:lnTo>
                    <a:pt x="0" y="65646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7" name="任意形状 356"/>
            <p:cNvSpPr/>
            <p:nvPr/>
          </p:nvSpPr>
          <p:spPr>
            <a:xfrm>
              <a:off x="5178971" y="2925203"/>
              <a:ext cx="1834019" cy="65646"/>
            </a:xfrm>
            <a:custGeom>
              <a:avLst/>
              <a:gdLst>
                <a:gd name="connsiteX0" fmla="*/ 0 w 1834019"/>
                <a:gd name="connsiteY0" fmla="*/ 0 h 65646"/>
                <a:gd name="connsiteX1" fmla="*/ 1834020 w 1834019"/>
                <a:gd name="connsiteY1" fmla="*/ 0 h 65646"/>
                <a:gd name="connsiteX2" fmla="*/ 1834020 w 1834019"/>
                <a:gd name="connsiteY2" fmla="*/ 65646 h 65646"/>
                <a:gd name="connsiteX3" fmla="*/ 0 w 1834019"/>
                <a:gd name="connsiteY3" fmla="*/ 65646 h 6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4019" h="65646">
                  <a:moveTo>
                    <a:pt x="0" y="0"/>
                  </a:moveTo>
                  <a:lnTo>
                    <a:pt x="1834020" y="0"/>
                  </a:lnTo>
                  <a:lnTo>
                    <a:pt x="1834020" y="65646"/>
                  </a:lnTo>
                  <a:lnTo>
                    <a:pt x="0" y="65646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8" name="任意形状 357"/>
            <p:cNvSpPr/>
            <p:nvPr/>
          </p:nvSpPr>
          <p:spPr>
            <a:xfrm>
              <a:off x="5178971" y="3127629"/>
              <a:ext cx="1834019" cy="65646"/>
            </a:xfrm>
            <a:custGeom>
              <a:avLst/>
              <a:gdLst>
                <a:gd name="connsiteX0" fmla="*/ 0 w 1834019"/>
                <a:gd name="connsiteY0" fmla="*/ 0 h 65646"/>
                <a:gd name="connsiteX1" fmla="*/ 1834020 w 1834019"/>
                <a:gd name="connsiteY1" fmla="*/ 0 h 65646"/>
                <a:gd name="connsiteX2" fmla="*/ 1834020 w 1834019"/>
                <a:gd name="connsiteY2" fmla="*/ 65646 h 65646"/>
                <a:gd name="connsiteX3" fmla="*/ 0 w 1834019"/>
                <a:gd name="connsiteY3" fmla="*/ 65646 h 6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4019" h="65646">
                  <a:moveTo>
                    <a:pt x="0" y="0"/>
                  </a:moveTo>
                  <a:lnTo>
                    <a:pt x="1834020" y="0"/>
                  </a:lnTo>
                  <a:lnTo>
                    <a:pt x="1834020" y="65646"/>
                  </a:lnTo>
                  <a:lnTo>
                    <a:pt x="0" y="65646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59" name="任意形状 358"/>
            <p:cNvSpPr/>
            <p:nvPr/>
          </p:nvSpPr>
          <p:spPr>
            <a:xfrm>
              <a:off x="5178971" y="3330016"/>
              <a:ext cx="1834019" cy="65646"/>
            </a:xfrm>
            <a:custGeom>
              <a:avLst/>
              <a:gdLst>
                <a:gd name="connsiteX0" fmla="*/ 0 w 1834019"/>
                <a:gd name="connsiteY0" fmla="*/ 0 h 65646"/>
                <a:gd name="connsiteX1" fmla="*/ 1834020 w 1834019"/>
                <a:gd name="connsiteY1" fmla="*/ 0 h 65646"/>
                <a:gd name="connsiteX2" fmla="*/ 1834020 w 1834019"/>
                <a:gd name="connsiteY2" fmla="*/ 65646 h 65646"/>
                <a:gd name="connsiteX3" fmla="*/ 0 w 1834019"/>
                <a:gd name="connsiteY3" fmla="*/ 65646 h 6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4019" h="65646">
                  <a:moveTo>
                    <a:pt x="0" y="0"/>
                  </a:moveTo>
                  <a:lnTo>
                    <a:pt x="1834020" y="0"/>
                  </a:lnTo>
                  <a:lnTo>
                    <a:pt x="1834020" y="65646"/>
                  </a:lnTo>
                  <a:lnTo>
                    <a:pt x="0" y="65646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60" name="任意形状 359"/>
            <p:cNvSpPr/>
            <p:nvPr/>
          </p:nvSpPr>
          <p:spPr>
            <a:xfrm>
              <a:off x="5178971" y="3532441"/>
              <a:ext cx="1834019" cy="65646"/>
            </a:xfrm>
            <a:custGeom>
              <a:avLst/>
              <a:gdLst>
                <a:gd name="connsiteX0" fmla="*/ 0 w 1834019"/>
                <a:gd name="connsiteY0" fmla="*/ 0 h 65646"/>
                <a:gd name="connsiteX1" fmla="*/ 1834020 w 1834019"/>
                <a:gd name="connsiteY1" fmla="*/ 0 h 65646"/>
                <a:gd name="connsiteX2" fmla="*/ 1834020 w 1834019"/>
                <a:gd name="connsiteY2" fmla="*/ 65647 h 65646"/>
                <a:gd name="connsiteX3" fmla="*/ 0 w 1834019"/>
                <a:gd name="connsiteY3" fmla="*/ 65647 h 6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4019" h="65646">
                  <a:moveTo>
                    <a:pt x="0" y="0"/>
                  </a:moveTo>
                  <a:lnTo>
                    <a:pt x="1834020" y="0"/>
                  </a:lnTo>
                  <a:lnTo>
                    <a:pt x="1834020" y="65647"/>
                  </a:lnTo>
                  <a:lnTo>
                    <a:pt x="0" y="65647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61" name="任意形状 360"/>
            <p:cNvSpPr/>
            <p:nvPr/>
          </p:nvSpPr>
          <p:spPr>
            <a:xfrm>
              <a:off x="5749061" y="4221060"/>
              <a:ext cx="693915" cy="153657"/>
            </a:xfrm>
            <a:custGeom>
              <a:avLst/>
              <a:gdLst>
                <a:gd name="connsiteX0" fmla="*/ 660768 w 693915"/>
                <a:gd name="connsiteY0" fmla="*/ 0 h 153657"/>
                <a:gd name="connsiteX1" fmla="*/ 693915 w 693915"/>
                <a:gd name="connsiteY1" fmla="*/ 0 h 153657"/>
                <a:gd name="connsiteX2" fmla="*/ 693915 w 693915"/>
                <a:gd name="connsiteY2" fmla="*/ 153657 h 153657"/>
                <a:gd name="connsiteX3" fmla="*/ 660768 w 693915"/>
                <a:gd name="connsiteY3" fmla="*/ 153657 h 153657"/>
                <a:gd name="connsiteX4" fmla="*/ 33147 w 693915"/>
                <a:gd name="connsiteY4" fmla="*/ 153657 h 153657"/>
                <a:gd name="connsiteX5" fmla="*/ 0 w 693915"/>
                <a:gd name="connsiteY5" fmla="*/ 153657 h 153657"/>
                <a:gd name="connsiteX6" fmla="*/ 0 w 693915"/>
                <a:gd name="connsiteY6" fmla="*/ 0 h 153657"/>
                <a:gd name="connsiteX7" fmla="*/ 33147 w 693915"/>
                <a:gd name="connsiteY7" fmla="*/ 0 h 153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3915" h="153657">
                  <a:moveTo>
                    <a:pt x="660768" y="0"/>
                  </a:moveTo>
                  <a:cubicBezTo>
                    <a:pt x="679075" y="0"/>
                    <a:pt x="693915" y="0"/>
                    <a:pt x="693915" y="0"/>
                  </a:cubicBezTo>
                  <a:lnTo>
                    <a:pt x="693915" y="153657"/>
                  </a:lnTo>
                  <a:cubicBezTo>
                    <a:pt x="693915" y="153657"/>
                    <a:pt x="679075" y="153657"/>
                    <a:pt x="660768" y="153657"/>
                  </a:cubicBezTo>
                  <a:lnTo>
                    <a:pt x="33147" y="153657"/>
                  </a:lnTo>
                  <a:cubicBezTo>
                    <a:pt x="14840" y="153657"/>
                    <a:pt x="0" y="153657"/>
                    <a:pt x="0" y="153657"/>
                  </a:cubicBezTo>
                  <a:lnTo>
                    <a:pt x="0" y="0"/>
                  </a:lnTo>
                  <a:cubicBezTo>
                    <a:pt x="0" y="0"/>
                    <a:pt x="14840" y="0"/>
                    <a:pt x="33147" y="0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362" name="图形 190"/>
            <p:cNvGrpSpPr/>
            <p:nvPr/>
          </p:nvGrpSpPr>
          <p:grpSpPr>
            <a:xfrm>
              <a:off x="5810935" y="4264533"/>
              <a:ext cx="570166" cy="66675"/>
              <a:chOff x="5810935" y="4264533"/>
              <a:chExt cx="570166" cy="66675"/>
            </a:xfrm>
            <a:solidFill>
              <a:srgbClr val="DBD8DD"/>
            </a:solidFill>
          </p:grpSpPr>
          <p:sp>
            <p:nvSpPr>
              <p:cNvPr id="363" name="任意形状 362"/>
              <p:cNvSpPr/>
              <p:nvPr/>
            </p:nvSpPr>
            <p:spPr>
              <a:xfrm>
                <a:off x="6356756" y="4264533"/>
                <a:ext cx="24345" cy="66675"/>
              </a:xfrm>
              <a:custGeom>
                <a:avLst/>
                <a:gdLst>
                  <a:gd name="connsiteX0" fmla="*/ 0 w 24345"/>
                  <a:gd name="connsiteY0" fmla="*/ 0 h 66675"/>
                  <a:gd name="connsiteX1" fmla="*/ 24346 w 24345"/>
                  <a:gd name="connsiteY1" fmla="*/ 0 h 66675"/>
                  <a:gd name="connsiteX2" fmla="*/ 24346 w 24345"/>
                  <a:gd name="connsiteY2" fmla="*/ 66675 h 66675"/>
                  <a:gd name="connsiteX3" fmla="*/ 0 w 24345"/>
                  <a:gd name="connsiteY3" fmla="*/ 6667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45" h="66675">
                    <a:moveTo>
                      <a:pt x="0" y="0"/>
                    </a:moveTo>
                    <a:lnTo>
                      <a:pt x="24346" y="0"/>
                    </a:lnTo>
                    <a:lnTo>
                      <a:pt x="24346" y="66675"/>
                    </a:lnTo>
                    <a:lnTo>
                      <a:pt x="0" y="66675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64" name="任意形状 363"/>
              <p:cNvSpPr/>
              <p:nvPr/>
            </p:nvSpPr>
            <p:spPr>
              <a:xfrm>
                <a:off x="6265773" y="4264533"/>
                <a:ext cx="24345" cy="66675"/>
              </a:xfrm>
              <a:custGeom>
                <a:avLst/>
                <a:gdLst>
                  <a:gd name="connsiteX0" fmla="*/ 0 w 24345"/>
                  <a:gd name="connsiteY0" fmla="*/ 0 h 66675"/>
                  <a:gd name="connsiteX1" fmla="*/ 24346 w 24345"/>
                  <a:gd name="connsiteY1" fmla="*/ 0 h 66675"/>
                  <a:gd name="connsiteX2" fmla="*/ 24346 w 24345"/>
                  <a:gd name="connsiteY2" fmla="*/ 66675 h 66675"/>
                  <a:gd name="connsiteX3" fmla="*/ 0 w 24345"/>
                  <a:gd name="connsiteY3" fmla="*/ 6667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45" h="66675">
                    <a:moveTo>
                      <a:pt x="0" y="0"/>
                    </a:moveTo>
                    <a:lnTo>
                      <a:pt x="24346" y="0"/>
                    </a:lnTo>
                    <a:lnTo>
                      <a:pt x="24346" y="66675"/>
                    </a:lnTo>
                    <a:lnTo>
                      <a:pt x="0" y="66675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65" name="任意形状 364"/>
              <p:cNvSpPr/>
              <p:nvPr/>
            </p:nvSpPr>
            <p:spPr>
              <a:xfrm>
                <a:off x="6174790" y="4264533"/>
                <a:ext cx="24345" cy="66675"/>
              </a:xfrm>
              <a:custGeom>
                <a:avLst/>
                <a:gdLst>
                  <a:gd name="connsiteX0" fmla="*/ 0 w 24345"/>
                  <a:gd name="connsiteY0" fmla="*/ 0 h 66675"/>
                  <a:gd name="connsiteX1" fmla="*/ 24346 w 24345"/>
                  <a:gd name="connsiteY1" fmla="*/ 0 h 66675"/>
                  <a:gd name="connsiteX2" fmla="*/ 24346 w 24345"/>
                  <a:gd name="connsiteY2" fmla="*/ 66675 h 66675"/>
                  <a:gd name="connsiteX3" fmla="*/ 0 w 24345"/>
                  <a:gd name="connsiteY3" fmla="*/ 6667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45" h="66675">
                    <a:moveTo>
                      <a:pt x="0" y="0"/>
                    </a:moveTo>
                    <a:lnTo>
                      <a:pt x="24346" y="0"/>
                    </a:lnTo>
                    <a:lnTo>
                      <a:pt x="24346" y="66675"/>
                    </a:lnTo>
                    <a:lnTo>
                      <a:pt x="0" y="66675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66" name="任意形状 365"/>
              <p:cNvSpPr/>
              <p:nvPr/>
            </p:nvSpPr>
            <p:spPr>
              <a:xfrm>
                <a:off x="6083846" y="4264533"/>
                <a:ext cx="24345" cy="66675"/>
              </a:xfrm>
              <a:custGeom>
                <a:avLst/>
                <a:gdLst>
                  <a:gd name="connsiteX0" fmla="*/ 0 w 24345"/>
                  <a:gd name="connsiteY0" fmla="*/ 0 h 66675"/>
                  <a:gd name="connsiteX1" fmla="*/ 24346 w 24345"/>
                  <a:gd name="connsiteY1" fmla="*/ 0 h 66675"/>
                  <a:gd name="connsiteX2" fmla="*/ 24346 w 24345"/>
                  <a:gd name="connsiteY2" fmla="*/ 66675 h 66675"/>
                  <a:gd name="connsiteX3" fmla="*/ 0 w 24345"/>
                  <a:gd name="connsiteY3" fmla="*/ 6667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45" h="66675">
                    <a:moveTo>
                      <a:pt x="0" y="0"/>
                    </a:moveTo>
                    <a:lnTo>
                      <a:pt x="24346" y="0"/>
                    </a:lnTo>
                    <a:lnTo>
                      <a:pt x="24346" y="66675"/>
                    </a:lnTo>
                    <a:lnTo>
                      <a:pt x="0" y="66675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67" name="任意形状 366"/>
              <p:cNvSpPr/>
              <p:nvPr/>
            </p:nvSpPr>
            <p:spPr>
              <a:xfrm>
                <a:off x="5992863" y="4264533"/>
                <a:ext cx="24345" cy="66675"/>
              </a:xfrm>
              <a:custGeom>
                <a:avLst/>
                <a:gdLst>
                  <a:gd name="connsiteX0" fmla="*/ 0 w 24345"/>
                  <a:gd name="connsiteY0" fmla="*/ 0 h 66675"/>
                  <a:gd name="connsiteX1" fmla="*/ 24346 w 24345"/>
                  <a:gd name="connsiteY1" fmla="*/ 0 h 66675"/>
                  <a:gd name="connsiteX2" fmla="*/ 24346 w 24345"/>
                  <a:gd name="connsiteY2" fmla="*/ 66675 h 66675"/>
                  <a:gd name="connsiteX3" fmla="*/ 0 w 24345"/>
                  <a:gd name="connsiteY3" fmla="*/ 6667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45" h="66675">
                    <a:moveTo>
                      <a:pt x="0" y="0"/>
                    </a:moveTo>
                    <a:lnTo>
                      <a:pt x="24346" y="0"/>
                    </a:lnTo>
                    <a:lnTo>
                      <a:pt x="24346" y="66675"/>
                    </a:lnTo>
                    <a:lnTo>
                      <a:pt x="0" y="66675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68" name="任意形状 367"/>
              <p:cNvSpPr/>
              <p:nvPr/>
            </p:nvSpPr>
            <p:spPr>
              <a:xfrm>
                <a:off x="5901880" y="4264533"/>
                <a:ext cx="24345" cy="66675"/>
              </a:xfrm>
              <a:custGeom>
                <a:avLst/>
                <a:gdLst>
                  <a:gd name="connsiteX0" fmla="*/ 0 w 24345"/>
                  <a:gd name="connsiteY0" fmla="*/ 0 h 66675"/>
                  <a:gd name="connsiteX1" fmla="*/ 24346 w 24345"/>
                  <a:gd name="connsiteY1" fmla="*/ 0 h 66675"/>
                  <a:gd name="connsiteX2" fmla="*/ 24346 w 24345"/>
                  <a:gd name="connsiteY2" fmla="*/ 66675 h 66675"/>
                  <a:gd name="connsiteX3" fmla="*/ 0 w 24345"/>
                  <a:gd name="connsiteY3" fmla="*/ 6667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45" h="66675">
                    <a:moveTo>
                      <a:pt x="0" y="0"/>
                    </a:moveTo>
                    <a:lnTo>
                      <a:pt x="24346" y="0"/>
                    </a:lnTo>
                    <a:lnTo>
                      <a:pt x="24346" y="66675"/>
                    </a:lnTo>
                    <a:lnTo>
                      <a:pt x="0" y="66675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69" name="任意形状 368"/>
              <p:cNvSpPr/>
              <p:nvPr/>
            </p:nvSpPr>
            <p:spPr>
              <a:xfrm>
                <a:off x="5810935" y="4264533"/>
                <a:ext cx="24345" cy="66675"/>
              </a:xfrm>
              <a:custGeom>
                <a:avLst/>
                <a:gdLst>
                  <a:gd name="connsiteX0" fmla="*/ 0 w 24345"/>
                  <a:gd name="connsiteY0" fmla="*/ 0 h 66675"/>
                  <a:gd name="connsiteX1" fmla="*/ 24346 w 24345"/>
                  <a:gd name="connsiteY1" fmla="*/ 0 h 66675"/>
                  <a:gd name="connsiteX2" fmla="*/ 24346 w 24345"/>
                  <a:gd name="connsiteY2" fmla="*/ 66675 h 66675"/>
                  <a:gd name="connsiteX3" fmla="*/ 0 w 24345"/>
                  <a:gd name="connsiteY3" fmla="*/ 6667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45" h="66675">
                    <a:moveTo>
                      <a:pt x="0" y="0"/>
                    </a:moveTo>
                    <a:lnTo>
                      <a:pt x="24346" y="0"/>
                    </a:lnTo>
                    <a:lnTo>
                      <a:pt x="24346" y="66675"/>
                    </a:lnTo>
                    <a:lnTo>
                      <a:pt x="0" y="66675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370" name="图形 188"/>
          <p:cNvGrpSpPr>
            <a:grpSpLocks noChangeAspect="1"/>
          </p:cNvGrpSpPr>
          <p:nvPr/>
        </p:nvGrpSpPr>
        <p:grpSpPr>
          <a:xfrm>
            <a:off x="1298042" y="1634141"/>
            <a:ext cx="720000" cy="720000"/>
            <a:chOff x="-6485575" y="4943593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grpSp>
          <p:nvGrpSpPr>
            <p:cNvPr id="371" name="图形 188"/>
            <p:cNvGrpSpPr/>
            <p:nvPr/>
          </p:nvGrpSpPr>
          <p:grpSpPr>
            <a:xfrm>
              <a:off x="-5359948" y="6487328"/>
              <a:ext cx="2625775" cy="2050884"/>
              <a:chOff x="-5359948" y="6487328"/>
              <a:chExt cx="2625775" cy="2050884"/>
            </a:xfrm>
            <a:solidFill>
              <a:srgbClr val="DBD8DD"/>
            </a:solidFill>
          </p:grpSpPr>
          <p:sp>
            <p:nvSpPr>
              <p:cNvPr id="386" name="任意形状 385"/>
              <p:cNvSpPr/>
              <p:nvPr/>
            </p:nvSpPr>
            <p:spPr>
              <a:xfrm>
                <a:off x="-4101581" y="6487328"/>
                <a:ext cx="109423" cy="527875"/>
              </a:xfrm>
              <a:custGeom>
                <a:avLst/>
                <a:gdLst>
                  <a:gd name="connsiteX0" fmla="*/ 0 w 109423"/>
                  <a:gd name="connsiteY0" fmla="*/ 0 h 527875"/>
                  <a:gd name="connsiteX1" fmla="*/ 109423 w 109423"/>
                  <a:gd name="connsiteY1" fmla="*/ 0 h 527875"/>
                  <a:gd name="connsiteX2" fmla="*/ 109423 w 109423"/>
                  <a:gd name="connsiteY2" fmla="*/ 527876 h 527875"/>
                  <a:gd name="connsiteX3" fmla="*/ 0 w 109423"/>
                  <a:gd name="connsiteY3" fmla="*/ 527876 h 527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423" h="527875">
                    <a:moveTo>
                      <a:pt x="0" y="0"/>
                    </a:moveTo>
                    <a:lnTo>
                      <a:pt x="109423" y="0"/>
                    </a:lnTo>
                    <a:lnTo>
                      <a:pt x="109423" y="527876"/>
                    </a:lnTo>
                    <a:lnTo>
                      <a:pt x="0" y="527876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87" name="任意形状 386"/>
              <p:cNvSpPr/>
              <p:nvPr/>
            </p:nvSpPr>
            <p:spPr>
              <a:xfrm>
                <a:off x="-4101772" y="7827762"/>
                <a:ext cx="1367599" cy="710450"/>
              </a:xfrm>
              <a:custGeom>
                <a:avLst/>
                <a:gdLst>
                  <a:gd name="connsiteX0" fmla="*/ 683781 w 1367599"/>
                  <a:gd name="connsiteY0" fmla="*/ 710451 h 710450"/>
                  <a:gd name="connsiteX1" fmla="*/ 0 w 1367599"/>
                  <a:gd name="connsiteY1" fmla="*/ 26670 h 710450"/>
                  <a:gd name="connsiteX2" fmla="*/ 0 w 1367599"/>
                  <a:gd name="connsiteY2" fmla="*/ 20307 h 710450"/>
                  <a:gd name="connsiteX3" fmla="*/ 109423 w 1367599"/>
                  <a:gd name="connsiteY3" fmla="*/ 20307 h 710450"/>
                  <a:gd name="connsiteX4" fmla="*/ 109423 w 1367599"/>
                  <a:gd name="connsiteY4" fmla="*/ 26670 h 710450"/>
                  <a:gd name="connsiteX5" fmla="*/ 679121 w 1367599"/>
                  <a:gd name="connsiteY5" fmla="*/ 605725 h 710450"/>
                  <a:gd name="connsiteX6" fmla="*/ 1258176 w 1367599"/>
                  <a:gd name="connsiteY6" fmla="*/ 36027 h 710450"/>
                  <a:gd name="connsiteX7" fmla="*/ 1258176 w 1367599"/>
                  <a:gd name="connsiteY7" fmla="*/ 26670 h 710450"/>
                  <a:gd name="connsiteX8" fmla="*/ 1258176 w 1367599"/>
                  <a:gd name="connsiteY8" fmla="*/ 0 h 710450"/>
                  <a:gd name="connsiteX9" fmla="*/ 1367599 w 1367599"/>
                  <a:gd name="connsiteY9" fmla="*/ 0 h 710450"/>
                  <a:gd name="connsiteX10" fmla="*/ 1367599 w 1367599"/>
                  <a:gd name="connsiteY10" fmla="*/ 26670 h 710450"/>
                  <a:gd name="connsiteX11" fmla="*/ 683781 w 1367599"/>
                  <a:gd name="connsiteY11" fmla="*/ 710451 h 710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67599" h="710450">
                    <a:moveTo>
                      <a:pt x="683781" y="710451"/>
                    </a:moveTo>
                    <a:cubicBezTo>
                      <a:pt x="306320" y="710009"/>
                      <a:pt x="442" y="404131"/>
                      <a:pt x="0" y="26670"/>
                    </a:cubicBezTo>
                    <a:lnTo>
                      <a:pt x="0" y="20307"/>
                    </a:lnTo>
                    <a:lnTo>
                      <a:pt x="109423" y="20307"/>
                    </a:lnTo>
                    <a:lnTo>
                      <a:pt x="109423" y="26670"/>
                    </a:lnTo>
                    <a:cubicBezTo>
                      <a:pt x="106840" y="343891"/>
                      <a:pt x="361904" y="603142"/>
                      <a:pt x="679121" y="605725"/>
                    </a:cubicBezTo>
                    <a:cubicBezTo>
                      <a:pt x="996342" y="608309"/>
                      <a:pt x="1255593" y="353244"/>
                      <a:pt x="1258176" y="36027"/>
                    </a:cubicBezTo>
                    <a:cubicBezTo>
                      <a:pt x="1258203" y="32907"/>
                      <a:pt x="1258203" y="29791"/>
                      <a:pt x="1258176" y="26670"/>
                    </a:cubicBezTo>
                    <a:lnTo>
                      <a:pt x="1258176" y="0"/>
                    </a:lnTo>
                    <a:lnTo>
                      <a:pt x="1367599" y="0"/>
                    </a:lnTo>
                    <a:lnTo>
                      <a:pt x="1367599" y="26670"/>
                    </a:lnTo>
                    <a:cubicBezTo>
                      <a:pt x="1367158" y="404142"/>
                      <a:pt x="1061253" y="710032"/>
                      <a:pt x="683781" y="710451"/>
                    </a:cubicBez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88" name="任意形状 387"/>
              <p:cNvSpPr/>
              <p:nvPr/>
            </p:nvSpPr>
            <p:spPr>
              <a:xfrm>
                <a:off x="-5359948" y="7827762"/>
                <a:ext cx="1367599" cy="710450"/>
              </a:xfrm>
              <a:custGeom>
                <a:avLst/>
                <a:gdLst>
                  <a:gd name="connsiteX0" fmla="*/ 683781 w 1367599"/>
                  <a:gd name="connsiteY0" fmla="*/ 710451 h 710450"/>
                  <a:gd name="connsiteX1" fmla="*/ 0 w 1367599"/>
                  <a:gd name="connsiteY1" fmla="*/ 26670 h 710450"/>
                  <a:gd name="connsiteX2" fmla="*/ 0 w 1367599"/>
                  <a:gd name="connsiteY2" fmla="*/ 0 h 710450"/>
                  <a:gd name="connsiteX3" fmla="*/ 109423 w 1367599"/>
                  <a:gd name="connsiteY3" fmla="*/ 0 h 710450"/>
                  <a:gd name="connsiteX4" fmla="*/ 109423 w 1367599"/>
                  <a:gd name="connsiteY4" fmla="*/ 26670 h 710450"/>
                  <a:gd name="connsiteX5" fmla="*/ 688478 w 1367599"/>
                  <a:gd name="connsiteY5" fmla="*/ 596368 h 710450"/>
                  <a:gd name="connsiteX6" fmla="*/ 1258176 w 1367599"/>
                  <a:gd name="connsiteY6" fmla="*/ 26670 h 710450"/>
                  <a:gd name="connsiteX7" fmla="*/ 1258176 w 1367599"/>
                  <a:gd name="connsiteY7" fmla="*/ 20307 h 710450"/>
                  <a:gd name="connsiteX8" fmla="*/ 1367600 w 1367599"/>
                  <a:gd name="connsiteY8" fmla="*/ 20307 h 710450"/>
                  <a:gd name="connsiteX9" fmla="*/ 1367600 w 1367599"/>
                  <a:gd name="connsiteY9" fmla="*/ 26670 h 710450"/>
                  <a:gd name="connsiteX10" fmla="*/ 683781 w 1367599"/>
                  <a:gd name="connsiteY10" fmla="*/ 710451 h 710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67599" h="710450">
                    <a:moveTo>
                      <a:pt x="683781" y="710451"/>
                    </a:moveTo>
                    <a:cubicBezTo>
                      <a:pt x="306320" y="710009"/>
                      <a:pt x="442" y="404131"/>
                      <a:pt x="0" y="26670"/>
                    </a:cubicBezTo>
                    <a:lnTo>
                      <a:pt x="0" y="0"/>
                    </a:lnTo>
                    <a:lnTo>
                      <a:pt x="109423" y="0"/>
                    </a:lnTo>
                    <a:lnTo>
                      <a:pt x="109423" y="26670"/>
                    </a:lnTo>
                    <a:cubicBezTo>
                      <a:pt x="112006" y="343891"/>
                      <a:pt x="371258" y="598951"/>
                      <a:pt x="688478" y="596368"/>
                    </a:cubicBezTo>
                    <a:cubicBezTo>
                      <a:pt x="1002049" y="593815"/>
                      <a:pt x="1255624" y="340241"/>
                      <a:pt x="1258176" y="26670"/>
                    </a:cubicBezTo>
                    <a:lnTo>
                      <a:pt x="1258176" y="20307"/>
                    </a:lnTo>
                    <a:lnTo>
                      <a:pt x="1367600" y="20307"/>
                    </a:lnTo>
                    <a:lnTo>
                      <a:pt x="1367600" y="26670"/>
                    </a:lnTo>
                    <a:cubicBezTo>
                      <a:pt x="1367158" y="404142"/>
                      <a:pt x="1061253" y="710032"/>
                      <a:pt x="683781" y="710451"/>
                    </a:cubicBez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72" name="任意形状 371"/>
            <p:cNvSpPr/>
            <p:nvPr/>
          </p:nvSpPr>
          <p:spPr>
            <a:xfrm>
              <a:off x="-4656317" y="6225772"/>
              <a:ext cx="1219085" cy="283578"/>
            </a:xfrm>
            <a:custGeom>
              <a:avLst/>
              <a:gdLst>
                <a:gd name="connsiteX0" fmla="*/ 1219086 w 1219085"/>
                <a:gd name="connsiteY0" fmla="*/ 0 h 283578"/>
                <a:gd name="connsiteX1" fmla="*/ 666102 w 1219085"/>
                <a:gd name="connsiteY1" fmla="*/ 283578 h 283578"/>
                <a:gd name="connsiteX2" fmla="*/ 552602 w 1219085"/>
                <a:gd name="connsiteY2" fmla="*/ 283578 h 283578"/>
                <a:gd name="connsiteX3" fmla="*/ 507263 w 1219085"/>
                <a:gd name="connsiteY3" fmla="*/ 282321 h 283578"/>
                <a:gd name="connsiteX4" fmla="*/ 0 w 1219085"/>
                <a:gd name="connsiteY4" fmla="*/ 0 h 283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085" h="283578">
                  <a:moveTo>
                    <a:pt x="1219086" y="0"/>
                  </a:moveTo>
                  <a:cubicBezTo>
                    <a:pt x="1219086" y="156743"/>
                    <a:pt x="971702" y="283578"/>
                    <a:pt x="666102" y="283578"/>
                  </a:cubicBezTo>
                  <a:lnTo>
                    <a:pt x="552602" y="283578"/>
                  </a:lnTo>
                  <a:cubicBezTo>
                    <a:pt x="537362" y="283578"/>
                    <a:pt x="522122" y="283159"/>
                    <a:pt x="507263" y="282321"/>
                  </a:cubicBezTo>
                  <a:cubicBezTo>
                    <a:pt x="223266" y="270662"/>
                    <a:pt x="0" y="148971"/>
                    <a:pt x="0" y="0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73" name="任意形状 372"/>
            <p:cNvSpPr/>
            <p:nvPr/>
          </p:nvSpPr>
          <p:spPr>
            <a:xfrm>
              <a:off x="-4656317" y="6225772"/>
              <a:ext cx="1014526" cy="282320"/>
            </a:xfrm>
            <a:custGeom>
              <a:avLst/>
              <a:gdLst>
                <a:gd name="connsiteX0" fmla="*/ 1014527 w 1014526"/>
                <a:gd name="connsiteY0" fmla="*/ 0 h 282320"/>
                <a:gd name="connsiteX1" fmla="*/ 507263 w 1014526"/>
                <a:gd name="connsiteY1" fmla="*/ 282321 h 282320"/>
                <a:gd name="connsiteX2" fmla="*/ 0 w 1014526"/>
                <a:gd name="connsiteY2" fmla="*/ 0 h 282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4526" h="282320">
                  <a:moveTo>
                    <a:pt x="1014527" y="0"/>
                  </a:moveTo>
                  <a:cubicBezTo>
                    <a:pt x="1014527" y="148857"/>
                    <a:pt x="791261" y="270510"/>
                    <a:pt x="507263" y="282321"/>
                  </a:cubicBezTo>
                  <a:cubicBezTo>
                    <a:pt x="223266" y="270662"/>
                    <a:pt x="0" y="148971"/>
                    <a:pt x="0" y="0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74" name="任意形状 373"/>
            <p:cNvSpPr/>
            <p:nvPr/>
          </p:nvSpPr>
          <p:spPr>
            <a:xfrm>
              <a:off x="-5536885" y="6922164"/>
              <a:ext cx="463143" cy="859878"/>
            </a:xfrm>
            <a:custGeom>
              <a:avLst/>
              <a:gdLst>
                <a:gd name="connsiteX0" fmla="*/ 463144 w 463143"/>
                <a:gd name="connsiteY0" fmla="*/ 628231 h 859878"/>
                <a:gd name="connsiteX1" fmla="*/ 232029 w 463143"/>
                <a:gd name="connsiteY1" fmla="*/ 859879 h 859878"/>
                <a:gd name="connsiteX2" fmla="*/ 231572 w 463143"/>
                <a:gd name="connsiteY2" fmla="*/ 859879 h 859878"/>
                <a:gd name="connsiteX3" fmla="*/ 190005 w 463143"/>
                <a:gd name="connsiteY3" fmla="*/ 856069 h 859878"/>
                <a:gd name="connsiteX4" fmla="*/ 0 w 463143"/>
                <a:gd name="connsiteY4" fmla="*/ 628231 h 859878"/>
                <a:gd name="connsiteX5" fmla="*/ 190005 w 463143"/>
                <a:gd name="connsiteY5" fmla="*/ 17450 h 859878"/>
                <a:gd name="connsiteX6" fmla="*/ 231572 w 463143"/>
                <a:gd name="connsiteY6" fmla="*/ 0 h 859878"/>
                <a:gd name="connsiteX7" fmla="*/ 463144 w 463143"/>
                <a:gd name="connsiteY7" fmla="*/ 628231 h 85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3143" h="859878">
                  <a:moveTo>
                    <a:pt x="463144" y="628231"/>
                  </a:moveTo>
                  <a:cubicBezTo>
                    <a:pt x="463292" y="756018"/>
                    <a:pt x="359817" y="859730"/>
                    <a:pt x="232029" y="859879"/>
                  </a:cubicBezTo>
                  <a:cubicBezTo>
                    <a:pt x="231877" y="859879"/>
                    <a:pt x="231724" y="859879"/>
                    <a:pt x="231572" y="859879"/>
                  </a:cubicBezTo>
                  <a:cubicBezTo>
                    <a:pt x="217627" y="859887"/>
                    <a:pt x="203713" y="858610"/>
                    <a:pt x="190005" y="856069"/>
                  </a:cubicBezTo>
                  <a:cubicBezTo>
                    <a:pt x="79911" y="836059"/>
                    <a:pt x="-91" y="740131"/>
                    <a:pt x="0" y="628231"/>
                  </a:cubicBezTo>
                  <a:cubicBezTo>
                    <a:pt x="0" y="514312"/>
                    <a:pt x="81915" y="106261"/>
                    <a:pt x="190005" y="17450"/>
                  </a:cubicBezTo>
                  <a:cubicBezTo>
                    <a:pt x="201351" y="6885"/>
                    <a:pt x="216084" y="697"/>
                    <a:pt x="231572" y="0"/>
                  </a:cubicBezTo>
                  <a:cubicBezTo>
                    <a:pt x="359626" y="-38"/>
                    <a:pt x="463144" y="500139"/>
                    <a:pt x="463144" y="628231"/>
                  </a:cubicBezTo>
                  <a:close/>
                </a:path>
              </a:pathLst>
            </a:custGeom>
            <a:solidFill>
              <a:srgbClr val="EAB54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75" name="任意形状 374"/>
            <p:cNvSpPr/>
            <p:nvPr/>
          </p:nvSpPr>
          <p:spPr>
            <a:xfrm>
              <a:off x="-5536885" y="6939613"/>
              <a:ext cx="380009" cy="838619"/>
            </a:xfrm>
            <a:custGeom>
              <a:avLst/>
              <a:gdLst>
                <a:gd name="connsiteX0" fmla="*/ 380010 w 380009"/>
                <a:gd name="connsiteY0" fmla="*/ 610781 h 838619"/>
                <a:gd name="connsiteX1" fmla="*/ 190005 w 380009"/>
                <a:gd name="connsiteY1" fmla="*/ 838619 h 838619"/>
                <a:gd name="connsiteX2" fmla="*/ 0 w 380009"/>
                <a:gd name="connsiteY2" fmla="*/ 610781 h 838619"/>
                <a:gd name="connsiteX3" fmla="*/ 190005 w 380009"/>
                <a:gd name="connsiteY3" fmla="*/ 0 h 838619"/>
                <a:gd name="connsiteX4" fmla="*/ 380010 w 380009"/>
                <a:gd name="connsiteY4" fmla="*/ 610781 h 83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009" h="838619">
                  <a:moveTo>
                    <a:pt x="380010" y="610781"/>
                  </a:moveTo>
                  <a:cubicBezTo>
                    <a:pt x="380101" y="722681"/>
                    <a:pt x="300099" y="818609"/>
                    <a:pt x="190005" y="838619"/>
                  </a:cubicBezTo>
                  <a:cubicBezTo>
                    <a:pt x="79911" y="818609"/>
                    <a:pt x="-91" y="722681"/>
                    <a:pt x="0" y="610781"/>
                  </a:cubicBezTo>
                  <a:cubicBezTo>
                    <a:pt x="0" y="496862"/>
                    <a:pt x="81915" y="88811"/>
                    <a:pt x="190005" y="0"/>
                  </a:cubicBezTo>
                  <a:cubicBezTo>
                    <a:pt x="298094" y="88963"/>
                    <a:pt x="380010" y="496824"/>
                    <a:pt x="380010" y="610781"/>
                  </a:cubicBezTo>
                  <a:close/>
                </a:path>
              </a:pathLst>
            </a:custGeom>
            <a:solidFill>
              <a:srgbClr val="F6C86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76" name="任意形状 375"/>
            <p:cNvSpPr/>
            <p:nvPr/>
          </p:nvSpPr>
          <p:spPr>
            <a:xfrm>
              <a:off x="-4278746" y="6922126"/>
              <a:ext cx="463181" cy="859917"/>
            </a:xfrm>
            <a:custGeom>
              <a:avLst/>
              <a:gdLst>
                <a:gd name="connsiteX0" fmla="*/ 463182 w 463181"/>
                <a:gd name="connsiteY0" fmla="*/ 628269 h 859917"/>
                <a:gd name="connsiteX1" fmla="*/ 232067 w 463181"/>
                <a:gd name="connsiteY1" fmla="*/ 859917 h 859917"/>
                <a:gd name="connsiteX2" fmla="*/ 231572 w 463181"/>
                <a:gd name="connsiteY2" fmla="*/ 859917 h 859917"/>
                <a:gd name="connsiteX3" fmla="*/ 190005 w 463181"/>
                <a:gd name="connsiteY3" fmla="*/ 856107 h 859917"/>
                <a:gd name="connsiteX4" fmla="*/ 0 w 463181"/>
                <a:gd name="connsiteY4" fmla="*/ 628269 h 859917"/>
                <a:gd name="connsiteX5" fmla="*/ 190005 w 463181"/>
                <a:gd name="connsiteY5" fmla="*/ 17488 h 859917"/>
                <a:gd name="connsiteX6" fmla="*/ 231572 w 463181"/>
                <a:gd name="connsiteY6" fmla="*/ 0 h 859917"/>
                <a:gd name="connsiteX7" fmla="*/ 463182 w 463181"/>
                <a:gd name="connsiteY7" fmla="*/ 628269 h 85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3181" h="859917">
                  <a:moveTo>
                    <a:pt x="463182" y="628269"/>
                  </a:moveTo>
                  <a:cubicBezTo>
                    <a:pt x="463330" y="756056"/>
                    <a:pt x="359854" y="859768"/>
                    <a:pt x="232067" y="859917"/>
                  </a:cubicBezTo>
                  <a:cubicBezTo>
                    <a:pt x="231903" y="859917"/>
                    <a:pt x="231736" y="859917"/>
                    <a:pt x="231572" y="859917"/>
                  </a:cubicBezTo>
                  <a:cubicBezTo>
                    <a:pt x="217627" y="859925"/>
                    <a:pt x="203713" y="858648"/>
                    <a:pt x="190005" y="856107"/>
                  </a:cubicBezTo>
                  <a:cubicBezTo>
                    <a:pt x="79911" y="836097"/>
                    <a:pt x="-91" y="740169"/>
                    <a:pt x="0" y="628269"/>
                  </a:cubicBezTo>
                  <a:cubicBezTo>
                    <a:pt x="0" y="514350"/>
                    <a:pt x="81915" y="106299"/>
                    <a:pt x="190005" y="17488"/>
                  </a:cubicBezTo>
                  <a:cubicBezTo>
                    <a:pt x="201343" y="6908"/>
                    <a:pt x="216080" y="709"/>
                    <a:pt x="231572" y="0"/>
                  </a:cubicBezTo>
                  <a:cubicBezTo>
                    <a:pt x="359664" y="0"/>
                    <a:pt x="463182" y="500177"/>
                    <a:pt x="463182" y="628269"/>
                  </a:cubicBezTo>
                  <a:close/>
                </a:path>
              </a:pathLst>
            </a:custGeom>
            <a:solidFill>
              <a:srgbClr val="EAB54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77" name="任意形状 376"/>
            <p:cNvSpPr/>
            <p:nvPr/>
          </p:nvSpPr>
          <p:spPr>
            <a:xfrm>
              <a:off x="-4278594" y="6939613"/>
              <a:ext cx="380009" cy="838619"/>
            </a:xfrm>
            <a:custGeom>
              <a:avLst/>
              <a:gdLst>
                <a:gd name="connsiteX0" fmla="*/ 380010 w 380009"/>
                <a:gd name="connsiteY0" fmla="*/ 610781 h 838619"/>
                <a:gd name="connsiteX1" fmla="*/ 190005 w 380009"/>
                <a:gd name="connsiteY1" fmla="*/ 838619 h 838619"/>
                <a:gd name="connsiteX2" fmla="*/ 0 w 380009"/>
                <a:gd name="connsiteY2" fmla="*/ 610781 h 838619"/>
                <a:gd name="connsiteX3" fmla="*/ 190005 w 380009"/>
                <a:gd name="connsiteY3" fmla="*/ 0 h 838619"/>
                <a:gd name="connsiteX4" fmla="*/ 380010 w 380009"/>
                <a:gd name="connsiteY4" fmla="*/ 610781 h 83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009" h="838619">
                  <a:moveTo>
                    <a:pt x="380010" y="610781"/>
                  </a:moveTo>
                  <a:cubicBezTo>
                    <a:pt x="380101" y="722681"/>
                    <a:pt x="300098" y="818609"/>
                    <a:pt x="190005" y="838619"/>
                  </a:cubicBezTo>
                  <a:cubicBezTo>
                    <a:pt x="79911" y="818609"/>
                    <a:pt x="-91" y="722681"/>
                    <a:pt x="0" y="610781"/>
                  </a:cubicBezTo>
                  <a:cubicBezTo>
                    <a:pt x="0" y="496862"/>
                    <a:pt x="81915" y="88811"/>
                    <a:pt x="190005" y="0"/>
                  </a:cubicBezTo>
                  <a:cubicBezTo>
                    <a:pt x="297942" y="88963"/>
                    <a:pt x="380010" y="496824"/>
                    <a:pt x="380010" y="610781"/>
                  </a:cubicBezTo>
                  <a:close/>
                </a:path>
              </a:pathLst>
            </a:custGeom>
            <a:solidFill>
              <a:srgbClr val="F6C86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78" name="任意形状 377"/>
            <p:cNvSpPr/>
            <p:nvPr/>
          </p:nvSpPr>
          <p:spPr>
            <a:xfrm>
              <a:off x="-3020570" y="6922164"/>
              <a:ext cx="463105" cy="859878"/>
            </a:xfrm>
            <a:custGeom>
              <a:avLst/>
              <a:gdLst>
                <a:gd name="connsiteX0" fmla="*/ 463106 w 463105"/>
                <a:gd name="connsiteY0" fmla="*/ 628231 h 859878"/>
                <a:gd name="connsiteX1" fmla="*/ 231991 w 463105"/>
                <a:gd name="connsiteY1" fmla="*/ 859879 h 859878"/>
                <a:gd name="connsiteX2" fmla="*/ 231572 w 463105"/>
                <a:gd name="connsiteY2" fmla="*/ 859879 h 859878"/>
                <a:gd name="connsiteX3" fmla="*/ 190005 w 463105"/>
                <a:gd name="connsiteY3" fmla="*/ 856069 h 859878"/>
                <a:gd name="connsiteX4" fmla="*/ 0 w 463105"/>
                <a:gd name="connsiteY4" fmla="*/ 628231 h 859878"/>
                <a:gd name="connsiteX5" fmla="*/ 190005 w 463105"/>
                <a:gd name="connsiteY5" fmla="*/ 17450 h 859878"/>
                <a:gd name="connsiteX6" fmla="*/ 231572 w 463105"/>
                <a:gd name="connsiteY6" fmla="*/ 0 h 859878"/>
                <a:gd name="connsiteX7" fmla="*/ 463106 w 463105"/>
                <a:gd name="connsiteY7" fmla="*/ 628231 h 859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3105" h="859878">
                  <a:moveTo>
                    <a:pt x="463106" y="628231"/>
                  </a:moveTo>
                  <a:cubicBezTo>
                    <a:pt x="463258" y="756018"/>
                    <a:pt x="359778" y="859730"/>
                    <a:pt x="231991" y="859879"/>
                  </a:cubicBezTo>
                  <a:cubicBezTo>
                    <a:pt x="231850" y="859879"/>
                    <a:pt x="231713" y="859879"/>
                    <a:pt x="231572" y="859879"/>
                  </a:cubicBezTo>
                  <a:cubicBezTo>
                    <a:pt x="217627" y="859887"/>
                    <a:pt x="203713" y="858610"/>
                    <a:pt x="190005" y="856069"/>
                  </a:cubicBezTo>
                  <a:cubicBezTo>
                    <a:pt x="79911" y="836059"/>
                    <a:pt x="-91" y="740131"/>
                    <a:pt x="0" y="628231"/>
                  </a:cubicBezTo>
                  <a:cubicBezTo>
                    <a:pt x="0" y="514312"/>
                    <a:pt x="81915" y="106261"/>
                    <a:pt x="190005" y="17450"/>
                  </a:cubicBezTo>
                  <a:cubicBezTo>
                    <a:pt x="201351" y="6885"/>
                    <a:pt x="216084" y="697"/>
                    <a:pt x="231572" y="0"/>
                  </a:cubicBezTo>
                  <a:cubicBezTo>
                    <a:pt x="359626" y="-38"/>
                    <a:pt x="463106" y="500139"/>
                    <a:pt x="463106" y="628231"/>
                  </a:cubicBezTo>
                  <a:close/>
                </a:path>
              </a:pathLst>
            </a:custGeom>
            <a:solidFill>
              <a:srgbClr val="EAB54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79" name="任意形状 378"/>
            <p:cNvSpPr/>
            <p:nvPr/>
          </p:nvSpPr>
          <p:spPr>
            <a:xfrm>
              <a:off x="-3020570" y="6939613"/>
              <a:ext cx="380009" cy="838619"/>
            </a:xfrm>
            <a:custGeom>
              <a:avLst/>
              <a:gdLst>
                <a:gd name="connsiteX0" fmla="*/ 380009 w 380009"/>
                <a:gd name="connsiteY0" fmla="*/ 610781 h 838619"/>
                <a:gd name="connsiteX1" fmla="*/ 190005 w 380009"/>
                <a:gd name="connsiteY1" fmla="*/ 838619 h 838619"/>
                <a:gd name="connsiteX2" fmla="*/ 0 w 380009"/>
                <a:gd name="connsiteY2" fmla="*/ 610781 h 838619"/>
                <a:gd name="connsiteX3" fmla="*/ 190005 w 380009"/>
                <a:gd name="connsiteY3" fmla="*/ 0 h 838619"/>
                <a:gd name="connsiteX4" fmla="*/ 380009 w 380009"/>
                <a:gd name="connsiteY4" fmla="*/ 610781 h 838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009" h="838619">
                  <a:moveTo>
                    <a:pt x="380009" y="610781"/>
                  </a:moveTo>
                  <a:cubicBezTo>
                    <a:pt x="380086" y="722681"/>
                    <a:pt x="300099" y="818609"/>
                    <a:pt x="190005" y="838619"/>
                  </a:cubicBezTo>
                  <a:cubicBezTo>
                    <a:pt x="79911" y="818609"/>
                    <a:pt x="-91" y="722681"/>
                    <a:pt x="0" y="610781"/>
                  </a:cubicBezTo>
                  <a:cubicBezTo>
                    <a:pt x="0" y="496862"/>
                    <a:pt x="81915" y="88811"/>
                    <a:pt x="190005" y="0"/>
                  </a:cubicBezTo>
                  <a:cubicBezTo>
                    <a:pt x="298094" y="88963"/>
                    <a:pt x="380009" y="496824"/>
                    <a:pt x="380009" y="610781"/>
                  </a:cubicBezTo>
                  <a:close/>
                </a:path>
              </a:pathLst>
            </a:custGeom>
            <a:solidFill>
              <a:srgbClr val="F6C86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80" name="任意形状 379"/>
            <p:cNvSpPr/>
            <p:nvPr/>
          </p:nvSpPr>
          <p:spPr>
            <a:xfrm>
              <a:off x="-5609275" y="7752515"/>
              <a:ext cx="607885" cy="150533"/>
            </a:xfrm>
            <a:custGeom>
              <a:avLst/>
              <a:gdLst>
                <a:gd name="connsiteX0" fmla="*/ 607886 w 607885"/>
                <a:gd name="connsiteY0" fmla="*/ 0 h 150533"/>
                <a:gd name="connsiteX1" fmla="*/ 457505 w 607885"/>
                <a:gd name="connsiteY1" fmla="*/ 150533 h 150533"/>
                <a:gd name="connsiteX2" fmla="*/ 457200 w 607885"/>
                <a:gd name="connsiteY2" fmla="*/ 150533 h 150533"/>
                <a:gd name="connsiteX3" fmla="*/ 150495 w 607885"/>
                <a:gd name="connsiteY3" fmla="*/ 150533 h 150533"/>
                <a:gd name="connsiteX4" fmla="*/ 0 w 607885"/>
                <a:gd name="connsiteY4" fmla="*/ 114 h 150533"/>
                <a:gd name="connsiteX5" fmla="*/ 0 w 607885"/>
                <a:gd name="connsiteY5" fmla="*/ 0 h 150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7885" h="150533">
                  <a:moveTo>
                    <a:pt x="607886" y="0"/>
                  </a:moveTo>
                  <a:cubicBezTo>
                    <a:pt x="607927" y="83096"/>
                    <a:pt x="540601" y="150491"/>
                    <a:pt x="457505" y="150533"/>
                  </a:cubicBezTo>
                  <a:cubicBezTo>
                    <a:pt x="457402" y="150533"/>
                    <a:pt x="457303" y="150533"/>
                    <a:pt x="457200" y="150533"/>
                  </a:cubicBezTo>
                  <a:lnTo>
                    <a:pt x="150495" y="150533"/>
                  </a:lnTo>
                  <a:cubicBezTo>
                    <a:pt x="67399" y="150556"/>
                    <a:pt x="23" y="83210"/>
                    <a:pt x="0" y="114"/>
                  </a:cubicBezTo>
                  <a:cubicBezTo>
                    <a:pt x="0" y="76"/>
                    <a:pt x="0" y="38"/>
                    <a:pt x="0" y="0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81" name="任意形状 380"/>
            <p:cNvSpPr/>
            <p:nvPr/>
          </p:nvSpPr>
          <p:spPr>
            <a:xfrm>
              <a:off x="-5609275" y="7752515"/>
              <a:ext cx="483146" cy="150495"/>
            </a:xfrm>
            <a:custGeom>
              <a:avLst/>
              <a:gdLst>
                <a:gd name="connsiteX0" fmla="*/ 483146 w 483146"/>
                <a:gd name="connsiteY0" fmla="*/ 0 h 150495"/>
                <a:gd name="connsiteX1" fmla="*/ 332727 w 483146"/>
                <a:gd name="connsiteY1" fmla="*/ 150495 h 150495"/>
                <a:gd name="connsiteX2" fmla="*/ 332651 w 483146"/>
                <a:gd name="connsiteY2" fmla="*/ 150495 h 150495"/>
                <a:gd name="connsiteX3" fmla="*/ 150495 w 483146"/>
                <a:gd name="connsiteY3" fmla="*/ 150495 h 150495"/>
                <a:gd name="connsiteX4" fmla="*/ 0 w 483146"/>
                <a:gd name="connsiteY4" fmla="*/ 76 h 150495"/>
                <a:gd name="connsiteX5" fmla="*/ 0 w 483146"/>
                <a:gd name="connsiteY5" fmla="*/ 0 h 15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3146" h="150495">
                  <a:moveTo>
                    <a:pt x="483146" y="0"/>
                  </a:moveTo>
                  <a:cubicBezTo>
                    <a:pt x="483169" y="83096"/>
                    <a:pt x="415823" y="150472"/>
                    <a:pt x="332727" y="150495"/>
                  </a:cubicBezTo>
                  <a:cubicBezTo>
                    <a:pt x="332701" y="150495"/>
                    <a:pt x="332678" y="150495"/>
                    <a:pt x="332651" y="150495"/>
                  </a:cubicBezTo>
                  <a:lnTo>
                    <a:pt x="150495" y="150495"/>
                  </a:lnTo>
                  <a:cubicBezTo>
                    <a:pt x="67399" y="150518"/>
                    <a:pt x="23" y="83172"/>
                    <a:pt x="0" y="76"/>
                  </a:cubicBezTo>
                  <a:cubicBezTo>
                    <a:pt x="0" y="50"/>
                    <a:pt x="0" y="27"/>
                    <a:pt x="0" y="0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82" name="任意形状 381"/>
            <p:cNvSpPr/>
            <p:nvPr/>
          </p:nvSpPr>
          <p:spPr>
            <a:xfrm>
              <a:off x="-4351098" y="7752515"/>
              <a:ext cx="607847" cy="150495"/>
            </a:xfrm>
            <a:custGeom>
              <a:avLst/>
              <a:gdLst>
                <a:gd name="connsiteX0" fmla="*/ 607847 w 607847"/>
                <a:gd name="connsiteY0" fmla="*/ 0 h 150495"/>
                <a:gd name="connsiteX1" fmla="*/ 457429 w 607847"/>
                <a:gd name="connsiteY1" fmla="*/ 150495 h 150495"/>
                <a:gd name="connsiteX2" fmla="*/ 457352 w 607847"/>
                <a:gd name="connsiteY2" fmla="*/ 150495 h 150495"/>
                <a:gd name="connsiteX3" fmla="*/ 150495 w 607847"/>
                <a:gd name="connsiteY3" fmla="*/ 150495 h 150495"/>
                <a:gd name="connsiteX4" fmla="*/ 0 w 607847"/>
                <a:gd name="connsiteY4" fmla="*/ 76 h 150495"/>
                <a:gd name="connsiteX5" fmla="*/ 0 w 607847"/>
                <a:gd name="connsiteY5" fmla="*/ 0 h 15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7847" h="150495">
                  <a:moveTo>
                    <a:pt x="607847" y="0"/>
                  </a:moveTo>
                  <a:cubicBezTo>
                    <a:pt x="607867" y="83096"/>
                    <a:pt x="540525" y="150472"/>
                    <a:pt x="457429" y="150495"/>
                  </a:cubicBezTo>
                  <a:cubicBezTo>
                    <a:pt x="457402" y="150495"/>
                    <a:pt x="457379" y="150495"/>
                    <a:pt x="457352" y="150495"/>
                  </a:cubicBezTo>
                  <a:lnTo>
                    <a:pt x="150495" y="150495"/>
                  </a:lnTo>
                  <a:cubicBezTo>
                    <a:pt x="67399" y="150518"/>
                    <a:pt x="23" y="83172"/>
                    <a:pt x="0" y="76"/>
                  </a:cubicBezTo>
                  <a:cubicBezTo>
                    <a:pt x="0" y="50"/>
                    <a:pt x="0" y="27"/>
                    <a:pt x="0" y="0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83" name="任意形状 382"/>
            <p:cNvSpPr/>
            <p:nvPr/>
          </p:nvSpPr>
          <p:spPr>
            <a:xfrm>
              <a:off x="-4351212" y="7752515"/>
              <a:ext cx="483107" cy="150495"/>
            </a:xfrm>
            <a:custGeom>
              <a:avLst/>
              <a:gdLst>
                <a:gd name="connsiteX0" fmla="*/ 483108 w 483107"/>
                <a:gd name="connsiteY0" fmla="*/ 0 h 150495"/>
                <a:gd name="connsiteX1" fmla="*/ 332689 w 483107"/>
                <a:gd name="connsiteY1" fmla="*/ 150495 h 150495"/>
                <a:gd name="connsiteX2" fmla="*/ 332613 w 483107"/>
                <a:gd name="connsiteY2" fmla="*/ 150495 h 150495"/>
                <a:gd name="connsiteX3" fmla="*/ 150495 w 483107"/>
                <a:gd name="connsiteY3" fmla="*/ 150495 h 150495"/>
                <a:gd name="connsiteX4" fmla="*/ 0 w 483107"/>
                <a:gd name="connsiteY4" fmla="*/ 76 h 150495"/>
                <a:gd name="connsiteX5" fmla="*/ 0 w 483107"/>
                <a:gd name="connsiteY5" fmla="*/ 0 h 15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3107" h="150495">
                  <a:moveTo>
                    <a:pt x="483108" y="0"/>
                  </a:moveTo>
                  <a:cubicBezTo>
                    <a:pt x="483127" y="83096"/>
                    <a:pt x="415785" y="150472"/>
                    <a:pt x="332689" y="150495"/>
                  </a:cubicBezTo>
                  <a:cubicBezTo>
                    <a:pt x="332662" y="150495"/>
                    <a:pt x="332640" y="150495"/>
                    <a:pt x="332613" y="150495"/>
                  </a:cubicBezTo>
                  <a:lnTo>
                    <a:pt x="150495" y="150495"/>
                  </a:lnTo>
                  <a:cubicBezTo>
                    <a:pt x="67399" y="150518"/>
                    <a:pt x="23" y="83172"/>
                    <a:pt x="0" y="76"/>
                  </a:cubicBezTo>
                  <a:cubicBezTo>
                    <a:pt x="0" y="50"/>
                    <a:pt x="0" y="27"/>
                    <a:pt x="0" y="0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84" name="任意形状 383"/>
            <p:cNvSpPr/>
            <p:nvPr/>
          </p:nvSpPr>
          <p:spPr>
            <a:xfrm>
              <a:off x="-3092769" y="7752515"/>
              <a:ext cx="607694" cy="150495"/>
            </a:xfrm>
            <a:custGeom>
              <a:avLst/>
              <a:gdLst>
                <a:gd name="connsiteX0" fmla="*/ 607695 w 607694"/>
                <a:gd name="connsiteY0" fmla="*/ 0 h 150495"/>
                <a:gd name="connsiteX1" fmla="*/ 457276 w 607694"/>
                <a:gd name="connsiteY1" fmla="*/ 150495 h 150495"/>
                <a:gd name="connsiteX2" fmla="*/ 457200 w 607694"/>
                <a:gd name="connsiteY2" fmla="*/ 150495 h 150495"/>
                <a:gd name="connsiteX3" fmla="*/ 150495 w 607694"/>
                <a:gd name="connsiteY3" fmla="*/ 150495 h 150495"/>
                <a:gd name="connsiteX4" fmla="*/ 0 w 607694"/>
                <a:gd name="connsiteY4" fmla="*/ 76 h 150495"/>
                <a:gd name="connsiteX5" fmla="*/ 0 w 607694"/>
                <a:gd name="connsiteY5" fmla="*/ 0 h 15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7694" h="150495">
                  <a:moveTo>
                    <a:pt x="607695" y="0"/>
                  </a:moveTo>
                  <a:cubicBezTo>
                    <a:pt x="607733" y="83096"/>
                    <a:pt x="540372" y="150472"/>
                    <a:pt x="457276" y="150495"/>
                  </a:cubicBezTo>
                  <a:cubicBezTo>
                    <a:pt x="457238" y="150495"/>
                    <a:pt x="457238" y="150495"/>
                    <a:pt x="457200" y="150495"/>
                  </a:cubicBezTo>
                  <a:lnTo>
                    <a:pt x="150495" y="150495"/>
                  </a:lnTo>
                  <a:cubicBezTo>
                    <a:pt x="67399" y="150518"/>
                    <a:pt x="23" y="83172"/>
                    <a:pt x="0" y="76"/>
                  </a:cubicBezTo>
                  <a:cubicBezTo>
                    <a:pt x="0" y="50"/>
                    <a:pt x="0" y="27"/>
                    <a:pt x="0" y="0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85" name="任意形状 384"/>
            <p:cNvSpPr/>
            <p:nvPr/>
          </p:nvSpPr>
          <p:spPr>
            <a:xfrm>
              <a:off x="-3092769" y="7752515"/>
              <a:ext cx="482955" cy="150495"/>
            </a:xfrm>
            <a:custGeom>
              <a:avLst/>
              <a:gdLst>
                <a:gd name="connsiteX0" fmla="*/ 482955 w 482955"/>
                <a:gd name="connsiteY0" fmla="*/ 0 h 150495"/>
                <a:gd name="connsiteX1" fmla="*/ 332537 w 482955"/>
                <a:gd name="connsiteY1" fmla="*/ 150495 h 150495"/>
                <a:gd name="connsiteX2" fmla="*/ 332461 w 482955"/>
                <a:gd name="connsiteY2" fmla="*/ 150495 h 150495"/>
                <a:gd name="connsiteX3" fmla="*/ 150495 w 482955"/>
                <a:gd name="connsiteY3" fmla="*/ 150495 h 150495"/>
                <a:gd name="connsiteX4" fmla="*/ 0 w 482955"/>
                <a:gd name="connsiteY4" fmla="*/ 76 h 150495"/>
                <a:gd name="connsiteX5" fmla="*/ 0 w 482955"/>
                <a:gd name="connsiteY5" fmla="*/ 0 h 15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2955" h="150495">
                  <a:moveTo>
                    <a:pt x="482955" y="0"/>
                  </a:moveTo>
                  <a:cubicBezTo>
                    <a:pt x="482993" y="83096"/>
                    <a:pt x="415633" y="150472"/>
                    <a:pt x="332537" y="150495"/>
                  </a:cubicBezTo>
                  <a:cubicBezTo>
                    <a:pt x="332510" y="150495"/>
                    <a:pt x="332487" y="150495"/>
                    <a:pt x="332461" y="150495"/>
                  </a:cubicBezTo>
                  <a:lnTo>
                    <a:pt x="150495" y="150495"/>
                  </a:lnTo>
                  <a:cubicBezTo>
                    <a:pt x="67399" y="150518"/>
                    <a:pt x="23" y="83172"/>
                    <a:pt x="0" y="76"/>
                  </a:cubicBezTo>
                  <a:cubicBezTo>
                    <a:pt x="0" y="50"/>
                    <a:pt x="0" y="27"/>
                    <a:pt x="0" y="0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89" name="图形 186"/>
          <p:cNvGrpSpPr>
            <a:grpSpLocks noChangeAspect="1"/>
          </p:cNvGrpSpPr>
          <p:nvPr/>
        </p:nvGrpSpPr>
        <p:grpSpPr>
          <a:xfrm>
            <a:off x="550863" y="5220038"/>
            <a:ext cx="720000" cy="720000"/>
            <a:chOff x="-4391341" y="7940040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90" name="任意形状 389"/>
            <p:cNvSpPr/>
            <p:nvPr/>
          </p:nvSpPr>
          <p:spPr>
            <a:xfrm>
              <a:off x="-908543" y="11226165"/>
              <a:ext cx="245173" cy="171640"/>
            </a:xfrm>
            <a:custGeom>
              <a:avLst/>
              <a:gdLst>
                <a:gd name="connsiteX0" fmla="*/ 245173 w 245173"/>
                <a:gd name="connsiteY0" fmla="*/ 0 h 171640"/>
                <a:gd name="connsiteX1" fmla="*/ 245173 w 245173"/>
                <a:gd name="connsiteY1" fmla="*/ 134874 h 171640"/>
                <a:gd name="connsiteX2" fmla="*/ 208407 w 245173"/>
                <a:gd name="connsiteY2" fmla="*/ 171640 h 171640"/>
                <a:gd name="connsiteX3" fmla="*/ 36766 w 245173"/>
                <a:gd name="connsiteY3" fmla="*/ 171640 h 171640"/>
                <a:gd name="connsiteX4" fmla="*/ 0 w 245173"/>
                <a:gd name="connsiteY4" fmla="*/ 134874 h 171640"/>
                <a:gd name="connsiteX5" fmla="*/ 0 w 245173"/>
                <a:gd name="connsiteY5" fmla="*/ 0 h 17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173" h="171640">
                  <a:moveTo>
                    <a:pt x="245173" y="0"/>
                  </a:moveTo>
                  <a:lnTo>
                    <a:pt x="245173" y="134874"/>
                  </a:lnTo>
                  <a:cubicBezTo>
                    <a:pt x="245173" y="155181"/>
                    <a:pt x="228714" y="171640"/>
                    <a:pt x="208407" y="171640"/>
                  </a:cubicBezTo>
                  <a:lnTo>
                    <a:pt x="36766" y="171640"/>
                  </a:lnTo>
                  <a:cubicBezTo>
                    <a:pt x="16459" y="171640"/>
                    <a:pt x="0" y="155181"/>
                    <a:pt x="0" y="13487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91" name="任意形状 390"/>
            <p:cNvSpPr/>
            <p:nvPr/>
          </p:nvSpPr>
          <p:spPr>
            <a:xfrm>
              <a:off x="-3242511" y="11226165"/>
              <a:ext cx="245173" cy="171640"/>
            </a:xfrm>
            <a:custGeom>
              <a:avLst/>
              <a:gdLst>
                <a:gd name="connsiteX0" fmla="*/ 245174 w 245173"/>
                <a:gd name="connsiteY0" fmla="*/ 0 h 171640"/>
                <a:gd name="connsiteX1" fmla="*/ 245174 w 245173"/>
                <a:gd name="connsiteY1" fmla="*/ 134874 h 171640"/>
                <a:gd name="connsiteX2" fmla="*/ 208407 w 245173"/>
                <a:gd name="connsiteY2" fmla="*/ 171640 h 171640"/>
                <a:gd name="connsiteX3" fmla="*/ 36767 w 245173"/>
                <a:gd name="connsiteY3" fmla="*/ 171640 h 171640"/>
                <a:gd name="connsiteX4" fmla="*/ 0 w 245173"/>
                <a:gd name="connsiteY4" fmla="*/ 134874 h 171640"/>
                <a:gd name="connsiteX5" fmla="*/ 0 w 245173"/>
                <a:gd name="connsiteY5" fmla="*/ 0 h 17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173" h="171640">
                  <a:moveTo>
                    <a:pt x="245174" y="0"/>
                  </a:moveTo>
                  <a:lnTo>
                    <a:pt x="245174" y="134874"/>
                  </a:lnTo>
                  <a:cubicBezTo>
                    <a:pt x="245174" y="155181"/>
                    <a:pt x="228714" y="171640"/>
                    <a:pt x="208407" y="171640"/>
                  </a:cubicBezTo>
                  <a:lnTo>
                    <a:pt x="36767" y="171640"/>
                  </a:lnTo>
                  <a:cubicBezTo>
                    <a:pt x="16459" y="171640"/>
                    <a:pt x="0" y="155181"/>
                    <a:pt x="0" y="13487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92" name="任意形状 391"/>
            <p:cNvSpPr/>
            <p:nvPr/>
          </p:nvSpPr>
          <p:spPr>
            <a:xfrm>
              <a:off x="-3515041" y="9359074"/>
              <a:ext cx="3124200" cy="1929231"/>
            </a:xfrm>
            <a:custGeom>
              <a:avLst/>
              <a:gdLst>
                <a:gd name="connsiteX0" fmla="*/ 2940406 w 3124200"/>
                <a:gd name="connsiteY0" fmla="*/ 0 h 1929231"/>
                <a:gd name="connsiteX1" fmla="*/ 3124200 w 3124200"/>
                <a:gd name="connsiteY1" fmla="*/ 0 h 1929231"/>
                <a:gd name="connsiteX2" fmla="*/ 3124200 w 3124200"/>
                <a:gd name="connsiteY2" fmla="*/ 1929232 h 1929231"/>
                <a:gd name="connsiteX3" fmla="*/ 2940406 w 3124200"/>
                <a:gd name="connsiteY3" fmla="*/ 1929232 h 1929231"/>
                <a:gd name="connsiteX4" fmla="*/ 183795 w 3124200"/>
                <a:gd name="connsiteY4" fmla="*/ 1929232 h 1929231"/>
                <a:gd name="connsiteX5" fmla="*/ 0 w 3124200"/>
                <a:gd name="connsiteY5" fmla="*/ 1929232 h 1929231"/>
                <a:gd name="connsiteX6" fmla="*/ 0 w 3124200"/>
                <a:gd name="connsiteY6" fmla="*/ 0 h 1929231"/>
                <a:gd name="connsiteX7" fmla="*/ 183795 w 3124200"/>
                <a:gd name="connsiteY7" fmla="*/ 0 h 1929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4200" h="1929231">
                  <a:moveTo>
                    <a:pt x="2940406" y="0"/>
                  </a:moveTo>
                  <a:cubicBezTo>
                    <a:pt x="3041913" y="0"/>
                    <a:pt x="3124200" y="0"/>
                    <a:pt x="3124200" y="0"/>
                  </a:cubicBezTo>
                  <a:lnTo>
                    <a:pt x="3124200" y="1929232"/>
                  </a:lnTo>
                  <a:cubicBezTo>
                    <a:pt x="3124200" y="1929232"/>
                    <a:pt x="3041913" y="1929232"/>
                    <a:pt x="2940406" y="1929232"/>
                  </a:cubicBezTo>
                  <a:lnTo>
                    <a:pt x="183795" y="1929232"/>
                  </a:lnTo>
                  <a:cubicBezTo>
                    <a:pt x="82288" y="1929232"/>
                    <a:pt x="0" y="1929232"/>
                    <a:pt x="0" y="1929232"/>
                  </a:cubicBezTo>
                  <a:lnTo>
                    <a:pt x="0" y="0"/>
                  </a:lnTo>
                  <a:cubicBezTo>
                    <a:pt x="0" y="0"/>
                    <a:pt x="82288" y="0"/>
                    <a:pt x="183795" y="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93" name="任意形状 392"/>
            <p:cNvSpPr/>
            <p:nvPr/>
          </p:nvSpPr>
          <p:spPr>
            <a:xfrm>
              <a:off x="-3349267" y="9538220"/>
              <a:ext cx="2225154" cy="1570939"/>
            </a:xfrm>
            <a:custGeom>
              <a:avLst/>
              <a:gdLst>
                <a:gd name="connsiteX0" fmla="*/ 2151659 w 2225154"/>
                <a:gd name="connsiteY0" fmla="*/ 0 h 1570939"/>
                <a:gd name="connsiteX1" fmla="*/ 2225154 w 2225154"/>
                <a:gd name="connsiteY1" fmla="*/ 0 h 1570939"/>
                <a:gd name="connsiteX2" fmla="*/ 2225154 w 2225154"/>
                <a:gd name="connsiteY2" fmla="*/ 1570939 h 1570939"/>
                <a:gd name="connsiteX3" fmla="*/ 2151659 w 2225154"/>
                <a:gd name="connsiteY3" fmla="*/ 1570939 h 1570939"/>
                <a:gd name="connsiteX4" fmla="*/ 73495 w 2225154"/>
                <a:gd name="connsiteY4" fmla="*/ 1570939 h 1570939"/>
                <a:gd name="connsiteX5" fmla="*/ 0 w 2225154"/>
                <a:gd name="connsiteY5" fmla="*/ 1570939 h 1570939"/>
                <a:gd name="connsiteX6" fmla="*/ 0 w 2225154"/>
                <a:gd name="connsiteY6" fmla="*/ 0 h 1570939"/>
                <a:gd name="connsiteX7" fmla="*/ 73495 w 2225154"/>
                <a:gd name="connsiteY7" fmla="*/ 0 h 1570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5154" h="1570939">
                  <a:moveTo>
                    <a:pt x="2151659" y="0"/>
                  </a:moveTo>
                  <a:cubicBezTo>
                    <a:pt x="2192250" y="0"/>
                    <a:pt x="2225154" y="0"/>
                    <a:pt x="2225154" y="0"/>
                  </a:cubicBezTo>
                  <a:lnTo>
                    <a:pt x="2225154" y="1570939"/>
                  </a:lnTo>
                  <a:cubicBezTo>
                    <a:pt x="2225154" y="1570939"/>
                    <a:pt x="2192250" y="1570939"/>
                    <a:pt x="2151659" y="1570939"/>
                  </a:cubicBezTo>
                  <a:lnTo>
                    <a:pt x="73495" y="1570939"/>
                  </a:lnTo>
                  <a:cubicBezTo>
                    <a:pt x="32905" y="1570939"/>
                    <a:pt x="0" y="1570939"/>
                    <a:pt x="0" y="1570939"/>
                  </a:cubicBezTo>
                  <a:lnTo>
                    <a:pt x="0" y="0"/>
                  </a:lnTo>
                  <a:cubicBezTo>
                    <a:pt x="0" y="0"/>
                    <a:pt x="32905" y="0"/>
                    <a:pt x="73495" y="0"/>
                  </a:cubicBezTo>
                  <a:close/>
                </a:path>
              </a:pathLst>
            </a:custGeom>
            <a:solidFill>
              <a:srgbClr val="62667C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94" name="任意形状 393"/>
            <p:cNvSpPr/>
            <p:nvPr/>
          </p:nvSpPr>
          <p:spPr>
            <a:xfrm>
              <a:off x="-3229252" y="9648482"/>
              <a:ext cx="1691068" cy="1350416"/>
            </a:xfrm>
            <a:custGeom>
              <a:avLst/>
              <a:gdLst>
                <a:gd name="connsiteX0" fmla="*/ 1654302 w 1691068"/>
                <a:gd name="connsiteY0" fmla="*/ 0 h 1350416"/>
                <a:gd name="connsiteX1" fmla="*/ 1691068 w 1691068"/>
                <a:gd name="connsiteY1" fmla="*/ 0 h 1350416"/>
                <a:gd name="connsiteX2" fmla="*/ 1691068 w 1691068"/>
                <a:gd name="connsiteY2" fmla="*/ 1350416 h 1350416"/>
                <a:gd name="connsiteX3" fmla="*/ 1654302 w 1691068"/>
                <a:gd name="connsiteY3" fmla="*/ 1350416 h 1350416"/>
                <a:gd name="connsiteX4" fmla="*/ 36766 w 1691068"/>
                <a:gd name="connsiteY4" fmla="*/ 1350416 h 1350416"/>
                <a:gd name="connsiteX5" fmla="*/ 0 w 1691068"/>
                <a:gd name="connsiteY5" fmla="*/ 1350416 h 1350416"/>
                <a:gd name="connsiteX6" fmla="*/ 0 w 1691068"/>
                <a:gd name="connsiteY6" fmla="*/ 0 h 1350416"/>
                <a:gd name="connsiteX7" fmla="*/ 36766 w 1691068"/>
                <a:gd name="connsiteY7" fmla="*/ 0 h 135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1068" h="1350416">
                  <a:moveTo>
                    <a:pt x="1654302" y="0"/>
                  </a:moveTo>
                  <a:cubicBezTo>
                    <a:pt x="1674607" y="0"/>
                    <a:pt x="1691068" y="0"/>
                    <a:pt x="1691068" y="0"/>
                  </a:cubicBezTo>
                  <a:lnTo>
                    <a:pt x="1691068" y="1350416"/>
                  </a:lnTo>
                  <a:cubicBezTo>
                    <a:pt x="1691068" y="1350416"/>
                    <a:pt x="1674607" y="1350416"/>
                    <a:pt x="1654302" y="1350416"/>
                  </a:cubicBezTo>
                  <a:lnTo>
                    <a:pt x="36766" y="1350416"/>
                  </a:lnTo>
                  <a:cubicBezTo>
                    <a:pt x="16461" y="1350416"/>
                    <a:pt x="0" y="1350416"/>
                    <a:pt x="0" y="1350416"/>
                  </a:cubicBezTo>
                  <a:lnTo>
                    <a:pt x="0" y="0"/>
                  </a:lnTo>
                  <a:cubicBezTo>
                    <a:pt x="0" y="0"/>
                    <a:pt x="16461" y="0"/>
                    <a:pt x="36766" y="0"/>
                  </a:cubicBezTo>
                  <a:close/>
                </a:path>
              </a:pathLst>
            </a:custGeom>
            <a:solidFill>
              <a:srgbClr val="69B0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95" name="任意形状 394"/>
            <p:cNvSpPr/>
            <p:nvPr/>
          </p:nvSpPr>
          <p:spPr>
            <a:xfrm>
              <a:off x="-938300" y="9583597"/>
              <a:ext cx="361645" cy="361645"/>
            </a:xfrm>
            <a:custGeom>
              <a:avLst/>
              <a:gdLst>
                <a:gd name="connsiteX0" fmla="*/ 361645 w 361645"/>
                <a:gd name="connsiteY0" fmla="*/ 181013 h 361645"/>
                <a:gd name="connsiteX1" fmla="*/ 180632 w 361645"/>
                <a:gd name="connsiteY1" fmla="*/ 361645 h 361645"/>
                <a:gd name="connsiteX2" fmla="*/ 0 w 361645"/>
                <a:gd name="connsiteY2" fmla="*/ 180632 h 361645"/>
                <a:gd name="connsiteX3" fmla="*/ 180632 w 361645"/>
                <a:gd name="connsiteY3" fmla="*/ 0 h 361645"/>
                <a:gd name="connsiteX4" fmla="*/ 361645 w 361645"/>
                <a:gd name="connsiteY4" fmla="*/ 181013 h 36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645" h="361645">
                  <a:moveTo>
                    <a:pt x="361645" y="181013"/>
                  </a:moveTo>
                  <a:cubicBezTo>
                    <a:pt x="361531" y="280877"/>
                    <a:pt x="280496" y="361752"/>
                    <a:pt x="180632" y="361645"/>
                  </a:cubicBezTo>
                  <a:cubicBezTo>
                    <a:pt x="80768" y="361539"/>
                    <a:pt x="-107" y="280496"/>
                    <a:pt x="0" y="180632"/>
                  </a:cubicBezTo>
                  <a:cubicBezTo>
                    <a:pt x="107" y="80917"/>
                    <a:pt x="80917" y="107"/>
                    <a:pt x="180632" y="0"/>
                  </a:cubicBezTo>
                  <a:cubicBezTo>
                    <a:pt x="280576" y="65"/>
                    <a:pt x="361569" y="81069"/>
                    <a:pt x="361645" y="181013"/>
                  </a:cubicBezTo>
                  <a:close/>
                </a:path>
              </a:pathLst>
            </a:custGeom>
            <a:solidFill>
              <a:srgbClr val="9A9EAF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96" name="任意形状 395"/>
            <p:cNvSpPr/>
            <p:nvPr/>
          </p:nvSpPr>
          <p:spPr>
            <a:xfrm>
              <a:off x="-730271" y="9667265"/>
              <a:ext cx="78865" cy="78868"/>
            </a:xfrm>
            <a:custGeom>
              <a:avLst/>
              <a:gdLst>
                <a:gd name="connsiteX0" fmla="*/ 78865 w 78865"/>
                <a:gd name="connsiteY0" fmla="*/ 39815 h 78868"/>
                <a:gd name="connsiteX1" fmla="*/ 39054 w 78865"/>
                <a:gd name="connsiteY1" fmla="*/ 78867 h 78868"/>
                <a:gd name="connsiteX2" fmla="*/ 2 w 78865"/>
                <a:gd name="connsiteY2" fmla="*/ 39053 h 78868"/>
                <a:gd name="connsiteX3" fmla="*/ 39431 w 78865"/>
                <a:gd name="connsiteY3" fmla="*/ 0 h 78868"/>
                <a:gd name="connsiteX4" fmla="*/ 78865 w 78865"/>
                <a:gd name="connsiteY4" fmla="*/ 39815 h 7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865" h="78868">
                  <a:moveTo>
                    <a:pt x="78865" y="39815"/>
                  </a:moveTo>
                  <a:cubicBezTo>
                    <a:pt x="78655" y="61592"/>
                    <a:pt x="60828" y="79077"/>
                    <a:pt x="39054" y="78867"/>
                  </a:cubicBezTo>
                  <a:cubicBezTo>
                    <a:pt x="17276" y="78654"/>
                    <a:pt x="-208" y="60830"/>
                    <a:pt x="2" y="39053"/>
                  </a:cubicBezTo>
                  <a:cubicBezTo>
                    <a:pt x="211" y="17423"/>
                    <a:pt x="17802" y="0"/>
                    <a:pt x="39431" y="0"/>
                  </a:cubicBezTo>
                  <a:cubicBezTo>
                    <a:pt x="61309" y="126"/>
                    <a:pt x="78949" y="17937"/>
                    <a:pt x="78865" y="39815"/>
                  </a:cubicBez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397" name="图形 186"/>
            <p:cNvGrpSpPr/>
            <p:nvPr/>
          </p:nvGrpSpPr>
          <p:grpSpPr>
            <a:xfrm>
              <a:off x="-2758679" y="9648482"/>
              <a:ext cx="1133627" cy="1350416"/>
              <a:chOff x="-2758679" y="9648482"/>
              <a:chExt cx="1133627" cy="1350416"/>
            </a:xfrm>
            <a:solidFill>
              <a:srgbClr val="EEEFEE"/>
            </a:solidFill>
          </p:grpSpPr>
          <p:sp>
            <p:nvSpPr>
              <p:cNvPr id="403" name="任意形状 402"/>
              <p:cNvSpPr/>
              <p:nvPr/>
            </p:nvSpPr>
            <p:spPr>
              <a:xfrm>
                <a:off x="-2758679" y="9648482"/>
                <a:ext cx="801281" cy="1350416"/>
              </a:xfrm>
              <a:custGeom>
                <a:avLst/>
                <a:gdLst>
                  <a:gd name="connsiteX0" fmla="*/ 38557 w 801281"/>
                  <a:gd name="connsiteY0" fmla="*/ 1350417 h 1350416"/>
                  <a:gd name="connsiteX1" fmla="*/ 0 w 801281"/>
                  <a:gd name="connsiteY1" fmla="*/ 1350417 h 1350416"/>
                  <a:gd name="connsiteX2" fmla="*/ 762686 w 801281"/>
                  <a:gd name="connsiteY2" fmla="*/ 0 h 1350416"/>
                  <a:gd name="connsiteX3" fmla="*/ 801281 w 801281"/>
                  <a:gd name="connsiteY3" fmla="*/ 0 h 1350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1281" h="1350416">
                    <a:moveTo>
                      <a:pt x="38557" y="1350417"/>
                    </a:moveTo>
                    <a:lnTo>
                      <a:pt x="0" y="1350417"/>
                    </a:lnTo>
                    <a:lnTo>
                      <a:pt x="762686" y="0"/>
                    </a:lnTo>
                    <a:lnTo>
                      <a:pt x="801281" y="0"/>
                    </a:ln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04" name="任意形状 403"/>
              <p:cNvSpPr/>
              <p:nvPr/>
            </p:nvSpPr>
            <p:spPr>
              <a:xfrm>
                <a:off x="-2590049" y="9648482"/>
                <a:ext cx="964996" cy="1350416"/>
              </a:xfrm>
              <a:custGeom>
                <a:avLst/>
                <a:gdLst>
                  <a:gd name="connsiteX0" fmla="*/ 202311 w 964996"/>
                  <a:gd name="connsiteY0" fmla="*/ 1350417 h 1350416"/>
                  <a:gd name="connsiteX1" fmla="*/ 0 w 964996"/>
                  <a:gd name="connsiteY1" fmla="*/ 1350417 h 1350416"/>
                  <a:gd name="connsiteX2" fmla="*/ 762686 w 964996"/>
                  <a:gd name="connsiteY2" fmla="*/ 0 h 1350416"/>
                  <a:gd name="connsiteX3" fmla="*/ 964997 w 964996"/>
                  <a:gd name="connsiteY3" fmla="*/ 0 h 1350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4996" h="1350416">
                    <a:moveTo>
                      <a:pt x="202311" y="1350417"/>
                    </a:moveTo>
                    <a:lnTo>
                      <a:pt x="0" y="1350417"/>
                    </a:lnTo>
                    <a:lnTo>
                      <a:pt x="762686" y="0"/>
                    </a:lnTo>
                    <a:lnTo>
                      <a:pt x="964997" y="0"/>
                    </a:lnTo>
                    <a:close/>
                  </a:path>
                </a:pathLst>
              </a:custGeom>
              <a:solidFill>
                <a:srgbClr val="EEEFEE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8" name="任意形状 397"/>
            <p:cNvSpPr/>
            <p:nvPr/>
          </p:nvSpPr>
          <p:spPr>
            <a:xfrm>
              <a:off x="-1372563" y="9820389"/>
              <a:ext cx="82829" cy="1006830"/>
            </a:xfrm>
            <a:custGeom>
              <a:avLst/>
              <a:gdLst>
                <a:gd name="connsiteX0" fmla="*/ 41415 w 82829"/>
                <a:gd name="connsiteY0" fmla="*/ 0 h 1006830"/>
                <a:gd name="connsiteX1" fmla="*/ 82829 w 82829"/>
                <a:gd name="connsiteY1" fmla="*/ 0 h 1006830"/>
                <a:gd name="connsiteX2" fmla="*/ 82829 w 82829"/>
                <a:gd name="connsiteY2" fmla="*/ 1006831 h 1006830"/>
                <a:gd name="connsiteX3" fmla="*/ 41415 w 82829"/>
                <a:gd name="connsiteY3" fmla="*/ 1006831 h 1006830"/>
                <a:gd name="connsiteX4" fmla="*/ 41415 w 82829"/>
                <a:gd name="connsiteY4" fmla="*/ 1006831 h 1006830"/>
                <a:gd name="connsiteX5" fmla="*/ 0 w 82829"/>
                <a:gd name="connsiteY5" fmla="*/ 1006831 h 1006830"/>
                <a:gd name="connsiteX6" fmla="*/ 0 w 82829"/>
                <a:gd name="connsiteY6" fmla="*/ 0 h 1006830"/>
                <a:gd name="connsiteX7" fmla="*/ 41415 w 82829"/>
                <a:gd name="connsiteY7" fmla="*/ 0 h 100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829" h="1006830">
                  <a:moveTo>
                    <a:pt x="41415" y="0"/>
                  </a:moveTo>
                  <a:cubicBezTo>
                    <a:pt x="64287" y="0"/>
                    <a:pt x="82829" y="0"/>
                    <a:pt x="82829" y="0"/>
                  </a:cubicBezTo>
                  <a:lnTo>
                    <a:pt x="82829" y="1006831"/>
                  </a:lnTo>
                  <a:cubicBezTo>
                    <a:pt x="82829" y="1006831"/>
                    <a:pt x="64287" y="1006831"/>
                    <a:pt x="41415" y="1006831"/>
                  </a:cubicBezTo>
                  <a:lnTo>
                    <a:pt x="41415" y="1006831"/>
                  </a:lnTo>
                  <a:cubicBezTo>
                    <a:pt x="18542" y="1006831"/>
                    <a:pt x="0" y="1006831"/>
                    <a:pt x="0" y="1006831"/>
                  </a:cubicBezTo>
                  <a:lnTo>
                    <a:pt x="0" y="0"/>
                  </a:lnTo>
                  <a:cubicBezTo>
                    <a:pt x="0" y="0"/>
                    <a:pt x="18542" y="0"/>
                    <a:pt x="41415" y="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399" name="图形 186"/>
            <p:cNvGrpSpPr/>
            <p:nvPr/>
          </p:nvGrpSpPr>
          <p:grpSpPr>
            <a:xfrm>
              <a:off x="-957616" y="10393299"/>
              <a:ext cx="398411" cy="557174"/>
              <a:chOff x="-957616" y="10393299"/>
              <a:chExt cx="398411" cy="557174"/>
            </a:xfrm>
            <a:solidFill>
              <a:srgbClr val="9A9EAF"/>
            </a:solidFill>
          </p:grpSpPr>
          <p:sp>
            <p:nvSpPr>
              <p:cNvPr id="400" name="任意形状 399"/>
              <p:cNvSpPr/>
              <p:nvPr/>
            </p:nvSpPr>
            <p:spPr>
              <a:xfrm>
                <a:off x="-957616" y="10623003"/>
                <a:ext cx="398411" cy="97764"/>
              </a:xfrm>
              <a:custGeom>
                <a:avLst/>
                <a:gdLst>
                  <a:gd name="connsiteX0" fmla="*/ 349529 w 398411"/>
                  <a:gd name="connsiteY0" fmla="*/ 0 h 97764"/>
                  <a:gd name="connsiteX1" fmla="*/ 398411 w 398411"/>
                  <a:gd name="connsiteY1" fmla="*/ 0 h 97764"/>
                  <a:gd name="connsiteX2" fmla="*/ 398411 w 398411"/>
                  <a:gd name="connsiteY2" fmla="*/ 97765 h 97764"/>
                  <a:gd name="connsiteX3" fmla="*/ 349529 w 398411"/>
                  <a:gd name="connsiteY3" fmla="*/ 97765 h 97764"/>
                  <a:gd name="connsiteX4" fmla="*/ 48882 w 398411"/>
                  <a:gd name="connsiteY4" fmla="*/ 97765 h 97764"/>
                  <a:gd name="connsiteX5" fmla="*/ 0 w 398411"/>
                  <a:gd name="connsiteY5" fmla="*/ 97765 h 97764"/>
                  <a:gd name="connsiteX6" fmla="*/ 0 w 398411"/>
                  <a:gd name="connsiteY6" fmla="*/ 0 h 97764"/>
                  <a:gd name="connsiteX7" fmla="*/ 48882 w 398411"/>
                  <a:gd name="connsiteY7" fmla="*/ 0 h 97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411" h="97764">
                    <a:moveTo>
                      <a:pt x="349529" y="0"/>
                    </a:moveTo>
                    <a:cubicBezTo>
                      <a:pt x="376526" y="0"/>
                      <a:pt x="398411" y="0"/>
                      <a:pt x="398411" y="0"/>
                    </a:cubicBezTo>
                    <a:lnTo>
                      <a:pt x="398411" y="97765"/>
                    </a:lnTo>
                    <a:cubicBezTo>
                      <a:pt x="398411" y="97765"/>
                      <a:pt x="376526" y="97765"/>
                      <a:pt x="349529" y="97765"/>
                    </a:cubicBezTo>
                    <a:lnTo>
                      <a:pt x="48882" y="97765"/>
                    </a:lnTo>
                    <a:cubicBezTo>
                      <a:pt x="21885" y="97765"/>
                      <a:pt x="0" y="97765"/>
                      <a:pt x="0" y="97765"/>
                    </a:cubicBezTo>
                    <a:lnTo>
                      <a:pt x="0" y="0"/>
                    </a:lnTo>
                    <a:cubicBezTo>
                      <a:pt x="0" y="0"/>
                      <a:pt x="21885" y="0"/>
                      <a:pt x="48882" y="0"/>
                    </a:cubicBezTo>
                    <a:close/>
                  </a:path>
                </a:pathLst>
              </a:custGeom>
              <a:solidFill>
                <a:srgbClr val="9A9EAF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01" name="任意形状 400"/>
              <p:cNvSpPr/>
              <p:nvPr/>
            </p:nvSpPr>
            <p:spPr>
              <a:xfrm>
                <a:off x="-957616" y="10393299"/>
                <a:ext cx="398411" cy="97764"/>
              </a:xfrm>
              <a:custGeom>
                <a:avLst/>
                <a:gdLst>
                  <a:gd name="connsiteX0" fmla="*/ 349529 w 398411"/>
                  <a:gd name="connsiteY0" fmla="*/ 0 h 97764"/>
                  <a:gd name="connsiteX1" fmla="*/ 398411 w 398411"/>
                  <a:gd name="connsiteY1" fmla="*/ 0 h 97764"/>
                  <a:gd name="connsiteX2" fmla="*/ 398411 w 398411"/>
                  <a:gd name="connsiteY2" fmla="*/ 97765 h 97764"/>
                  <a:gd name="connsiteX3" fmla="*/ 349529 w 398411"/>
                  <a:gd name="connsiteY3" fmla="*/ 97765 h 97764"/>
                  <a:gd name="connsiteX4" fmla="*/ 48882 w 398411"/>
                  <a:gd name="connsiteY4" fmla="*/ 97765 h 97764"/>
                  <a:gd name="connsiteX5" fmla="*/ 0 w 398411"/>
                  <a:gd name="connsiteY5" fmla="*/ 97765 h 97764"/>
                  <a:gd name="connsiteX6" fmla="*/ 0 w 398411"/>
                  <a:gd name="connsiteY6" fmla="*/ 0 h 97764"/>
                  <a:gd name="connsiteX7" fmla="*/ 48882 w 398411"/>
                  <a:gd name="connsiteY7" fmla="*/ 0 h 97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411" h="97764">
                    <a:moveTo>
                      <a:pt x="349529" y="0"/>
                    </a:moveTo>
                    <a:cubicBezTo>
                      <a:pt x="376526" y="0"/>
                      <a:pt x="398411" y="0"/>
                      <a:pt x="398411" y="0"/>
                    </a:cubicBezTo>
                    <a:lnTo>
                      <a:pt x="398411" y="97765"/>
                    </a:lnTo>
                    <a:cubicBezTo>
                      <a:pt x="398411" y="97765"/>
                      <a:pt x="376526" y="97765"/>
                      <a:pt x="349529" y="97765"/>
                    </a:cubicBezTo>
                    <a:lnTo>
                      <a:pt x="48882" y="97765"/>
                    </a:lnTo>
                    <a:cubicBezTo>
                      <a:pt x="21885" y="97765"/>
                      <a:pt x="0" y="97765"/>
                      <a:pt x="0" y="97765"/>
                    </a:cubicBezTo>
                    <a:lnTo>
                      <a:pt x="0" y="0"/>
                    </a:lnTo>
                    <a:cubicBezTo>
                      <a:pt x="0" y="0"/>
                      <a:pt x="21885" y="0"/>
                      <a:pt x="48882" y="0"/>
                    </a:cubicBezTo>
                    <a:close/>
                  </a:path>
                </a:pathLst>
              </a:custGeom>
              <a:solidFill>
                <a:srgbClr val="9A9EAF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02" name="任意形状 401"/>
              <p:cNvSpPr/>
              <p:nvPr/>
            </p:nvSpPr>
            <p:spPr>
              <a:xfrm>
                <a:off x="-957616" y="10852708"/>
                <a:ext cx="398411" cy="97764"/>
              </a:xfrm>
              <a:custGeom>
                <a:avLst/>
                <a:gdLst>
                  <a:gd name="connsiteX0" fmla="*/ 349529 w 398411"/>
                  <a:gd name="connsiteY0" fmla="*/ 0 h 97764"/>
                  <a:gd name="connsiteX1" fmla="*/ 398411 w 398411"/>
                  <a:gd name="connsiteY1" fmla="*/ 0 h 97764"/>
                  <a:gd name="connsiteX2" fmla="*/ 398411 w 398411"/>
                  <a:gd name="connsiteY2" fmla="*/ 97765 h 97764"/>
                  <a:gd name="connsiteX3" fmla="*/ 349529 w 398411"/>
                  <a:gd name="connsiteY3" fmla="*/ 97765 h 97764"/>
                  <a:gd name="connsiteX4" fmla="*/ 48882 w 398411"/>
                  <a:gd name="connsiteY4" fmla="*/ 97765 h 97764"/>
                  <a:gd name="connsiteX5" fmla="*/ 0 w 398411"/>
                  <a:gd name="connsiteY5" fmla="*/ 97765 h 97764"/>
                  <a:gd name="connsiteX6" fmla="*/ 0 w 398411"/>
                  <a:gd name="connsiteY6" fmla="*/ 0 h 97764"/>
                  <a:gd name="connsiteX7" fmla="*/ 48882 w 398411"/>
                  <a:gd name="connsiteY7" fmla="*/ 0 h 97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411" h="97764">
                    <a:moveTo>
                      <a:pt x="349529" y="0"/>
                    </a:moveTo>
                    <a:cubicBezTo>
                      <a:pt x="376526" y="0"/>
                      <a:pt x="398411" y="0"/>
                      <a:pt x="398411" y="0"/>
                    </a:cubicBezTo>
                    <a:lnTo>
                      <a:pt x="398411" y="97765"/>
                    </a:lnTo>
                    <a:cubicBezTo>
                      <a:pt x="398411" y="97765"/>
                      <a:pt x="376526" y="97765"/>
                      <a:pt x="349529" y="97765"/>
                    </a:cubicBezTo>
                    <a:lnTo>
                      <a:pt x="48882" y="97765"/>
                    </a:lnTo>
                    <a:cubicBezTo>
                      <a:pt x="21885" y="97765"/>
                      <a:pt x="0" y="97765"/>
                      <a:pt x="0" y="97765"/>
                    </a:cubicBezTo>
                    <a:lnTo>
                      <a:pt x="0" y="0"/>
                    </a:lnTo>
                    <a:cubicBezTo>
                      <a:pt x="0" y="0"/>
                      <a:pt x="21885" y="0"/>
                      <a:pt x="48882" y="0"/>
                    </a:cubicBezTo>
                    <a:close/>
                  </a:path>
                </a:pathLst>
              </a:custGeom>
              <a:solidFill>
                <a:srgbClr val="9A9EAF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405" name="图形 184"/>
          <p:cNvGrpSpPr>
            <a:grpSpLocks noChangeAspect="1"/>
          </p:cNvGrpSpPr>
          <p:nvPr/>
        </p:nvGrpSpPr>
        <p:grpSpPr>
          <a:xfrm>
            <a:off x="1695228" y="4827337"/>
            <a:ext cx="720000" cy="720000"/>
            <a:chOff x="-4360863" y="-5135880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06" name="任意形状 405"/>
            <p:cNvSpPr/>
            <p:nvPr/>
          </p:nvSpPr>
          <p:spPr>
            <a:xfrm>
              <a:off x="-1094359" y="-1275511"/>
              <a:ext cx="292341" cy="140131"/>
            </a:xfrm>
            <a:custGeom>
              <a:avLst/>
              <a:gdLst>
                <a:gd name="connsiteX0" fmla="*/ 292341 w 292341"/>
                <a:gd name="connsiteY0" fmla="*/ 152 h 140131"/>
                <a:gd name="connsiteX1" fmla="*/ 292341 w 292341"/>
                <a:gd name="connsiteY1" fmla="*/ 98222 h 140131"/>
                <a:gd name="connsiteX2" fmla="*/ 250431 w 292341"/>
                <a:gd name="connsiteY2" fmla="*/ 140132 h 140131"/>
                <a:gd name="connsiteX3" fmla="*/ 41910 w 292341"/>
                <a:gd name="connsiteY3" fmla="*/ 140132 h 140131"/>
                <a:gd name="connsiteX4" fmla="*/ 0 w 292341"/>
                <a:gd name="connsiteY4" fmla="*/ 98222 h 140131"/>
                <a:gd name="connsiteX5" fmla="*/ 0 w 292341"/>
                <a:gd name="connsiteY5" fmla="*/ 0 h 140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341" h="140131">
                  <a:moveTo>
                    <a:pt x="292341" y="152"/>
                  </a:moveTo>
                  <a:lnTo>
                    <a:pt x="292341" y="98222"/>
                  </a:lnTo>
                  <a:cubicBezTo>
                    <a:pt x="292341" y="121387"/>
                    <a:pt x="273577" y="140132"/>
                    <a:pt x="250431" y="140132"/>
                  </a:cubicBezTo>
                  <a:lnTo>
                    <a:pt x="41910" y="140132"/>
                  </a:lnTo>
                  <a:cubicBezTo>
                    <a:pt x="18764" y="140132"/>
                    <a:pt x="0" y="121387"/>
                    <a:pt x="0" y="9822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07" name="任意形状 406"/>
            <p:cNvSpPr/>
            <p:nvPr/>
          </p:nvSpPr>
          <p:spPr>
            <a:xfrm>
              <a:off x="-3043098" y="-1275511"/>
              <a:ext cx="292341" cy="140131"/>
            </a:xfrm>
            <a:custGeom>
              <a:avLst/>
              <a:gdLst>
                <a:gd name="connsiteX0" fmla="*/ 292341 w 292341"/>
                <a:gd name="connsiteY0" fmla="*/ 152 h 140131"/>
                <a:gd name="connsiteX1" fmla="*/ 292341 w 292341"/>
                <a:gd name="connsiteY1" fmla="*/ 98222 h 140131"/>
                <a:gd name="connsiteX2" fmla="*/ 250431 w 292341"/>
                <a:gd name="connsiteY2" fmla="*/ 140132 h 140131"/>
                <a:gd name="connsiteX3" fmla="*/ 41910 w 292341"/>
                <a:gd name="connsiteY3" fmla="*/ 140132 h 140131"/>
                <a:gd name="connsiteX4" fmla="*/ 0 w 292341"/>
                <a:gd name="connsiteY4" fmla="*/ 98222 h 140131"/>
                <a:gd name="connsiteX5" fmla="*/ 0 w 292341"/>
                <a:gd name="connsiteY5" fmla="*/ 0 h 140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341" h="140131">
                  <a:moveTo>
                    <a:pt x="292341" y="152"/>
                  </a:moveTo>
                  <a:lnTo>
                    <a:pt x="292341" y="98222"/>
                  </a:lnTo>
                  <a:cubicBezTo>
                    <a:pt x="292341" y="121387"/>
                    <a:pt x="273577" y="140132"/>
                    <a:pt x="250431" y="140132"/>
                  </a:cubicBezTo>
                  <a:lnTo>
                    <a:pt x="41910" y="140132"/>
                  </a:lnTo>
                  <a:cubicBezTo>
                    <a:pt x="18764" y="140132"/>
                    <a:pt x="0" y="121387"/>
                    <a:pt x="0" y="9822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08" name="任意形状 407"/>
            <p:cNvSpPr/>
            <p:nvPr/>
          </p:nvSpPr>
          <p:spPr>
            <a:xfrm>
              <a:off x="-3223425" y="-4259580"/>
              <a:ext cx="2601925" cy="3005099"/>
            </a:xfrm>
            <a:custGeom>
              <a:avLst/>
              <a:gdLst>
                <a:gd name="connsiteX0" fmla="*/ 2601925 w 2601925"/>
                <a:gd name="connsiteY0" fmla="*/ 83477 h 3005099"/>
                <a:gd name="connsiteX1" fmla="*/ 2601925 w 2601925"/>
                <a:gd name="connsiteY1" fmla="*/ 2921622 h 3005099"/>
                <a:gd name="connsiteX2" fmla="*/ 2518524 w 2601925"/>
                <a:gd name="connsiteY2" fmla="*/ 3005100 h 3005099"/>
                <a:gd name="connsiteX3" fmla="*/ 2518448 w 2601925"/>
                <a:gd name="connsiteY3" fmla="*/ 3005100 h 3005099"/>
                <a:gd name="connsiteX4" fmla="*/ 83477 w 2601925"/>
                <a:gd name="connsiteY4" fmla="*/ 3005100 h 3005099"/>
                <a:gd name="connsiteX5" fmla="*/ 0 w 2601925"/>
                <a:gd name="connsiteY5" fmla="*/ 2921699 h 3005099"/>
                <a:gd name="connsiteX6" fmla="*/ 0 w 2601925"/>
                <a:gd name="connsiteY6" fmla="*/ 2921622 h 3005099"/>
                <a:gd name="connsiteX7" fmla="*/ 0 w 2601925"/>
                <a:gd name="connsiteY7" fmla="*/ 83477 h 3005099"/>
                <a:gd name="connsiteX8" fmla="*/ 83477 w 2601925"/>
                <a:gd name="connsiteY8" fmla="*/ 0 h 3005099"/>
                <a:gd name="connsiteX9" fmla="*/ 2518448 w 2601925"/>
                <a:gd name="connsiteY9" fmla="*/ 0 h 3005099"/>
                <a:gd name="connsiteX10" fmla="*/ 2601925 w 2601925"/>
                <a:gd name="connsiteY10" fmla="*/ 83477 h 3005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01925" h="3005099">
                  <a:moveTo>
                    <a:pt x="2601925" y="83477"/>
                  </a:moveTo>
                  <a:lnTo>
                    <a:pt x="2601925" y="2921622"/>
                  </a:lnTo>
                  <a:cubicBezTo>
                    <a:pt x="2601948" y="2967723"/>
                    <a:pt x="2564606" y="3005061"/>
                    <a:pt x="2518524" y="3005100"/>
                  </a:cubicBezTo>
                  <a:cubicBezTo>
                    <a:pt x="2518498" y="3005100"/>
                    <a:pt x="2518475" y="3005100"/>
                    <a:pt x="2518448" y="3005100"/>
                  </a:cubicBezTo>
                  <a:lnTo>
                    <a:pt x="83477" y="3005100"/>
                  </a:lnTo>
                  <a:cubicBezTo>
                    <a:pt x="37395" y="3005138"/>
                    <a:pt x="23" y="2967799"/>
                    <a:pt x="0" y="2921699"/>
                  </a:cubicBezTo>
                  <a:cubicBezTo>
                    <a:pt x="0" y="2921672"/>
                    <a:pt x="0" y="2921649"/>
                    <a:pt x="0" y="2921622"/>
                  </a:cubicBezTo>
                  <a:lnTo>
                    <a:pt x="0" y="83477"/>
                  </a:lnTo>
                  <a:cubicBezTo>
                    <a:pt x="187" y="37452"/>
                    <a:pt x="37452" y="187"/>
                    <a:pt x="83477" y="0"/>
                  </a:cubicBezTo>
                  <a:lnTo>
                    <a:pt x="2518448" y="0"/>
                  </a:lnTo>
                  <a:cubicBezTo>
                    <a:pt x="2564473" y="187"/>
                    <a:pt x="2601739" y="37452"/>
                    <a:pt x="2601925" y="83477"/>
                  </a:cubicBez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09" name="任意形状 408"/>
            <p:cNvSpPr/>
            <p:nvPr/>
          </p:nvSpPr>
          <p:spPr>
            <a:xfrm>
              <a:off x="-3223425" y="-4259580"/>
              <a:ext cx="2601925" cy="630364"/>
            </a:xfrm>
            <a:custGeom>
              <a:avLst/>
              <a:gdLst>
                <a:gd name="connsiteX0" fmla="*/ 2601925 w 2601925"/>
                <a:gd name="connsiteY0" fmla="*/ 83477 h 630364"/>
                <a:gd name="connsiteX1" fmla="*/ 2601925 w 2601925"/>
                <a:gd name="connsiteY1" fmla="*/ 630364 h 630364"/>
                <a:gd name="connsiteX2" fmla="*/ 0 w 2601925"/>
                <a:gd name="connsiteY2" fmla="*/ 630364 h 630364"/>
                <a:gd name="connsiteX3" fmla="*/ 0 w 2601925"/>
                <a:gd name="connsiteY3" fmla="*/ 83477 h 630364"/>
                <a:gd name="connsiteX4" fmla="*/ 83477 w 2601925"/>
                <a:gd name="connsiteY4" fmla="*/ 0 h 630364"/>
                <a:gd name="connsiteX5" fmla="*/ 2518448 w 2601925"/>
                <a:gd name="connsiteY5" fmla="*/ 0 h 630364"/>
                <a:gd name="connsiteX6" fmla="*/ 2601925 w 2601925"/>
                <a:gd name="connsiteY6" fmla="*/ 83477 h 63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1925" h="630364">
                  <a:moveTo>
                    <a:pt x="2601925" y="83477"/>
                  </a:moveTo>
                  <a:lnTo>
                    <a:pt x="2601925" y="630364"/>
                  </a:lnTo>
                  <a:lnTo>
                    <a:pt x="0" y="630364"/>
                  </a:lnTo>
                  <a:lnTo>
                    <a:pt x="0" y="83477"/>
                  </a:lnTo>
                  <a:cubicBezTo>
                    <a:pt x="187" y="37452"/>
                    <a:pt x="37452" y="187"/>
                    <a:pt x="83477" y="0"/>
                  </a:cubicBezTo>
                  <a:lnTo>
                    <a:pt x="2518448" y="0"/>
                  </a:lnTo>
                  <a:cubicBezTo>
                    <a:pt x="2564473" y="187"/>
                    <a:pt x="2601739" y="37452"/>
                    <a:pt x="2601925" y="83477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410" name="图形 184"/>
            <p:cNvGrpSpPr/>
            <p:nvPr/>
          </p:nvGrpSpPr>
          <p:grpSpPr>
            <a:xfrm>
              <a:off x="-2138032" y="-4183380"/>
              <a:ext cx="1293647" cy="477850"/>
              <a:chOff x="-2138032" y="-4183380"/>
              <a:chExt cx="1293647" cy="477850"/>
            </a:xfrm>
            <a:solidFill>
              <a:srgbClr val="BBBBCD"/>
            </a:solidFill>
          </p:grpSpPr>
          <p:sp>
            <p:nvSpPr>
              <p:cNvPr id="420" name="任意形状 419"/>
              <p:cNvSpPr/>
              <p:nvPr/>
            </p:nvSpPr>
            <p:spPr>
              <a:xfrm>
                <a:off x="-934834" y="-4062412"/>
                <a:ext cx="90449" cy="236029"/>
              </a:xfrm>
              <a:custGeom>
                <a:avLst/>
                <a:gdLst>
                  <a:gd name="connsiteX0" fmla="*/ 45225 w 90449"/>
                  <a:gd name="connsiteY0" fmla="*/ 0 h 236029"/>
                  <a:gd name="connsiteX1" fmla="*/ 90449 w 90449"/>
                  <a:gd name="connsiteY1" fmla="*/ 0 h 236029"/>
                  <a:gd name="connsiteX2" fmla="*/ 90449 w 90449"/>
                  <a:gd name="connsiteY2" fmla="*/ 236029 h 236029"/>
                  <a:gd name="connsiteX3" fmla="*/ 45225 w 90449"/>
                  <a:gd name="connsiteY3" fmla="*/ 236029 h 236029"/>
                  <a:gd name="connsiteX4" fmla="*/ 45225 w 90449"/>
                  <a:gd name="connsiteY4" fmla="*/ 236029 h 236029"/>
                  <a:gd name="connsiteX5" fmla="*/ 0 w 90449"/>
                  <a:gd name="connsiteY5" fmla="*/ 236029 h 236029"/>
                  <a:gd name="connsiteX6" fmla="*/ 0 w 90449"/>
                  <a:gd name="connsiteY6" fmla="*/ 0 h 236029"/>
                  <a:gd name="connsiteX7" fmla="*/ 45225 w 90449"/>
                  <a:gd name="connsiteY7" fmla="*/ 0 h 236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9" h="236029">
                    <a:moveTo>
                      <a:pt x="45225" y="0"/>
                    </a:moveTo>
                    <a:cubicBezTo>
                      <a:pt x="70202" y="0"/>
                      <a:pt x="90449" y="0"/>
                      <a:pt x="90449" y="0"/>
                    </a:cubicBezTo>
                    <a:lnTo>
                      <a:pt x="90449" y="236029"/>
                    </a:lnTo>
                    <a:cubicBezTo>
                      <a:pt x="90449" y="236029"/>
                      <a:pt x="70201" y="236029"/>
                      <a:pt x="45225" y="236029"/>
                    </a:cubicBezTo>
                    <a:lnTo>
                      <a:pt x="45225" y="236029"/>
                    </a:lnTo>
                    <a:cubicBezTo>
                      <a:pt x="20248" y="236029"/>
                      <a:pt x="0" y="236029"/>
                      <a:pt x="0" y="236029"/>
                    </a:cubicBezTo>
                    <a:lnTo>
                      <a:pt x="0" y="0"/>
                    </a:lnTo>
                    <a:cubicBezTo>
                      <a:pt x="0" y="0"/>
                      <a:pt x="20248" y="0"/>
                      <a:pt x="45225" y="0"/>
                    </a:cubicBezTo>
                    <a:close/>
                  </a:path>
                </a:pathLst>
              </a:custGeom>
              <a:solidFill>
                <a:srgbClr val="BBBBC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1" name="任意形状 420"/>
              <p:cNvSpPr/>
              <p:nvPr/>
            </p:nvSpPr>
            <p:spPr>
              <a:xfrm>
                <a:off x="-1213041" y="-4062412"/>
                <a:ext cx="90449" cy="236029"/>
              </a:xfrm>
              <a:custGeom>
                <a:avLst/>
                <a:gdLst>
                  <a:gd name="connsiteX0" fmla="*/ 45225 w 90449"/>
                  <a:gd name="connsiteY0" fmla="*/ 0 h 236029"/>
                  <a:gd name="connsiteX1" fmla="*/ 90449 w 90449"/>
                  <a:gd name="connsiteY1" fmla="*/ 0 h 236029"/>
                  <a:gd name="connsiteX2" fmla="*/ 90449 w 90449"/>
                  <a:gd name="connsiteY2" fmla="*/ 236029 h 236029"/>
                  <a:gd name="connsiteX3" fmla="*/ 45225 w 90449"/>
                  <a:gd name="connsiteY3" fmla="*/ 236029 h 236029"/>
                  <a:gd name="connsiteX4" fmla="*/ 45225 w 90449"/>
                  <a:gd name="connsiteY4" fmla="*/ 236029 h 236029"/>
                  <a:gd name="connsiteX5" fmla="*/ 0 w 90449"/>
                  <a:gd name="connsiteY5" fmla="*/ 236029 h 236029"/>
                  <a:gd name="connsiteX6" fmla="*/ 0 w 90449"/>
                  <a:gd name="connsiteY6" fmla="*/ 0 h 236029"/>
                  <a:gd name="connsiteX7" fmla="*/ 45225 w 90449"/>
                  <a:gd name="connsiteY7" fmla="*/ 0 h 236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9" h="236029">
                    <a:moveTo>
                      <a:pt x="45225" y="0"/>
                    </a:moveTo>
                    <a:cubicBezTo>
                      <a:pt x="70202" y="0"/>
                      <a:pt x="90449" y="0"/>
                      <a:pt x="90449" y="0"/>
                    </a:cubicBezTo>
                    <a:lnTo>
                      <a:pt x="90449" y="236029"/>
                    </a:lnTo>
                    <a:cubicBezTo>
                      <a:pt x="90449" y="236029"/>
                      <a:pt x="70201" y="236029"/>
                      <a:pt x="45225" y="236029"/>
                    </a:cubicBezTo>
                    <a:lnTo>
                      <a:pt x="45225" y="236029"/>
                    </a:lnTo>
                    <a:cubicBezTo>
                      <a:pt x="20248" y="236029"/>
                      <a:pt x="0" y="236029"/>
                      <a:pt x="0" y="236029"/>
                    </a:cubicBezTo>
                    <a:lnTo>
                      <a:pt x="0" y="0"/>
                    </a:lnTo>
                    <a:cubicBezTo>
                      <a:pt x="0" y="0"/>
                      <a:pt x="20248" y="0"/>
                      <a:pt x="45225" y="0"/>
                    </a:cubicBezTo>
                    <a:close/>
                  </a:path>
                </a:pathLst>
              </a:custGeom>
              <a:solidFill>
                <a:srgbClr val="BBBBC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2" name="任意形状 421"/>
              <p:cNvSpPr/>
              <p:nvPr/>
            </p:nvSpPr>
            <p:spPr>
              <a:xfrm>
                <a:off x="-1491247" y="-4062412"/>
                <a:ext cx="90449" cy="236029"/>
              </a:xfrm>
              <a:custGeom>
                <a:avLst/>
                <a:gdLst>
                  <a:gd name="connsiteX0" fmla="*/ 45225 w 90449"/>
                  <a:gd name="connsiteY0" fmla="*/ 0 h 236029"/>
                  <a:gd name="connsiteX1" fmla="*/ 90449 w 90449"/>
                  <a:gd name="connsiteY1" fmla="*/ 0 h 236029"/>
                  <a:gd name="connsiteX2" fmla="*/ 90449 w 90449"/>
                  <a:gd name="connsiteY2" fmla="*/ 236029 h 236029"/>
                  <a:gd name="connsiteX3" fmla="*/ 45225 w 90449"/>
                  <a:gd name="connsiteY3" fmla="*/ 236029 h 236029"/>
                  <a:gd name="connsiteX4" fmla="*/ 45225 w 90449"/>
                  <a:gd name="connsiteY4" fmla="*/ 236029 h 236029"/>
                  <a:gd name="connsiteX5" fmla="*/ 0 w 90449"/>
                  <a:gd name="connsiteY5" fmla="*/ 236029 h 236029"/>
                  <a:gd name="connsiteX6" fmla="*/ 0 w 90449"/>
                  <a:gd name="connsiteY6" fmla="*/ 0 h 236029"/>
                  <a:gd name="connsiteX7" fmla="*/ 45225 w 90449"/>
                  <a:gd name="connsiteY7" fmla="*/ 0 h 236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449" h="236029">
                    <a:moveTo>
                      <a:pt x="45225" y="0"/>
                    </a:moveTo>
                    <a:cubicBezTo>
                      <a:pt x="70202" y="0"/>
                      <a:pt x="90449" y="0"/>
                      <a:pt x="90449" y="0"/>
                    </a:cubicBezTo>
                    <a:lnTo>
                      <a:pt x="90449" y="236029"/>
                    </a:lnTo>
                    <a:cubicBezTo>
                      <a:pt x="90449" y="236029"/>
                      <a:pt x="70201" y="236029"/>
                      <a:pt x="45225" y="236029"/>
                    </a:cubicBezTo>
                    <a:lnTo>
                      <a:pt x="45225" y="236029"/>
                    </a:lnTo>
                    <a:cubicBezTo>
                      <a:pt x="20248" y="236029"/>
                      <a:pt x="0" y="236029"/>
                      <a:pt x="0" y="236029"/>
                    </a:cubicBezTo>
                    <a:lnTo>
                      <a:pt x="0" y="0"/>
                    </a:lnTo>
                    <a:cubicBezTo>
                      <a:pt x="0" y="0"/>
                      <a:pt x="20248" y="0"/>
                      <a:pt x="45225" y="0"/>
                    </a:cubicBezTo>
                    <a:close/>
                  </a:path>
                </a:pathLst>
              </a:custGeom>
              <a:solidFill>
                <a:srgbClr val="BBBBC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3" name="任意形状 422"/>
              <p:cNvSpPr/>
              <p:nvPr/>
            </p:nvSpPr>
            <p:spPr>
              <a:xfrm>
                <a:off x="-2138032" y="-4183380"/>
                <a:ext cx="431139" cy="477850"/>
              </a:xfrm>
              <a:custGeom>
                <a:avLst/>
                <a:gdLst>
                  <a:gd name="connsiteX0" fmla="*/ 393040 w 431139"/>
                  <a:gd name="connsiteY0" fmla="*/ 0 h 477850"/>
                  <a:gd name="connsiteX1" fmla="*/ 431140 w 431139"/>
                  <a:gd name="connsiteY1" fmla="*/ 0 h 477850"/>
                  <a:gd name="connsiteX2" fmla="*/ 431140 w 431139"/>
                  <a:gd name="connsiteY2" fmla="*/ 477850 h 477850"/>
                  <a:gd name="connsiteX3" fmla="*/ 393040 w 431139"/>
                  <a:gd name="connsiteY3" fmla="*/ 477850 h 477850"/>
                  <a:gd name="connsiteX4" fmla="*/ 38100 w 431139"/>
                  <a:gd name="connsiteY4" fmla="*/ 477850 h 477850"/>
                  <a:gd name="connsiteX5" fmla="*/ 0 w 431139"/>
                  <a:gd name="connsiteY5" fmla="*/ 477850 h 477850"/>
                  <a:gd name="connsiteX6" fmla="*/ 0 w 431139"/>
                  <a:gd name="connsiteY6" fmla="*/ 0 h 477850"/>
                  <a:gd name="connsiteX7" fmla="*/ 38100 w 431139"/>
                  <a:gd name="connsiteY7" fmla="*/ 0 h 47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1139" h="477850">
                    <a:moveTo>
                      <a:pt x="393040" y="0"/>
                    </a:moveTo>
                    <a:cubicBezTo>
                      <a:pt x="414082" y="0"/>
                      <a:pt x="431140" y="0"/>
                      <a:pt x="431140" y="0"/>
                    </a:cubicBezTo>
                    <a:lnTo>
                      <a:pt x="431140" y="477850"/>
                    </a:lnTo>
                    <a:cubicBezTo>
                      <a:pt x="431140" y="477850"/>
                      <a:pt x="414082" y="477850"/>
                      <a:pt x="393040" y="477850"/>
                    </a:cubicBezTo>
                    <a:lnTo>
                      <a:pt x="38100" y="477850"/>
                    </a:lnTo>
                    <a:cubicBezTo>
                      <a:pt x="17058" y="477850"/>
                      <a:pt x="0" y="477850"/>
                      <a:pt x="0" y="477850"/>
                    </a:cubicBezTo>
                    <a:lnTo>
                      <a:pt x="0" y="0"/>
                    </a:lnTo>
                    <a:cubicBezTo>
                      <a:pt x="0" y="0"/>
                      <a:pt x="17058" y="0"/>
                      <a:pt x="38100" y="0"/>
                    </a:cubicBezTo>
                    <a:close/>
                  </a:path>
                </a:pathLst>
              </a:custGeom>
              <a:solidFill>
                <a:srgbClr val="BBBBC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11" name="任意形状 410"/>
            <p:cNvSpPr/>
            <p:nvPr/>
          </p:nvSpPr>
          <p:spPr>
            <a:xfrm>
              <a:off x="-2020113" y="-4042143"/>
              <a:ext cx="195300" cy="195300"/>
            </a:xfrm>
            <a:custGeom>
              <a:avLst/>
              <a:gdLst>
                <a:gd name="connsiteX0" fmla="*/ 195301 w 195300"/>
                <a:gd name="connsiteY0" fmla="*/ 97688 h 195300"/>
                <a:gd name="connsiteX1" fmla="*/ 97612 w 195300"/>
                <a:gd name="connsiteY1" fmla="*/ 195301 h 195300"/>
                <a:gd name="connsiteX2" fmla="*/ 0 w 195300"/>
                <a:gd name="connsiteY2" fmla="*/ 97612 h 195300"/>
                <a:gd name="connsiteX3" fmla="*/ 97650 w 195300"/>
                <a:gd name="connsiteY3" fmla="*/ 0 h 195300"/>
                <a:gd name="connsiteX4" fmla="*/ 195301 w 195300"/>
                <a:gd name="connsiteY4" fmla="*/ 97422 h 195300"/>
                <a:gd name="connsiteX5" fmla="*/ 195301 w 195300"/>
                <a:gd name="connsiteY5" fmla="*/ 97688 h 1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300" h="195300">
                  <a:moveTo>
                    <a:pt x="195301" y="97688"/>
                  </a:moveTo>
                  <a:cubicBezTo>
                    <a:pt x="195282" y="151619"/>
                    <a:pt x="151543" y="195323"/>
                    <a:pt x="97612" y="195301"/>
                  </a:cubicBezTo>
                  <a:cubicBezTo>
                    <a:pt x="43682" y="195278"/>
                    <a:pt x="-19" y="151543"/>
                    <a:pt x="0" y="97612"/>
                  </a:cubicBezTo>
                  <a:cubicBezTo>
                    <a:pt x="23" y="43697"/>
                    <a:pt x="43735" y="0"/>
                    <a:pt x="97650" y="0"/>
                  </a:cubicBezTo>
                  <a:cubicBezTo>
                    <a:pt x="151516" y="-65"/>
                    <a:pt x="195236" y="43552"/>
                    <a:pt x="195301" y="97422"/>
                  </a:cubicBezTo>
                  <a:cubicBezTo>
                    <a:pt x="195301" y="97509"/>
                    <a:pt x="195301" y="97601"/>
                    <a:pt x="195301" y="97688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2" name="任意形状 411"/>
            <p:cNvSpPr/>
            <p:nvPr/>
          </p:nvSpPr>
          <p:spPr>
            <a:xfrm>
              <a:off x="-3025991" y="-4123105"/>
              <a:ext cx="686181" cy="357416"/>
            </a:xfrm>
            <a:custGeom>
              <a:avLst/>
              <a:gdLst>
                <a:gd name="connsiteX0" fmla="*/ 644462 w 686181"/>
                <a:gd name="connsiteY0" fmla="*/ 0 h 357416"/>
                <a:gd name="connsiteX1" fmla="*/ 686181 w 686181"/>
                <a:gd name="connsiteY1" fmla="*/ 0 h 357416"/>
                <a:gd name="connsiteX2" fmla="*/ 686181 w 686181"/>
                <a:gd name="connsiteY2" fmla="*/ 357416 h 357416"/>
                <a:gd name="connsiteX3" fmla="*/ 644462 w 686181"/>
                <a:gd name="connsiteY3" fmla="*/ 357416 h 357416"/>
                <a:gd name="connsiteX4" fmla="*/ 41720 w 686181"/>
                <a:gd name="connsiteY4" fmla="*/ 357416 h 357416"/>
                <a:gd name="connsiteX5" fmla="*/ 0 w 686181"/>
                <a:gd name="connsiteY5" fmla="*/ 357416 h 357416"/>
                <a:gd name="connsiteX6" fmla="*/ 0 w 686181"/>
                <a:gd name="connsiteY6" fmla="*/ 0 h 357416"/>
                <a:gd name="connsiteX7" fmla="*/ 41720 w 686181"/>
                <a:gd name="connsiteY7" fmla="*/ 0 h 357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6181" h="357416">
                  <a:moveTo>
                    <a:pt x="644462" y="0"/>
                  </a:moveTo>
                  <a:cubicBezTo>
                    <a:pt x="667503" y="0"/>
                    <a:pt x="686181" y="0"/>
                    <a:pt x="686181" y="0"/>
                  </a:cubicBezTo>
                  <a:lnTo>
                    <a:pt x="686181" y="357416"/>
                  </a:lnTo>
                  <a:cubicBezTo>
                    <a:pt x="686181" y="357416"/>
                    <a:pt x="667503" y="357416"/>
                    <a:pt x="644462" y="357416"/>
                  </a:cubicBezTo>
                  <a:lnTo>
                    <a:pt x="41720" y="357416"/>
                  </a:lnTo>
                  <a:cubicBezTo>
                    <a:pt x="18678" y="357416"/>
                    <a:pt x="0" y="357416"/>
                    <a:pt x="0" y="357416"/>
                  </a:cubicBezTo>
                  <a:lnTo>
                    <a:pt x="0" y="0"/>
                  </a:lnTo>
                  <a:cubicBezTo>
                    <a:pt x="0" y="0"/>
                    <a:pt x="18678" y="0"/>
                    <a:pt x="41720" y="0"/>
                  </a:cubicBezTo>
                  <a:close/>
                </a:path>
              </a:pathLst>
            </a:custGeom>
            <a:solidFill>
              <a:srgbClr val="BBBBC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3" name="任意形状 412"/>
            <p:cNvSpPr/>
            <p:nvPr/>
          </p:nvSpPr>
          <p:spPr>
            <a:xfrm>
              <a:off x="-2947276" y="-3885704"/>
              <a:ext cx="528675" cy="120015"/>
            </a:xfrm>
            <a:custGeom>
              <a:avLst/>
              <a:gdLst>
                <a:gd name="connsiteX0" fmla="*/ 407365 w 528675"/>
                <a:gd name="connsiteY0" fmla="*/ 0 h 120015"/>
                <a:gd name="connsiteX1" fmla="*/ 528676 w 528675"/>
                <a:gd name="connsiteY1" fmla="*/ 120015 h 120015"/>
                <a:gd name="connsiteX2" fmla="*/ 0 w 528675"/>
                <a:gd name="connsiteY2" fmla="*/ 120015 h 120015"/>
                <a:gd name="connsiteX3" fmla="*/ 121348 w 528675"/>
                <a:gd name="connsiteY3" fmla="*/ 0 h 12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8675" h="120015">
                  <a:moveTo>
                    <a:pt x="407365" y="0"/>
                  </a:moveTo>
                  <a:lnTo>
                    <a:pt x="528676" y="120015"/>
                  </a:lnTo>
                  <a:lnTo>
                    <a:pt x="0" y="120015"/>
                  </a:lnTo>
                  <a:lnTo>
                    <a:pt x="121348" y="0"/>
                  </a:lnTo>
                  <a:close/>
                </a:path>
              </a:pathLst>
            </a:custGeom>
            <a:solidFill>
              <a:srgbClr val="9A9EAF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4" name="任意形状 413"/>
            <p:cNvSpPr/>
            <p:nvPr/>
          </p:nvSpPr>
          <p:spPr>
            <a:xfrm>
              <a:off x="-2720467" y="-3335312"/>
              <a:ext cx="1596009" cy="1596009"/>
            </a:xfrm>
            <a:custGeom>
              <a:avLst/>
              <a:gdLst>
                <a:gd name="connsiteX0" fmla="*/ 1596009 w 1596009"/>
                <a:gd name="connsiteY0" fmla="*/ 798462 h 1596009"/>
                <a:gd name="connsiteX1" fmla="*/ 797547 w 1596009"/>
                <a:gd name="connsiteY1" fmla="*/ 1596009 h 1596009"/>
                <a:gd name="connsiteX2" fmla="*/ 0 w 1596009"/>
                <a:gd name="connsiteY2" fmla="*/ 797547 h 1596009"/>
                <a:gd name="connsiteX3" fmla="*/ 798005 w 1596009"/>
                <a:gd name="connsiteY3" fmla="*/ 0 h 1596009"/>
                <a:gd name="connsiteX4" fmla="*/ 1596009 w 1596009"/>
                <a:gd name="connsiteY4" fmla="*/ 798005 h 1596009"/>
                <a:gd name="connsiteX5" fmla="*/ 1596009 w 1596009"/>
                <a:gd name="connsiteY5" fmla="*/ 798462 h 159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6009" h="1596009">
                  <a:moveTo>
                    <a:pt x="1596009" y="798462"/>
                  </a:moveTo>
                  <a:cubicBezTo>
                    <a:pt x="1595758" y="1239187"/>
                    <a:pt x="1238273" y="1596261"/>
                    <a:pt x="797547" y="1596009"/>
                  </a:cubicBezTo>
                  <a:cubicBezTo>
                    <a:pt x="356822" y="1595758"/>
                    <a:pt x="-251" y="1238273"/>
                    <a:pt x="0" y="797547"/>
                  </a:cubicBezTo>
                  <a:cubicBezTo>
                    <a:pt x="252" y="357001"/>
                    <a:pt x="357458" y="0"/>
                    <a:pt x="798005" y="0"/>
                  </a:cubicBezTo>
                  <a:cubicBezTo>
                    <a:pt x="1238730" y="0"/>
                    <a:pt x="1596009" y="357279"/>
                    <a:pt x="1596009" y="798005"/>
                  </a:cubicBezTo>
                  <a:cubicBezTo>
                    <a:pt x="1596009" y="798157"/>
                    <a:pt x="1596009" y="798309"/>
                    <a:pt x="1596009" y="798462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5" name="任意形状 414"/>
            <p:cNvSpPr/>
            <p:nvPr/>
          </p:nvSpPr>
          <p:spPr>
            <a:xfrm>
              <a:off x="-2551989" y="-3166605"/>
              <a:ext cx="1259052" cy="1259052"/>
            </a:xfrm>
            <a:custGeom>
              <a:avLst/>
              <a:gdLst>
                <a:gd name="connsiteX0" fmla="*/ 1259053 w 1259052"/>
                <a:gd name="connsiteY0" fmla="*/ 629526 h 1259052"/>
                <a:gd name="connsiteX1" fmla="*/ 629526 w 1259052"/>
                <a:gd name="connsiteY1" fmla="*/ 1259053 h 1259052"/>
                <a:gd name="connsiteX2" fmla="*/ 0 w 1259052"/>
                <a:gd name="connsiteY2" fmla="*/ 629526 h 1259052"/>
                <a:gd name="connsiteX3" fmla="*/ 629526 w 1259052"/>
                <a:gd name="connsiteY3" fmla="*/ 0 h 1259052"/>
                <a:gd name="connsiteX4" fmla="*/ 1259053 w 1259052"/>
                <a:gd name="connsiteY4" fmla="*/ 629526 h 1259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9052" h="1259052">
                  <a:moveTo>
                    <a:pt x="1259053" y="629526"/>
                  </a:moveTo>
                  <a:cubicBezTo>
                    <a:pt x="1259053" y="977204"/>
                    <a:pt x="977204" y="1259053"/>
                    <a:pt x="629526" y="1259053"/>
                  </a:cubicBezTo>
                  <a:cubicBezTo>
                    <a:pt x="281849" y="1259053"/>
                    <a:pt x="0" y="977204"/>
                    <a:pt x="0" y="629526"/>
                  </a:cubicBezTo>
                  <a:cubicBezTo>
                    <a:pt x="0" y="281849"/>
                    <a:pt x="281849" y="0"/>
                    <a:pt x="629526" y="0"/>
                  </a:cubicBezTo>
                  <a:cubicBezTo>
                    <a:pt x="977204" y="0"/>
                    <a:pt x="1259053" y="281849"/>
                    <a:pt x="1259053" y="629526"/>
                  </a:cubicBezTo>
                  <a:close/>
                </a:path>
              </a:pathLst>
            </a:custGeom>
            <a:solidFill>
              <a:srgbClr val="419BE9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6" name="任意形状 415"/>
            <p:cNvSpPr/>
            <p:nvPr/>
          </p:nvSpPr>
          <p:spPr>
            <a:xfrm>
              <a:off x="-2352040" y="-2970123"/>
              <a:ext cx="1021613" cy="1021613"/>
            </a:xfrm>
            <a:custGeom>
              <a:avLst/>
              <a:gdLst>
                <a:gd name="connsiteX0" fmla="*/ 1021613 w 1021613"/>
                <a:gd name="connsiteY0" fmla="*/ 510807 h 1021613"/>
                <a:gd name="connsiteX1" fmla="*/ 510807 w 1021613"/>
                <a:gd name="connsiteY1" fmla="*/ 1021613 h 1021613"/>
                <a:gd name="connsiteX2" fmla="*/ 0 w 1021613"/>
                <a:gd name="connsiteY2" fmla="*/ 510807 h 1021613"/>
                <a:gd name="connsiteX3" fmla="*/ 510807 w 1021613"/>
                <a:gd name="connsiteY3" fmla="*/ 0 h 1021613"/>
                <a:gd name="connsiteX4" fmla="*/ 1021613 w 1021613"/>
                <a:gd name="connsiteY4" fmla="*/ 510807 h 1021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613" h="1021613">
                  <a:moveTo>
                    <a:pt x="1021613" y="510807"/>
                  </a:moveTo>
                  <a:cubicBezTo>
                    <a:pt x="1021613" y="792917"/>
                    <a:pt x="792918" y="1021613"/>
                    <a:pt x="510807" y="1021613"/>
                  </a:cubicBezTo>
                  <a:cubicBezTo>
                    <a:pt x="228696" y="1021613"/>
                    <a:pt x="0" y="792917"/>
                    <a:pt x="0" y="510807"/>
                  </a:cubicBezTo>
                  <a:cubicBezTo>
                    <a:pt x="0" y="228696"/>
                    <a:pt x="228696" y="0"/>
                    <a:pt x="510807" y="0"/>
                  </a:cubicBezTo>
                  <a:cubicBezTo>
                    <a:pt x="792918" y="0"/>
                    <a:pt x="1021613" y="228696"/>
                    <a:pt x="1021613" y="510807"/>
                  </a:cubicBezTo>
                  <a:close/>
                </a:path>
              </a:pathLst>
            </a:custGeom>
            <a:solidFill>
              <a:srgbClr val="69B0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7" name="任意形状 416"/>
            <p:cNvSpPr/>
            <p:nvPr/>
          </p:nvSpPr>
          <p:spPr>
            <a:xfrm>
              <a:off x="-2600642" y="-3215182"/>
              <a:ext cx="1356360" cy="1356360"/>
            </a:xfrm>
            <a:custGeom>
              <a:avLst/>
              <a:gdLst>
                <a:gd name="connsiteX0" fmla="*/ 678180 w 1356360"/>
                <a:gd name="connsiteY0" fmla="*/ 1356360 h 1356360"/>
                <a:gd name="connsiteX1" fmla="*/ 0 w 1356360"/>
                <a:gd name="connsiteY1" fmla="*/ 678180 h 1356360"/>
                <a:gd name="connsiteX2" fmla="*/ 678180 w 1356360"/>
                <a:gd name="connsiteY2" fmla="*/ 0 h 1356360"/>
                <a:gd name="connsiteX3" fmla="*/ 1356360 w 1356360"/>
                <a:gd name="connsiteY3" fmla="*/ 678180 h 1356360"/>
                <a:gd name="connsiteX4" fmla="*/ 678180 w 1356360"/>
                <a:gd name="connsiteY4" fmla="*/ 1356360 h 1356360"/>
                <a:gd name="connsiteX5" fmla="*/ 678180 w 1356360"/>
                <a:gd name="connsiteY5" fmla="*/ 89573 h 1356360"/>
                <a:gd name="connsiteX6" fmla="*/ 89383 w 1356360"/>
                <a:gd name="connsiteY6" fmla="*/ 677913 h 1356360"/>
                <a:gd name="connsiteX7" fmla="*/ 677723 w 1356360"/>
                <a:gd name="connsiteY7" fmla="*/ 1266711 h 1356360"/>
                <a:gd name="connsiteX8" fmla="*/ 1266520 w 1356360"/>
                <a:gd name="connsiteY8" fmla="*/ 678371 h 1356360"/>
                <a:gd name="connsiteX9" fmla="*/ 1266520 w 1356360"/>
                <a:gd name="connsiteY9" fmla="*/ 678333 h 1356360"/>
                <a:gd name="connsiteX10" fmla="*/ 678180 w 1356360"/>
                <a:gd name="connsiteY10" fmla="*/ 89573 h 135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6360" h="1356360">
                  <a:moveTo>
                    <a:pt x="678180" y="1356360"/>
                  </a:moveTo>
                  <a:cubicBezTo>
                    <a:pt x="303630" y="1356360"/>
                    <a:pt x="0" y="1052730"/>
                    <a:pt x="0" y="678180"/>
                  </a:cubicBezTo>
                  <a:cubicBezTo>
                    <a:pt x="0" y="303630"/>
                    <a:pt x="303630" y="0"/>
                    <a:pt x="678180" y="0"/>
                  </a:cubicBezTo>
                  <a:cubicBezTo>
                    <a:pt x="1052730" y="0"/>
                    <a:pt x="1356360" y="303630"/>
                    <a:pt x="1356360" y="678180"/>
                  </a:cubicBezTo>
                  <a:cubicBezTo>
                    <a:pt x="1356025" y="1052589"/>
                    <a:pt x="1052589" y="1356025"/>
                    <a:pt x="678180" y="1356360"/>
                  </a:cubicBezTo>
                  <a:close/>
                  <a:moveTo>
                    <a:pt x="678180" y="89573"/>
                  </a:moveTo>
                  <a:cubicBezTo>
                    <a:pt x="353122" y="89447"/>
                    <a:pt x="89508" y="352856"/>
                    <a:pt x="89383" y="677913"/>
                  </a:cubicBezTo>
                  <a:cubicBezTo>
                    <a:pt x="89257" y="1002971"/>
                    <a:pt x="352665" y="1266585"/>
                    <a:pt x="677723" y="1266711"/>
                  </a:cubicBezTo>
                  <a:cubicBezTo>
                    <a:pt x="1002781" y="1266837"/>
                    <a:pt x="1266394" y="1003428"/>
                    <a:pt x="1266520" y="678371"/>
                  </a:cubicBezTo>
                  <a:cubicBezTo>
                    <a:pt x="1266520" y="678359"/>
                    <a:pt x="1266520" y="678344"/>
                    <a:pt x="1266520" y="678333"/>
                  </a:cubicBezTo>
                  <a:cubicBezTo>
                    <a:pt x="1266269" y="353438"/>
                    <a:pt x="1003074" y="90057"/>
                    <a:pt x="678180" y="89573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8" name="任意形状 417"/>
            <p:cNvSpPr/>
            <p:nvPr/>
          </p:nvSpPr>
          <p:spPr>
            <a:xfrm>
              <a:off x="-1487513" y="-2715691"/>
              <a:ext cx="243230" cy="356882"/>
            </a:xfrm>
            <a:custGeom>
              <a:avLst/>
              <a:gdLst>
                <a:gd name="connsiteX0" fmla="*/ 243231 w 243230"/>
                <a:gd name="connsiteY0" fmla="*/ 178232 h 356882"/>
                <a:gd name="connsiteX1" fmla="*/ 121310 w 243230"/>
                <a:gd name="connsiteY1" fmla="*/ 356883 h 356882"/>
                <a:gd name="connsiteX2" fmla="*/ 0 w 243230"/>
                <a:gd name="connsiteY2" fmla="*/ 178232 h 356882"/>
                <a:gd name="connsiteX3" fmla="*/ 121310 w 243230"/>
                <a:gd name="connsiteY3" fmla="*/ 0 h 356882"/>
                <a:gd name="connsiteX4" fmla="*/ 243231 w 243230"/>
                <a:gd name="connsiteY4" fmla="*/ 178232 h 35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230" h="356882">
                  <a:moveTo>
                    <a:pt x="243231" y="178232"/>
                  </a:moveTo>
                  <a:cubicBezTo>
                    <a:pt x="243231" y="276720"/>
                    <a:pt x="189090" y="356883"/>
                    <a:pt x="121310" y="356883"/>
                  </a:cubicBezTo>
                  <a:cubicBezTo>
                    <a:pt x="53530" y="356883"/>
                    <a:pt x="0" y="321945"/>
                    <a:pt x="0" y="178232"/>
                  </a:cubicBezTo>
                  <a:cubicBezTo>
                    <a:pt x="0" y="34519"/>
                    <a:pt x="54140" y="0"/>
                    <a:pt x="121310" y="0"/>
                  </a:cubicBezTo>
                  <a:cubicBezTo>
                    <a:pt x="188481" y="0"/>
                    <a:pt x="243231" y="79896"/>
                    <a:pt x="243231" y="178232"/>
                  </a:cubicBezTo>
                  <a:close/>
                </a:path>
              </a:pathLst>
            </a:custGeom>
            <a:solidFill>
              <a:srgbClr val="575B6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9" name="任意形状 418"/>
            <p:cNvSpPr/>
            <p:nvPr/>
          </p:nvSpPr>
          <p:spPr>
            <a:xfrm>
              <a:off x="-3025991" y="-1739036"/>
              <a:ext cx="429882" cy="297599"/>
            </a:xfrm>
            <a:custGeom>
              <a:avLst/>
              <a:gdLst>
                <a:gd name="connsiteX0" fmla="*/ 369608 w 429882"/>
                <a:gd name="connsiteY0" fmla="*/ 0 h 297599"/>
                <a:gd name="connsiteX1" fmla="*/ 429882 w 429882"/>
                <a:gd name="connsiteY1" fmla="*/ 0 h 297599"/>
                <a:gd name="connsiteX2" fmla="*/ 429882 w 429882"/>
                <a:gd name="connsiteY2" fmla="*/ 297599 h 297599"/>
                <a:gd name="connsiteX3" fmla="*/ 369608 w 429882"/>
                <a:gd name="connsiteY3" fmla="*/ 297599 h 297599"/>
                <a:gd name="connsiteX4" fmla="*/ 60274 w 429882"/>
                <a:gd name="connsiteY4" fmla="*/ 297599 h 297599"/>
                <a:gd name="connsiteX5" fmla="*/ 0 w 429882"/>
                <a:gd name="connsiteY5" fmla="*/ 297599 h 297599"/>
                <a:gd name="connsiteX6" fmla="*/ 0 w 429882"/>
                <a:gd name="connsiteY6" fmla="*/ 0 h 297599"/>
                <a:gd name="connsiteX7" fmla="*/ 60274 w 429882"/>
                <a:gd name="connsiteY7" fmla="*/ 0 h 297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9882" h="297599">
                  <a:moveTo>
                    <a:pt x="369608" y="0"/>
                  </a:moveTo>
                  <a:cubicBezTo>
                    <a:pt x="402897" y="0"/>
                    <a:pt x="429882" y="0"/>
                    <a:pt x="429882" y="0"/>
                  </a:cubicBezTo>
                  <a:lnTo>
                    <a:pt x="429882" y="297599"/>
                  </a:lnTo>
                  <a:cubicBezTo>
                    <a:pt x="429882" y="297599"/>
                    <a:pt x="402897" y="297599"/>
                    <a:pt x="369608" y="297599"/>
                  </a:cubicBezTo>
                  <a:lnTo>
                    <a:pt x="60274" y="297599"/>
                  </a:lnTo>
                  <a:cubicBezTo>
                    <a:pt x="26986" y="297599"/>
                    <a:pt x="0" y="297599"/>
                    <a:pt x="0" y="297599"/>
                  </a:cubicBezTo>
                  <a:lnTo>
                    <a:pt x="0" y="0"/>
                  </a:lnTo>
                  <a:cubicBezTo>
                    <a:pt x="0" y="0"/>
                    <a:pt x="26986" y="0"/>
                    <a:pt x="60274" y="0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424" name="图形 197"/>
          <p:cNvGrpSpPr>
            <a:grpSpLocks noChangeAspect="1"/>
          </p:cNvGrpSpPr>
          <p:nvPr/>
        </p:nvGrpSpPr>
        <p:grpSpPr>
          <a:xfrm>
            <a:off x="1717536" y="3788013"/>
            <a:ext cx="720000" cy="720000"/>
            <a:chOff x="1925270" y="-3046941"/>
            <a:chExt cx="4876800" cy="48768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25" name="任意形状 424"/>
            <p:cNvSpPr/>
            <p:nvPr/>
          </p:nvSpPr>
          <p:spPr>
            <a:xfrm>
              <a:off x="5044326" y="-2152877"/>
              <a:ext cx="644845" cy="1823609"/>
            </a:xfrm>
            <a:custGeom>
              <a:avLst/>
              <a:gdLst>
                <a:gd name="connsiteX0" fmla="*/ 644766 w 644845"/>
                <a:gd name="connsiteY0" fmla="*/ 1823610 h 1823609"/>
                <a:gd name="connsiteX1" fmla="*/ 518541 w 644845"/>
                <a:gd name="connsiteY1" fmla="*/ 1823610 h 1823609"/>
                <a:gd name="connsiteX2" fmla="*/ 518541 w 644845"/>
                <a:gd name="connsiteY2" fmla="*/ 325556 h 1823609"/>
                <a:gd name="connsiteX3" fmla="*/ 485089 w 644845"/>
                <a:gd name="connsiteY3" fmla="*/ 207979 h 1823609"/>
                <a:gd name="connsiteX4" fmla="*/ 483222 w 644845"/>
                <a:gd name="connsiteY4" fmla="*/ 205198 h 1823609"/>
                <a:gd name="connsiteX5" fmla="*/ 217475 w 644845"/>
                <a:gd name="connsiteY5" fmla="*/ 153420 h 1823609"/>
                <a:gd name="connsiteX6" fmla="*/ 21527 w 644845"/>
                <a:gd name="connsiteY6" fmla="*/ 269396 h 1823609"/>
                <a:gd name="connsiteX7" fmla="*/ 0 w 644845"/>
                <a:gd name="connsiteY7" fmla="*/ 145000 h 1823609"/>
                <a:gd name="connsiteX8" fmla="*/ 166688 w 644845"/>
                <a:gd name="connsiteY8" fmla="*/ 46321 h 1823609"/>
                <a:gd name="connsiteX9" fmla="*/ 554965 w 644845"/>
                <a:gd name="connsiteY9" fmla="*/ 93603 h 1823609"/>
                <a:gd name="connsiteX10" fmla="*/ 573557 w 644845"/>
                <a:gd name="connsiteY10" fmla="*/ 115053 h 1823609"/>
                <a:gd name="connsiteX11" fmla="*/ 644805 w 644845"/>
                <a:gd name="connsiteY11" fmla="*/ 329937 h 1823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4845" h="1823609">
                  <a:moveTo>
                    <a:pt x="644766" y="1823610"/>
                  </a:moveTo>
                  <a:lnTo>
                    <a:pt x="518541" y="1823610"/>
                  </a:lnTo>
                  <a:lnTo>
                    <a:pt x="518541" y="325556"/>
                  </a:lnTo>
                  <a:cubicBezTo>
                    <a:pt x="519250" y="283920"/>
                    <a:pt x="507610" y="243004"/>
                    <a:pt x="485089" y="207979"/>
                  </a:cubicBezTo>
                  <a:lnTo>
                    <a:pt x="483222" y="205198"/>
                  </a:lnTo>
                  <a:cubicBezTo>
                    <a:pt x="421577" y="121469"/>
                    <a:pt x="306046" y="98960"/>
                    <a:pt x="217475" y="153420"/>
                  </a:cubicBezTo>
                  <a:lnTo>
                    <a:pt x="21527" y="269396"/>
                  </a:lnTo>
                  <a:lnTo>
                    <a:pt x="0" y="145000"/>
                  </a:lnTo>
                  <a:lnTo>
                    <a:pt x="166688" y="46321"/>
                  </a:lnTo>
                  <a:cubicBezTo>
                    <a:pt x="291381" y="-30028"/>
                    <a:pt x="452236" y="-10441"/>
                    <a:pt x="554965" y="93603"/>
                  </a:cubicBezTo>
                  <a:cubicBezTo>
                    <a:pt x="561415" y="100434"/>
                    <a:pt x="567614" y="107586"/>
                    <a:pt x="573557" y="115053"/>
                  </a:cubicBezTo>
                  <a:cubicBezTo>
                    <a:pt x="620893" y="176581"/>
                    <a:pt x="646005" y="252320"/>
                    <a:pt x="644805" y="329937"/>
                  </a:cubicBez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26" name="任意形状 425"/>
            <p:cNvSpPr/>
            <p:nvPr/>
          </p:nvSpPr>
          <p:spPr>
            <a:xfrm>
              <a:off x="4725924" y="-2103305"/>
              <a:ext cx="460439" cy="485495"/>
            </a:xfrm>
            <a:custGeom>
              <a:avLst/>
              <a:gdLst>
                <a:gd name="connsiteX0" fmla="*/ 460438 w 460439"/>
                <a:gd name="connsiteY0" fmla="*/ 255829 h 485495"/>
                <a:gd name="connsiteX1" fmla="*/ 379971 w 460439"/>
                <a:gd name="connsiteY1" fmla="*/ 442519 h 485495"/>
                <a:gd name="connsiteX2" fmla="*/ 371437 w 460439"/>
                <a:gd name="connsiteY2" fmla="*/ 450139 h 485495"/>
                <a:gd name="connsiteX3" fmla="*/ 329794 w 460439"/>
                <a:gd name="connsiteY3" fmla="*/ 485496 h 485495"/>
                <a:gd name="connsiteX4" fmla="*/ 0 w 460439"/>
                <a:gd name="connsiteY4" fmla="*/ 93066 h 485495"/>
                <a:gd name="connsiteX5" fmla="*/ 39129 w 460439"/>
                <a:gd name="connsiteY5" fmla="*/ 59919 h 485495"/>
                <a:gd name="connsiteX6" fmla="*/ 50825 w 460439"/>
                <a:gd name="connsiteY6" fmla="*/ 51079 h 485495"/>
                <a:gd name="connsiteX7" fmla="*/ 409373 w 460439"/>
                <a:gd name="connsiteY7" fmla="*/ 102694 h 485495"/>
                <a:gd name="connsiteX8" fmla="*/ 460438 w 460439"/>
                <a:gd name="connsiteY8" fmla="*/ 255905 h 48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0439" h="485495">
                  <a:moveTo>
                    <a:pt x="460438" y="255829"/>
                  </a:moveTo>
                  <a:cubicBezTo>
                    <a:pt x="460682" y="326527"/>
                    <a:pt x="431536" y="394151"/>
                    <a:pt x="379971" y="442519"/>
                  </a:cubicBezTo>
                  <a:lnTo>
                    <a:pt x="371437" y="450139"/>
                  </a:lnTo>
                  <a:lnTo>
                    <a:pt x="329794" y="485496"/>
                  </a:lnTo>
                  <a:lnTo>
                    <a:pt x="0" y="93066"/>
                  </a:lnTo>
                  <a:lnTo>
                    <a:pt x="39129" y="59919"/>
                  </a:lnTo>
                  <a:cubicBezTo>
                    <a:pt x="42813" y="56699"/>
                    <a:pt x="46722" y="53746"/>
                    <a:pt x="50825" y="51079"/>
                  </a:cubicBezTo>
                  <a:cubicBezTo>
                    <a:pt x="164089" y="-33678"/>
                    <a:pt x="324616" y="-10570"/>
                    <a:pt x="409373" y="102694"/>
                  </a:cubicBezTo>
                  <a:cubicBezTo>
                    <a:pt x="442470" y="146924"/>
                    <a:pt x="460381" y="200664"/>
                    <a:pt x="460438" y="255905"/>
                  </a:cubicBez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27" name="任意形状 426"/>
            <p:cNvSpPr/>
            <p:nvPr/>
          </p:nvSpPr>
          <p:spPr>
            <a:xfrm>
              <a:off x="4725924" y="-2052188"/>
              <a:ext cx="379971" cy="434416"/>
            </a:xfrm>
            <a:custGeom>
              <a:avLst/>
              <a:gdLst>
                <a:gd name="connsiteX0" fmla="*/ 379971 w 379971"/>
                <a:gd name="connsiteY0" fmla="*/ 391516 h 434416"/>
                <a:gd name="connsiteX1" fmla="*/ 379971 w 379971"/>
                <a:gd name="connsiteY1" fmla="*/ 391821 h 434416"/>
                <a:gd name="connsiteX2" fmla="*/ 371437 w 379971"/>
                <a:gd name="connsiteY2" fmla="*/ 399059 h 434416"/>
                <a:gd name="connsiteX3" fmla="*/ 329794 w 379971"/>
                <a:gd name="connsiteY3" fmla="*/ 434416 h 434416"/>
                <a:gd name="connsiteX4" fmla="*/ 0 w 379971"/>
                <a:gd name="connsiteY4" fmla="*/ 41986 h 434416"/>
                <a:gd name="connsiteX5" fmla="*/ 39129 w 379971"/>
                <a:gd name="connsiteY5" fmla="*/ 8839 h 434416"/>
                <a:gd name="connsiteX6" fmla="*/ 50825 w 379971"/>
                <a:gd name="connsiteY6" fmla="*/ 0 h 43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971" h="434416">
                  <a:moveTo>
                    <a:pt x="379971" y="391516"/>
                  </a:moveTo>
                  <a:lnTo>
                    <a:pt x="379971" y="391821"/>
                  </a:lnTo>
                  <a:lnTo>
                    <a:pt x="371437" y="399059"/>
                  </a:lnTo>
                  <a:lnTo>
                    <a:pt x="329794" y="434416"/>
                  </a:lnTo>
                  <a:lnTo>
                    <a:pt x="0" y="41986"/>
                  </a:lnTo>
                  <a:lnTo>
                    <a:pt x="39129" y="8839"/>
                  </a:lnTo>
                  <a:cubicBezTo>
                    <a:pt x="42813" y="5620"/>
                    <a:pt x="46722" y="2667"/>
                    <a:pt x="50825" y="0"/>
                  </a:cubicBez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grpSp>
          <p:nvGrpSpPr>
            <p:cNvPr id="428" name="图形 197"/>
            <p:cNvGrpSpPr/>
            <p:nvPr/>
          </p:nvGrpSpPr>
          <p:grpSpPr>
            <a:xfrm>
              <a:off x="2935301" y="-321266"/>
              <a:ext cx="2856737" cy="1289812"/>
              <a:chOff x="2935301" y="-321266"/>
              <a:chExt cx="2856737" cy="1289812"/>
            </a:xfrm>
            <a:solidFill>
              <a:srgbClr val="DBD8DD"/>
            </a:solidFill>
          </p:grpSpPr>
          <p:sp>
            <p:nvSpPr>
              <p:cNvPr id="432" name="任意形状 431"/>
              <p:cNvSpPr/>
              <p:nvPr/>
            </p:nvSpPr>
            <p:spPr>
              <a:xfrm rot="-1593903">
                <a:off x="5363943" y="556160"/>
                <a:ext cx="184011" cy="389043"/>
              </a:xfrm>
              <a:custGeom>
                <a:avLst/>
                <a:gdLst>
                  <a:gd name="connsiteX0" fmla="*/ 0 w 184011"/>
                  <a:gd name="connsiteY0" fmla="*/ 0 h 389043"/>
                  <a:gd name="connsiteX1" fmla="*/ 184011 w 184011"/>
                  <a:gd name="connsiteY1" fmla="*/ 0 h 389043"/>
                  <a:gd name="connsiteX2" fmla="*/ 184011 w 184011"/>
                  <a:gd name="connsiteY2" fmla="*/ 0 h 389043"/>
                  <a:gd name="connsiteX3" fmla="*/ 184011 w 184011"/>
                  <a:gd name="connsiteY3" fmla="*/ 297038 h 389043"/>
                  <a:gd name="connsiteX4" fmla="*/ 92005 w 184011"/>
                  <a:gd name="connsiteY4" fmla="*/ 389044 h 389043"/>
                  <a:gd name="connsiteX5" fmla="*/ 0 w 184011"/>
                  <a:gd name="connsiteY5" fmla="*/ 297038 h 389043"/>
                  <a:gd name="connsiteX6" fmla="*/ 0 w 184011"/>
                  <a:gd name="connsiteY6" fmla="*/ 0 h 389043"/>
                  <a:gd name="connsiteX7" fmla="*/ 0 w 184011"/>
                  <a:gd name="connsiteY7" fmla="*/ 0 h 38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4011" h="389043">
                    <a:moveTo>
                      <a:pt x="0" y="0"/>
                    </a:moveTo>
                    <a:lnTo>
                      <a:pt x="184011" y="0"/>
                    </a:lnTo>
                    <a:lnTo>
                      <a:pt x="184011" y="0"/>
                    </a:lnTo>
                    <a:lnTo>
                      <a:pt x="184011" y="297038"/>
                    </a:lnTo>
                    <a:cubicBezTo>
                      <a:pt x="184011" y="347839"/>
                      <a:pt x="142818" y="389044"/>
                      <a:pt x="92005" y="389044"/>
                    </a:cubicBezTo>
                    <a:cubicBezTo>
                      <a:pt x="41193" y="389044"/>
                      <a:pt x="0" y="347839"/>
                      <a:pt x="0" y="297038"/>
                    </a:cubicBez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BD8DD"/>
              </a:solidFill>
              <a:ln w="380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3" name="任意形状 432"/>
              <p:cNvSpPr/>
              <p:nvPr/>
            </p:nvSpPr>
            <p:spPr>
              <a:xfrm rot="-9206097">
                <a:off x="3176850" y="558892"/>
                <a:ext cx="184011" cy="389043"/>
              </a:xfrm>
              <a:custGeom>
                <a:avLst/>
                <a:gdLst>
                  <a:gd name="connsiteX0" fmla="*/ 92006 w 184011"/>
                  <a:gd name="connsiteY0" fmla="*/ 0 h 389043"/>
                  <a:gd name="connsiteX1" fmla="*/ 184011 w 184011"/>
                  <a:gd name="connsiteY1" fmla="*/ 92006 h 389043"/>
                  <a:gd name="connsiteX2" fmla="*/ 184011 w 184011"/>
                  <a:gd name="connsiteY2" fmla="*/ 389044 h 389043"/>
                  <a:gd name="connsiteX3" fmla="*/ 184011 w 184011"/>
                  <a:gd name="connsiteY3" fmla="*/ 389044 h 389043"/>
                  <a:gd name="connsiteX4" fmla="*/ 0 w 184011"/>
                  <a:gd name="connsiteY4" fmla="*/ 389044 h 389043"/>
                  <a:gd name="connsiteX5" fmla="*/ 0 w 184011"/>
                  <a:gd name="connsiteY5" fmla="*/ 389044 h 389043"/>
                  <a:gd name="connsiteX6" fmla="*/ 0 w 184011"/>
                  <a:gd name="connsiteY6" fmla="*/ 92006 h 389043"/>
                  <a:gd name="connsiteX7" fmla="*/ 92006 w 184011"/>
                  <a:gd name="connsiteY7" fmla="*/ 0 h 38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4011" h="389043">
                    <a:moveTo>
                      <a:pt x="92006" y="0"/>
                    </a:moveTo>
                    <a:cubicBezTo>
                      <a:pt x="142818" y="0"/>
                      <a:pt x="184011" y="41193"/>
                      <a:pt x="184011" y="92006"/>
                    </a:cubicBezTo>
                    <a:lnTo>
                      <a:pt x="184011" y="389044"/>
                    </a:lnTo>
                    <a:lnTo>
                      <a:pt x="184011" y="389044"/>
                    </a:lnTo>
                    <a:lnTo>
                      <a:pt x="0" y="389044"/>
                    </a:lnTo>
                    <a:lnTo>
                      <a:pt x="0" y="389044"/>
                    </a:lnTo>
                    <a:lnTo>
                      <a:pt x="0" y="92006"/>
                    </a:lnTo>
                    <a:cubicBezTo>
                      <a:pt x="0" y="41193"/>
                      <a:pt x="41193" y="0"/>
                      <a:pt x="92006" y="0"/>
                    </a:cubicBezTo>
                    <a:close/>
                  </a:path>
                </a:pathLst>
              </a:custGeom>
              <a:solidFill>
                <a:srgbClr val="DBD8DD"/>
              </a:solidFill>
              <a:ln w="380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4" name="任意形状 433"/>
              <p:cNvSpPr/>
              <p:nvPr/>
            </p:nvSpPr>
            <p:spPr>
              <a:xfrm>
                <a:off x="2935301" y="-321266"/>
                <a:ext cx="2856737" cy="1056893"/>
              </a:xfrm>
              <a:custGeom>
                <a:avLst/>
                <a:gdLst>
                  <a:gd name="connsiteX0" fmla="*/ 2856738 w 2856737"/>
                  <a:gd name="connsiteY0" fmla="*/ 0 h 1056893"/>
                  <a:gd name="connsiteX1" fmla="*/ 2856738 w 2856737"/>
                  <a:gd name="connsiteY1" fmla="*/ 469392 h 1056893"/>
                  <a:gd name="connsiteX2" fmla="*/ 2268931 w 2856737"/>
                  <a:gd name="connsiteY2" fmla="*/ 1056894 h 1056893"/>
                  <a:gd name="connsiteX3" fmla="*/ 2268855 w 2856737"/>
                  <a:gd name="connsiteY3" fmla="*/ 1056894 h 1056893"/>
                  <a:gd name="connsiteX4" fmla="*/ 587883 w 2856737"/>
                  <a:gd name="connsiteY4" fmla="*/ 1056894 h 1056893"/>
                  <a:gd name="connsiteX5" fmla="*/ 0 w 2856737"/>
                  <a:gd name="connsiteY5" fmla="*/ 469468 h 1056893"/>
                  <a:gd name="connsiteX6" fmla="*/ 0 w 2856737"/>
                  <a:gd name="connsiteY6" fmla="*/ 469392 h 1056893"/>
                  <a:gd name="connsiteX7" fmla="*/ 0 w 2856737"/>
                  <a:gd name="connsiteY7" fmla="*/ 0 h 1056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6737" h="1056893">
                    <a:moveTo>
                      <a:pt x="2856738" y="0"/>
                    </a:moveTo>
                    <a:lnTo>
                      <a:pt x="2856738" y="469392"/>
                    </a:lnTo>
                    <a:cubicBezTo>
                      <a:pt x="2856662" y="793943"/>
                      <a:pt x="2593482" y="1056978"/>
                      <a:pt x="2268931" y="1056894"/>
                    </a:cubicBezTo>
                    <a:cubicBezTo>
                      <a:pt x="2268905" y="1056894"/>
                      <a:pt x="2268882" y="1056894"/>
                      <a:pt x="2268855" y="1056894"/>
                    </a:cubicBezTo>
                    <a:lnTo>
                      <a:pt x="587883" y="1056894"/>
                    </a:lnTo>
                    <a:cubicBezTo>
                      <a:pt x="263332" y="1057020"/>
                      <a:pt x="126" y="794019"/>
                      <a:pt x="0" y="469468"/>
                    </a:cubicBezTo>
                    <a:cubicBezTo>
                      <a:pt x="0" y="469441"/>
                      <a:pt x="0" y="469419"/>
                      <a:pt x="0" y="469392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BD8DD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29" name="任意形状 428"/>
            <p:cNvSpPr/>
            <p:nvPr/>
          </p:nvSpPr>
          <p:spPr>
            <a:xfrm>
              <a:off x="2935301" y="-321266"/>
              <a:ext cx="2647187" cy="1056893"/>
            </a:xfrm>
            <a:custGeom>
              <a:avLst/>
              <a:gdLst>
                <a:gd name="connsiteX0" fmla="*/ 2647188 w 2647187"/>
                <a:gd name="connsiteY0" fmla="*/ 0 h 1056893"/>
                <a:gd name="connsiteX1" fmla="*/ 2647188 w 2647187"/>
                <a:gd name="connsiteY1" fmla="*/ 469392 h 1056893"/>
                <a:gd name="connsiteX2" fmla="*/ 2059381 w 2647187"/>
                <a:gd name="connsiteY2" fmla="*/ 1056894 h 1056893"/>
                <a:gd name="connsiteX3" fmla="*/ 2059305 w 2647187"/>
                <a:gd name="connsiteY3" fmla="*/ 1056894 h 1056893"/>
                <a:gd name="connsiteX4" fmla="*/ 587883 w 2647187"/>
                <a:gd name="connsiteY4" fmla="*/ 1056894 h 1056893"/>
                <a:gd name="connsiteX5" fmla="*/ 0 w 2647187"/>
                <a:gd name="connsiteY5" fmla="*/ 469468 h 1056893"/>
                <a:gd name="connsiteX6" fmla="*/ 0 w 2647187"/>
                <a:gd name="connsiteY6" fmla="*/ 469392 h 1056893"/>
                <a:gd name="connsiteX7" fmla="*/ 0 w 2647187"/>
                <a:gd name="connsiteY7" fmla="*/ 0 h 1056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7187" h="1056893">
                  <a:moveTo>
                    <a:pt x="2647188" y="0"/>
                  </a:moveTo>
                  <a:lnTo>
                    <a:pt x="2647188" y="469392"/>
                  </a:lnTo>
                  <a:cubicBezTo>
                    <a:pt x="2647104" y="793943"/>
                    <a:pt x="2383932" y="1056978"/>
                    <a:pt x="2059381" y="1056894"/>
                  </a:cubicBezTo>
                  <a:cubicBezTo>
                    <a:pt x="2059355" y="1056894"/>
                    <a:pt x="2059332" y="1056894"/>
                    <a:pt x="2059305" y="1056894"/>
                  </a:cubicBezTo>
                  <a:lnTo>
                    <a:pt x="587883" y="1056894"/>
                  </a:lnTo>
                  <a:cubicBezTo>
                    <a:pt x="263332" y="1057020"/>
                    <a:pt x="126" y="794019"/>
                    <a:pt x="0" y="469468"/>
                  </a:cubicBezTo>
                  <a:cubicBezTo>
                    <a:pt x="0" y="469441"/>
                    <a:pt x="0" y="469419"/>
                    <a:pt x="0" y="46939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30" name="任意形状 429"/>
            <p:cNvSpPr/>
            <p:nvPr/>
          </p:nvSpPr>
          <p:spPr>
            <a:xfrm>
              <a:off x="2801570" y="-392628"/>
              <a:ext cx="3124200" cy="173850"/>
            </a:xfrm>
            <a:custGeom>
              <a:avLst/>
              <a:gdLst>
                <a:gd name="connsiteX0" fmla="*/ 3037294 w 3124200"/>
                <a:gd name="connsiteY0" fmla="*/ 0 h 173850"/>
                <a:gd name="connsiteX1" fmla="*/ 3124200 w 3124200"/>
                <a:gd name="connsiteY1" fmla="*/ 0 h 173850"/>
                <a:gd name="connsiteX2" fmla="*/ 3124200 w 3124200"/>
                <a:gd name="connsiteY2" fmla="*/ 173850 h 173850"/>
                <a:gd name="connsiteX3" fmla="*/ 3037294 w 3124200"/>
                <a:gd name="connsiteY3" fmla="*/ 173850 h 173850"/>
                <a:gd name="connsiteX4" fmla="*/ 86906 w 3124200"/>
                <a:gd name="connsiteY4" fmla="*/ 173850 h 173850"/>
                <a:gd name="connsiteX5" fmla="*/ 0 w 3124200"/>
                <a:gd name="connsiteY5" fmla="*/ 173850 h 173850"/>
                <a:gd name="connsiteX6" fmla="*/ 0 w 3124200"/>
                <a:gd name="connsiteY6" fmla="*/ 0 h 173850"/>
                <a:gd name="connsiteX7" fmla="*/ 86906 w 3124200"/>
                <a:gd name="connsiteY7" fmla="*/ 0 h 17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4200" h="173850">
                  <a:moveTo>
                    <a:pt x="3037294" y="0"/>
                  </a:moveTo>
                  <a:cubicBezTo>
                    <a:pt x="3085291" y="0"/>
                    <a:pt x="3124200" y="0"/>
                    <a:pt x="3124200" y="0"/>
                  </a:cubicBezTo>
                  <a:lnTo>
                    <a:pt x="3124200" y="173850"/>
                  </a:lnTo>
                  <a:cubicBezTo>
                    <a:pt x="3124200" y="173850"/>
                    <a:pt x="3085291" y="173850"/>
                    <a:pt x="3037294" y="173850"/>
                  </a:cubicBezTo>
                  <a:lnTo>
                    <a:pt x="86906" y="173850"/>
                  </a:lnTo>
                  <a:cubicBezTo>
                    <a:pt x="38909" y="173850"/>
                    <a:pt x="0" y="173850"/>
                    <a:pt x="0" y="173850"/>
                  </a:cubicBezTo>
                  <a:lnTo>
                    <a:pt x="0" y="0"/>
                  </a:lnTo>
                  <a:cubicBezTo>
                    <a:pt x="0" y="0"/>
                    <a:pt x="38909" y="0"/>
                    <a:pt x="86906" y="0"/>
                  </a:cubicBezTo>
                  <a:close/>
                </a:path>
              </a:pathLst>
            </a:custGeom>
            <a:solidFill>
              <a:srgbClr val="EEEFEE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31" name="任意形状 430"/>
            <p:cNvSpPr/>
            <p:nvPr/>
          </p:nvSpPr>
          <p:spPr>
            <a:xfrm>
              <a:off x="2935301" y="-218777"/>
              <a:ext cx="2856737" cy="100964"/>
            </a:xfrm>
            <a:custGeom>
              <a:avLst/>
              <a:gdLst>
                <a:gd name="connsiteX0" fmla="*/ 0 w 2856737"/>
                <a:gd name="connsiteY0" fmla="*/ 0 h 100964"/>
                <a:gd name="connsiteX1" fmla="*/ 2856738 w 2856737"/>
                <a:gd name="connsiteY1" fmla="*/ 0 h 100964"/>
                <a:gd name="connsiteX2" fmla="*/ 2856738 w 2856737"/>
                <a:gd name="connsiteY2" fmla="*/ 100965 h 100964"/>
                <a:gd name="connsiteX3" fmla="*/ 0 w 2856737"/>
                <a:gd name="connsiteY3" fmla="*/ 100965 h 100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6737" h="100964">
                  <a:moveTo>
                    <a:pt x="0" y="0"/>
                  </a:moveTo>
                  <a:lnTo>
                    <a:pt x="2856738" y="0"/>
                  </a:lnTo>
                  <a:lnTo>
                    <a:pt x="2856738" y="100965"/>
                  </a:lnTo>
                  <a:lnTo>
                    <a:pt x="0" y="100965"/>
                  </a:lnTo>
                  <a:close/>
                </a:path>
              </a:pathLst>
            </a:custGeom>
            <a:solidFill>
              <a:srgbClr val="DBD8DD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35" name="molecules-shapes_57399"/>
          <p:cNvSpPr>
            <a:spLocks noChangeAspect="1"/>
          </p:cNvSpPr>
          <p:nvPr/>
        </p:nvSpPr>
        <p:spPr>
          <a:xfrm>
            <a:off x="5058645" y="3674140"/>
            <a:ext cx="252228" cy="213133"/>
          </a:xfrm>
          <a:custGeom>
            <a:avLst/>
            <a:gdLst>
              <a:gd name="T0" fmla="*/ 2512 w 2654"/>
              <a:gd name="T1" fmla="*/ 282 h 2246"/>
              <a:gd name="T2" fmla="*/ 2315 w 2654"/>
              <a:gd name="T3" fmla="*/ 259 h 2246"/>
              <a:gd name="T4" fmla="*/ 2183 w 2654"/>
              <a:gd name="T5" fmla="*/ 336 h 2246"/>
              <a:gd name="T6" fmla="*/ 2144 w 2654"/>
              <a:gd name="T7" fmla="*/ 615 h 2246"/>
              <a:gd name="T8" fmla="*/ 2265 w 2654"/>
              <a:gd name="T9" fmla="*/ 730 h 2246"/>
              <a:gd name="T10" fmla="*/ 2227 w 2654"/>
              <a:gd name="T11" fmla="*/ 955 h 2246"/>
              <a:gd name="T12" fmla="*/ 2159 w 2654"/>
              <a:gd name="T13" fmla="*/ 1183 h 2246"/>
              <a:gd name="T14" fmla="*/ 1955 w 2654"/>
              <a:gd name="T15" fmla="*/ 1108 h 2246"/>
              <a:gd name="T16" fmla="*/ 1653 w 2654"/>
              <a:gd name="T17" fmla="*/ 1344 h 2246"/>
              <a:gd name="T18" fmla="*/ 1284 w 2654"/>
              <a:gd name="T19" fmla="*/ 1135 h 2246"/>
              <a:gd name="T20" fmla="*/ 707 w 2654"/>
              <a:gd name="T21" fmla="*/ 885 h 2246"/>
              <a:gd name="T22" fmla="*/ 796 w 2654"/>
              <a:gd name="T23" fmla="*/ 643 h 2246"/>
              <a:gd name="T24" fmla="*/ 1057 w 2654"/>
              <a:gd name="T25" fmla="*/ 661 h 2246"/>
              <a:gd name="T26" fmla="*/ 1183 w 2654"/>
              <a:gd name="T27" fmla="*/ 680 h 2246"/>
              <a:gd name="T28" fmla="*/ 1420 w 2654"/>
              <a:gd name="T29" fmla="*/ 832 h 2246"/>
              <a:gd name="T30" fmla="*/ 1646 w 2654"/>
              <a:gd name="T31" fmla="*/ 644 h 2246"/>
              <a:gd name="T32" fmla="*/ 1552 w 2654"/>
              <a:gd name="T33" fmla="*/ 431 h 2246"/>
              <a:gd name="T34" fmla="*/ 1318 w 2654"/>
              <a:gd name="T35" fmla="*/ 365 h 2246"/>
              <a:gd name="T36" fmla="*/ 1169 w 2654"/>
              <a:gd name="T37" fmla="*/ 563 h 2246"/>
              <a:gd name="T38" fmla="*/ 1170 w 2654"/>
              <a:gd name="T39" fmla="*/ 566 h 2246"/>
              <a:gd name="T40" fmla="*/ 1099 w 2654"/>
              <a:gd name="T41" fmla="*/ 567 h 2246"/>
              <a:gd name="T42" fmla="*/ 797 w 2654"/>
              <a:gd name="T43" fmla="*/ 566 h 2246"/>
              <a:gd name="T44" fmla="*/ 736 w 2654"/>
              <a:gd name="T45" fmla="*/ 378 h 2246"/>
              <a:gd name="T46" fmla="*/ 15 w 2654"/>
              <a:gd name="T47" fmla="*/ 705 h 2246"/>
              <a:gd name="T48" fmla="*/ 579 w 2654"/>
              <a:gd name="T49" fmla="*/ 1017 h 2246"/>
              <a:gd name="T50" fmla="*/ 659 w 2654"/>
              <a:gd name="T51" fmla="*/ 947 h 2246"/>
              <a:gd name="T52" fmla="*/ 716 w 2654"/>
              <a:gd name="T53" fmla="*/ 977 h 2246"/>
              <a:gd name="T54" fmla="*/ 1228 w 2654"/>
              <a:gd name="T55" fmla="*/ 1231 h 2246"/>
              <a:gd name="T56" fmla="*/ 1617 w 2654"/>
              <a:gd name="T57" fmla="*/ 1443 h 2246"/>
              <a:gd name="T58" fmla="*/ 1607 w 2654"/>
              <a:gd name="T59" fmla="*/ 1488 h 2246"/>
              <a:gd name="T60" fmla="*/ 1605 w 2654"/>
              <a:gd name="T61" fmla="*/ 1565 h 2246"/>
              <a:gd name="T62" fmla="*/ 1612 w 2654"/>
              <a:gd name="T63" fmla="*/ 1631 h 2246"/>
              <a:gd name="T64" fmla="*/ 1391 w 2654"/>
              <a:gd name="T65" fmla="*/ 1746 h 2246"/>
              <a:gd name="T66" fmla="*/ 1116 w 2654"/>
              <a:gd name="T67" fmla="*/ 1868 h 2246"/>
              <a:gd name="T68" fmla="*/ 925 w 2654"/>
              <a:gd name="T69" fmla="*/ 1678 h 2246"/>
              <a:gd name="T70" fmla="*/ 739 w 2654"/>
              <a:gd name="T71" fmla="*/ 1756 h 2246"/>
              <a:gd name="T72" fmla="*/ 648 w 2654"/>
              <a:gd name="T73" fmla="*/ 1864 h 2246"/>
              <a:gd name="T74" fmla="*/ 748 w 2654"/>
              <a:gd name="T75" fmla="*/ 2137 h 2246"/>
              <a:gd name="T76" fmla="*/ 1139 w 2654"/>
              <a:gd name="T77" fmla="*/ 2019 h 2246"/>
              <a:gd name="T78" fmla="*/ 1137 w 2654"/>
              <a:gd name="T79" fmla="*/ 1949 h 2246"/>
              <a:gd name="T80" fmla="*/ 1429 w 2654"/>
              <a:gd name="T81" fmla="*/ 1835 h 2246"/>
              <a:gd name="T82" fmla="*/ 1652 w 2654"/>
              <a:gd name="T83" fmla="*/ 1747 h 2246"/>
              <a:gd name="T84" fmla="*/ 1757 w 2654"/>
              <a:gd name="T85" fmla="*/ 1871 h 2246"/>
              <a:gd name="T86" fmla="*/ 2245 w 2654"/>
              <a:gd name="T87" fmla="*/ 1814 h 2246"/>
              <a:gd name="T88" fmla="*/ 2302 w 2654"/>
              <a:gd name="T89" fmla="*/ 1370 h 2246"/>
              <a:gd name="T90" fmla="*/ 2238 w 2654"/>
              <a:gd name="T91" fmla="*/ 1264 h 2246"/>
              <a:gd name="T92" fmla="*/ 2342 w 2654"/>
              <a:gd name="T93" fmla="*/ 938 h 2246"/>
              <a:gd name="T94" fmla="*/ 2386 w 2654"/>
              <a:gd name="T95" fmla="*/ 741 h 2246"/>
              <a:gd name="T96" fmla="*/ 2518 w 2654"/>
              <a:gd name="T97" fmla="*/ 654 h 2246"/>
              <a:gd name="T98" fmla="*/ 2512 w 2654"/>
              <a:gd name="T99" fmla="*/ 282 h 2246"/>
              <a:gd name="T100" fmla="*/ 2236 w 2654"/>
              <a:gd name="T101" fmla="*/ 1601 h 2246"/>
              <a:gd name="T102" fmla="*/ 2225 w 2654"/>
              <a:gd name="T103" fmla="*/ 1553 h 2246"/>
              <a:gd name="T104" fmla="*/ 2225 w 2654"/>
              <a:gd name="T105" fmla="*/ 1471 h 2246"/>
              <a:gd name="T106" fmla="*/ 2236 w 2654"/>
              <a:gd name="T107" fmla="*/ 1601 h 2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654" h="2246">
                <a:moveTo>
                  <a:pt x="2512" y="282"/>
                </a:moveTo>
                <a:cubicBezTo>
                  <a:pt x="2458" y="251"/>
                  <a:pt x="2383" y="244"/>
                  <a:pt x="2315" y="259"/>
                </a:cubicBezTo>
                <a:cubicBezTo>
                  <a:pt x="2266" y="256"/>
                  <a:pt x="2213" y="295"/>
                  <a:pt x="2183" y="336"/>
                </a:cubicBezTo>
                <a:cubicBezTo>
                  <a:pt x="2125" y="414"/>
                  <a:pt x="2101" y="525"/>
                  <a:pt x="2144" y="615"/>
                </a:cubicBezTo>
                <a:cubicBezTo>
                  <a:pt x="2169" y="666"/>
                  <a:pt x="2213" y="708"/>
                  <a:pt x="2265" y="730"/>
                </a:cubicBezTo>
                <a:cubicBezTo>
                  <a:pt x="2256" y="805"/>
                  <a:pt x="2248" y="880"/>
                  <a:pt x="2227" y="955"/>
                </a:cubicBezTo>
                <a:cubicBezTo>
                  <a:pt x="2207" y="1031"/>
                  <a:pt x="2182" y="1107"/>
                  <a:pt x="2159" y="1183"/>
                </a:cubicBezTo>
                <a:cubicBezTo>
                  <a:pt x="2102" y="1137"/>
                  <a:pt x="2033" y="1108"/>
                  <a:pt x="1955" y="1108"/>
                </a:cubicBezTo>
                <a:cubicBezTo>
                  <a:pt x="1820" y="1107"/>
                  <a:pt x="1712" y="1220"/>
                  <a:pt x="1653" y="1344"/>
                </a:cubicBezTo>
                <a:cubicBezTo>
                  <a:pt x="1531" y="1281"/>
                  <a:pt x="1394" y="1188"/>
                  <a:pt x="1284" y="1135"/>
                </a:cubicBezTo>
                <a:cubicBezTo>
                  <a:pt x="1102" y="1048"/>
                  <a:pt x="889" y="984"/>
                  <a:pt x="707" y="885"/>
                </a:cubicBezTo>
                <a:cubicBezTo>
                  <a:pt x="755" y="813"/>
                  <a:pt x="787" y="728"/>
                  <a:pt x="796" y="643"/>
                </a:cubicBezTo>
                <a:cubicBezTo>
                  <a:pt x="883" y="649"/>
                  <a:pt x="970" y="654"/>
                  <a:pt x="1057" y="661"/>
                </a:cubicBezTo>
                <a:cubicBezTo>
                  <a:pt x="1095" y="664"/>
                  <a:pt x="1139" y="672"/>
                  <a:pt x="1183" y="680"/>
                </a:cubicBezTo>
                <a:cubicBezTo>
                  <a:pt x="1215" y="778"/>
                  <a:pt x="1301" y="853"/>
                  <a:pt x="1420" y="832"/>
                </a:cubicBezTo>
                <a:cubicBezTo>
                  <a:pt x="1517" y="815"/>
                  <a:pt x="1626" y="747"/>
                  <a:pt x="1646" y="644"/>
                </a:cubicBezTo>
                <a:cubicBezTo>
                  <a:pt x="1662" y="561"/>
                  <a:pt x="1615" y="482"/>
                  <a:pt x="1552" y="431"/>
                </a:cubicBezTo>
                <a:cubicBezTo>
                  <a:pt x="1486" y="378"/>
                  <a:pt x="1403" y="350"/>
                  <a:pt x="1318" y="365"/>
                </a:cubicBezTo>
                <a:cubicBezTo>
                  <a:pt x="1226" y="382"/>
                  <a:pt x="1173" y="477"/>
                  <a:pt x="1169" y="563"/>
                </a:cubicBezTo>
                <a:cubicBezTo>
                  <a:pt x="1169" y="564"/>
                  <a:pt x="1169" y="565"/>
                  <a:pt x="1170" y="566"/>
                </a:cubicBezTo>
                <a:cubicBezTo>
                  <a:pt x="1144" y="567"/>
                  <a:pt x="1120" y="567"/>
                  <a:pt x="1099" y="567"/>
                </a:cubicBezTo>
                <a:cubicBezTo>
                  <a:pt x="999" y="564"/>
                  <a:pt x="898" y="562"/>
                  <a:pt x="797" y="566"/>
                </a:cubicBezTo>
                <a:cubicBezTo>
                  <a:pt x="793" y="499"/>
                  <a:pt x="774" y="434"/>
                  <a:pt x="736" y="378"/>
                </a:cubicBezTo>
                <a:cubicBezTo>
                  <a:pt x="484" y="0"/>
                  <a:pt x="33" y="360"/>
                  <a:pt x="15" y="705"/>
                </a:cubicBezTo>
                <a:cubicBezTo>
                  <a:pt x="0" y="1004"/>
                  <a:pt x="361" y="1180"/>
                  <a:pt x="579" y="1017"/>
                </a:cubicBezTo>
                <a:cubicBezTo>
                  <a:pt x="608" y="997"/>
                  <a:pt x="635" y="974"/>
                  <a:pt x="659" y="947"/>
                </a:cubicBezTo>
                <a:cubicBezTo>
                  <a:pt x="680" y="958"/>
                  <a:pt x="700" y="968"/>
                  <a:pt x="716" y="977"/>
                </a:cubicBezTo>
                <a:cubicBezTo>
                  <a:pt x="879" y="1075"/>
                  <a:pt x="1057" y="1149"/>
                  <a:pt x="1228" y="1231"/>
                </a:cubicBezTo>
                <a:cubicBezTo>
                  <a:pt x="1363" y="1295"/>
                  <a:pt x="1489" y="1367"/>
                  <a:pt x="1617" y="1443"/>
                </a:cubicBezTo>
                <a:cubicBezTo>
                  <a:pt x="1613" y="1458"/>
                  <a:pt x="1610" y="1473"/>
                  <a:pt x="1607" y="1488"/>
                </a:cubicBezTo>
                <a:cubicBezTo>
                  <a:pt x="1603" y="1515"/>
                  <a:pt x="1603" y="1541"/>
                  <a:pt x="1605" y="1565"/>
                </a:cubicBezTo>
                <a:cubicBezTo>
                  <a:pt x="1605" y="1587"/>
                  <a:pt x="1608" y="1609"/>
                  <a:pt x="1612" y="1631"/>
                </a:cubicBezTo>
                <a:cubicBezTo>
                  <a:pt x="1537" y="1667"/>
                  <a:pt x="1462" y="1714"/>
                  <a:pt x="1391" y="1746"/>
                </a:cubicBezTo>
                <a:cubicBezTo>
                  <a:pt x="1315" y="1781"/>
                  <a:pt x="1192" y="1812"/>
                  <a:pt x="1116" y="1868"/>
                </a:cubicBezTo>
                <a:cubicBezTo>
                  <a:pt x="1081" y="1778"/>
                  <a:pt x="1012" y="1697"/>
                  <a:pt x="925" y="1678"/>
                </a:cubicBezTo>
                <a:cubicBezTo>
                  <a:pt x="847" y="1661"/>
                  <a:pt x="782" y="1697"/>
                  <a:pt x="739" y="1756"/>
                </a:cubicBezTo>
                <a:cubicBezTo>
                  <a:pt x="696" y="1772"/>
                  <a:pt x="662" y="1811"/>
                  <a:pt x="648" y="1864"/>
                </a:cubicBezTo>
                <a:cubicBezTo>
                  <a:pt x="624" y="1962"/>
                  <a:pt x="672" y="2076"/>
                  <a:pt x="748" y="2137"/>
                </a:cubicBezTo>
                <a:cubicBezTo>
                  <a:pt x="886" y="2246"/>
                  <a:pt x="1119" y="2213"/>
                  <a:pt x="1139" y="2019"/>
                </a:cubicBezTo>
                <a:cubicBezTo>
                  <a:pt x="1142" y="1997"/>
                  <a:pt x="1141" y="1973"/>
                  <a:pt x="1137" y="1949"/>
                </a:cubicBezTo>
                <a:cubicBezTo>
                  <a:pt x="1234" y="1936"/>
                  <a:pt x="1347" y="1868"/>
                  <a:pt x="1429" y="1835"/>
                </a:cubicBezTo>
                <a:cubicBezTo>
                  <a:pt x="1495" y="1807"/>
                  <a:pt x="1578" y="1782"/>
                  <a:pt x="1652" y="1747"/>
                </a:cubicBezTo>
                <a:cubicBezTo>
                  <a:pt x="1677" y="1794"/>
                  <a:pt x="1711" y="1837"/>
                  <a:pt x="1757" y="1871"/>
                </a:cubicBezTo>
                <a:cubicBezTo>
                  <a:pt x="1906" y="1984"/>
                  <a:pt x="2115" y="1935"/>
                  <a:pt x="2245" y="1814"/>
                </a:cubicBezTo>
                <a:cubicBezTo>
                  <a:pt x="2367" y="1702"/>
                  <a:pt x="2366" y="1510"/>
                  <a:pt x="2302" y="1370"/>
                </a:cubicBezTo>
                <a:cubicBezTo>
                  <a:pt x="2285" y="1332"/>
                  <a:pt x="2264" y="1297"/>
                  <a:pt x="2238" y="1264"/>
                </a:cubicBezTo>
                <a:cubicBezTo>
                  <a:pt x="2274" y="1155"/>
                  <a:pt x="2310" y="1047"/>
                  <a:pt x="2342" y="938"/>
                </a:cubicBezTo>
                <a:cubicBezTo>
                  <a:pt x="2359" y="879"/>
                  <a:pt x="2379" y="809"/>
                  <a:pt x="2386" y="741"/>
                </a:cubicBezTo>
                <a:cubicBezTo>
                  <a:pt x="2437" y="727"/>
                  <a:pt x="2484" y="692"/>
                  <a:pt x="2518" y="654"/>
                </a:cubicBezTo>
                <a:cubicBezTo>
                  <a:pt x="2609" y="552"/>
                  <a:pt x="2654" y="363"/>
                  <a:pt x="2512" y="282"/>
                </a:cubicBezTo>
                <a:close/>
                <a:moveTo>
                  <a:pt x="2236" y="1601"/>
                </a:moveTo>
                <a:cubicBezTo>
                  <a:pt x="2235" y="1584"/>
                  <a:pt x="2232" y="1568"/>
                  <a:pt x="2225" y="1553"/>
                </a:cubicBezTo>
                <a:cubicBezTo>
                  <a:pt x="2228" y="1527"/>
                  <a:pt x="2228" y="1499"/>
                  <a:pt x="2225" y="1471"/>
                </a:cubicBezTo>
                <a:cubicBezTo>
                  <a:pt x="2236" y="1515"/>
                  <a:pt x="2240" y="1559"/>
                  <a:pt x="2236" y="1601"/>
                </a:cubicBezTo>
                <a:close/>
              </a:path>
            </a:pathLst>
          </a:custGeom>
          <a:solidFill>
            <a:srgbClr val="080B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36" name="computer-microprocessor_18089"/>
          <p:cNvSpPr/>
          <p:nvPr/>
        </p:nvSpPr>
        <p:spPr>
          <a:xfrm>
            <a:off x="5949291" y="2712445"/>
            <a:ext cx="281340" cy="280916"/>
          </a:xfrm>
          <a:custGeom>
            <a:avLst/>
            <a:gdLst>
              <a:gd name="connsiteX0" fmla="*/ 432518 w 608697"/>
              <a:gd name="connsiteY0" fmla="*/ 535450 h 607780"/>
              <a:gd name="connsiteX1" fmla="*/ 441669 w 608697"/>
              <a:gd name="connsiteY1" fmla="*/ 544491 h 607780"/>
              <a:gd name="connsiteX2" fmla="*/ 441669 w 608697"/>
              <a:gd name="connsiteY2" fmla="*/ 598739 h 607780"/>
              <a:gd name="connsiteX3" fmla="*/ 432518 w 608697"/>
              <a:gd name="connsiteY3" fmla="*/ 607780 h 607780"/>
              <a:gd name="connsiteX4" fmla="*/ 423463 w 608697"/>
              <a:gd name="connsiteY4" fmla="*/ 598739 h 607780"/>
              <a:gd name="connsiteX5" fmla="*/ 423463 w 608697"/>
              <a:gd name="connsiteY5" fmla="*/ 544491 h 607780"/>
              <a:gd name="connsiteX6" fmla="*/ 432518 w 608697"/>
              <a:gd name="connsiteY6" fmla="*/ 535450 h 607780"/>
              <a:gd name="connsiteX7" fmla="*/ 383134 w 608697"/>
              <a:gd name="connsiteY7" fmla="*/ 535450 h 607780"/>
              <a:gd name="connsiteX8" fmla="*/ 392202 w 608697"/>
              <a:gd name="connsiteY8" fmla="*/ 544491 h 607780"/>
              <a:gd name="connsiteX9" fmla="*/ 392202 w 608697"/>
              <a:gd name="connsiteY9" fmla="*/ 598739 h 607780"/>
              <a:gd name="connsiteX10" fmla="*/ 383134 w 608697"/>
              <a:gd name="connsiteY10" fmla="*/ 607780 h 607780"/>
              <a:gd name="connsiteX11" fmla="*/ 374067 w 608697"/>
              <a:gd name="connsiteY11" fmla="*/ 598739 h 607780"/>
              <a:gd name="connsiteX12" fmla="*/ 374067 w 608697"/>
              <a:gd name="connsiteY12" fmla="*/ 544491 h 607780"/>
              <a:gd name="connsiteX13" fmla="*/ 383134 w 608697"/>
              <a:gd name="connsiteY13" fmla="*/ 535450 h 607780"/>
              <a:gd name="connsiteX14" fmla="*/ 332764 w 608697"/>
              <a:gd name="connsiteY14" fmla="*/ 535450 h 607780"/>
              <a:gd name="connsiteX15" fmla="*/ 341819 w 608697"/>
              <a:gd name="connsiteY15" fmla="*/ 544491 h 607780"/>
              <a:gd name="connsiteX16" fmla="*/ 341819 w 608697"/>
              <a:gd name="connsiteY16" fmla="*/ 598739 h 607780"/>
              <a:gd name="connsiteX17" fmla="*/ 332764 w 608697"/>
              <a:gd name="connsiteY17" fmla="*/ 607780 h 607780"/>
              <a:gd name="connsiteX18" fmla="*/ 323613 w 608697"/>
              <a:gd name="connsiteY18" fmla="*/ 598739 h 607780"/>
              <a:gd name="connsiteX19" fmla="*/ 323613 w 608697"/>
              <a:gd name="connsiteY19" fmla="*/ 544491 h 607780"/>
              <a:gd name="connsiteX20" fmla="*/ 332764 w 608697"/>
              <a:gd name="connsiteY20" fmla="*/ 535450 h 607780"/>
              <a:gd name="connsiteX21" fmla="*/ 283249 w 608697"/>
              <a:gd name="connsiteY21" fmla="*/ 535450 h 607780"/>
              <a:gd name="connsiteX22" fmla="*/ 292282 w 608697"/>
              <a:gd name="connsiteY22" fmla="*/ 544491 h 607780"/>
              <a:gd name="connsiteX23" fmla="*/ 292282 w 608697"/>
              <a:gd name="connsiteY23" fmla="*/ 598739 h 607780"/>
              <a:gd name="connsiteX24" fmla="*/ 283249 w 608697"/>
              <a:gd name="connsiteY24" fmla="*/ 607780 h 607780"/>
              <a:gd name="connsiteX25" fmla="*/ 274217 w 608697"/>
              <a:gd name="connsiteY25" fmla="*/ 598739 h 607780"/>
              <a:gd name="connsiteX26" fmla="*/ 274217 w 608697"/>
              <a:gd name="connsiteY26" fmla="*/ 544491 h 607780"/>
              <a:gd name="connsiteX27" fmla="*/ 283249 w 608697"/>
              <a:gd name="connsiteY27" fmla="*/ 535450 h 607780"/>
              <a:gd name="connsiteX28" fmla="*/ 237712 w 608697"/>
              <a:gd name="connsiteY28" fmla="*/ 535450 h 607780"/>
              <a:gd name="connsiteX29" fmla="*/ 246767 w 608697"/>
              <a:gd name="connsiteY29" fmla="*/ 544491 h 607780"/>
              <a:gd name="connsiteX30" fmla="*/ 246767 w 608697"/>
              <a:gd name="connsiteY30" fmla="*/ 598739 h 607780"/>
              <a:gd name="connsiteX31" fmla="*/ 237712 w 608697"/>
              <a:gd name="connsiteY31" fmla="*/ 607780 h 607780"/>
              <a:gd name="connsiteX32" fmla="*/ 228561 w 608697"/>
              <a:gd name="connsiteY32" fmla="*/ 598739 h 607780"/>
              <a:gd name="connsiteX33" fmla="*/ 228561 w 608697"/>
              <a:gd name="connsiteY33" fmla="*/ 544491 h 607780"/>
              <a:gd name="connsiteX34" fmla="*/ 237712 w 608697"/>
              <a:gd name="connsiteY34" fmla="*/ 535450 h 607780"/>
              <a:gd name="connsiteX35" fmla="*/ 188175 w 608697"/>
              <a:gd name="connsiteY35" fmla="*/ 535450 h 607780"/>
              <a:gd name="connsiteX36" fmla="*/ 197230 w 608697"/>
              <a:gd name="connsiteY36" fmla="*/ 544491 h 607780"/>
              <a:gd name="connsiteX37" fmla="*/ 197230 w 608697"/>
              <a:gd name="connsiteY37" fmla="*/ 598739 h 607780"/>
              <a:gd name="connsiteX38" fmla="*/ 188175 w 608697"/>
              <a:gd name="connsiteY38" fmla="*/ 607780 h 607780"/>
              <a:gd name="connsiteX39" fmla="*/ 179024 w 608697"/>
              <a:gd name="connsiteY39" fmla="*/ 598739 h 607780"/>
              <a:gd name="connsiteX40" fmla="*/ 179024 w 608697"/>
              <a:gd name="connsiteY40" fmla="*/ 544491 h 607780"/>
              <a:gd name="connsiteX41" fmla="*/ 188175 w 608697"/>
              <a:gd name="connsiteY41" fmla="*/ 535450 h 607780"/>
              <a:gd name="connsiteX42" fmla="*/ 545285 w 608697"/>
              <a:gd name="connsiteY42" fmla="*/ 409985 h 607780"/>
              <a:gd name="connsiteX43" fmla="*/ 599638 w 608697"/>
              <a:gd name="connsiteY43" fmla="*/ 409985 h 607780"/>
              <a:gd name="connsiteX44" fmla="*/ 608697 w 608697"/>
              <a:gd name="connsiteY44" fmla="*/ 419018 h 607780"/>
              <a:gd name="connsiteX45" fmla="*/ 599638 w 608697"/>
              <a:gd name="connsiteY45" fmla="*/ 428050 h 607780"/>
              <a:gd name="connsiteX46" fmla="*/ 545285 w 608697"/>
              <a:gd name="connsiteY46" fmla="*/ 428050 h 607780"/>
              <a:gd name="connsiteX47" fmla="*/ 536226 w 608697"/>
              <a:gd name="connsiteY47" fmla="*/ 419018 h 607780"/>
              <a:gd name="connsiteX48" fmla="*/ 545285 w 608697"/>
              <a:gd name="connsiteY48" fmla="*/ 409985 h 607780"/>
              <a:gd name="connsiteX49" fmla="*/ 9050 w 608697"/>
              <a:gd name="connsiteY49" fmla="*/ 409985 h 607780"/>
              <a:gd name="connsiteX50" fmla="*/ 63350 w 608697"/>
              <a:gd name="connsiteY50" fmla="*/ 409985 h 607780"/>
              <a:gd name="connsiteX51" fmla="*/ 72400 w 608697"/>
              <a:gd name="connsiteY51" fmla="*/ 419018 h 607780"/>
              <a:gd name="connsiteX52" fmla="*/ 63350 w 608697"/>
              <a:gd name="connsiteY52" fmla="*/ 428050 h 607780"/>
              <a:gd name="connsiteX53" fmla="*/ 9050 w 608697"/>
              <a:gd name="connsiteY53" fmla="*/ 428050 h 607780"/>
              <a:gd name="connsiteX54" fmla="*/ 0 w 608697"/>
              <a:gd name="connsiteY54" fmla="*/ 419018 h 607780"/>
              <a:gd name="connsiteX55" fmla="*/ 9050 w 608697"/>
              <a:gd name="connsiteY55" fmla="*/ 409985 h 607780"/>
              <a:gd name="connsiteX56" fmla="*/ 545285 w 608697"/>
              <a:gd name="connsiteY56" fmla="*/ 360519 h 607780"/>
              <a:gd name="connsiteX57" fmla="*/ 599638 w 608697"/>
              <a:gd name="connsiteY57" fmla="*/ 360519 h 607780"/>
              <a:gd name="connsiteX58" fmla="*/ 608697 w 608697"/>
              <a:gd name="connsiteY58" fmla="*/ 369574 h 607780"/>
              <a:gd name="connsiteX59" fmla="*/ 599638 w 608697"/>
              <a:gd name="connsiteY59" fmla="*/ 378725 h 607780"/>
              <a:gd name="connsiteX60" fmla="*/ 545285 w 608697"/>
              <a:gd name="connsiteY60" fmla="*/ 378725 h 607780"/>
              <a:gd name="connsiteX61" fmla="*/ 536226 w 608697"/>
              <a:gd name="connsiteY61" fmla="*/ 369574 h 607780"/>
              <a:gd name="connsiteX62" fmla="*/ 545285 w 608697"/>
              <a:gd name="connsiteY62" fmla="*/ 360519 h 607780"/>
              <a:gd name="connsiteX63" fmla="*/ 9050 w 608697"/>
              <a:gd name="connsiteY63" fmla="*/ 360519 h 607780"/>
              <a:gd name="connsiteX64" fmla="*/ 63350 w 608697"/>
              <a:gd name="connsiteY64" fmla="*/ 360519 h 607780"/>
              <a:gd name="connsiteX65" fmla="*/ 72400 w 608697"/>
              <a:gd name="connsiteY65" fmla="*/ 369574 h 607780"/>
              <a:gd name="connsiteX66" fmla="*/ 63350 w 608697"/>
              <a:gd name="connsiteY66" fmla="*/ 378725 h 607780"/>
              <a:gd name="connsiteX67" fmla="*/ 9050 w 608697"/>
              <a:gd name="connsiteY67" fmla="*/ 378725 h 607780"/>
              <a:gd name="connsiteX68" fmla="*/ 0 w 608697"/>
              <a:gd name="connsiteY68" fmla="*/ 369574 h 607780"/>
              <a:gd name="connsiteX69" fmla="*/ 9050 w 608697"/>
              <a:gd name="connsiteY69" fmla="*/ 360519 h 607780"/>
              <a:gd name="connsiteX70" fmla="*/ 545285 w 608697"/>
              <a:gd name="connsiteY70" fmla="*/ 314933 h 607780"/>
              <a:gd name="connsiteX71" fmla="*/ 599638 w 608697"/>
              <a:gd name="connsiteY71" fmla="*/ 314933 h 607780"/>
              <a:gd name="connsiteX72" fmla="*/ 608697 w 608697"/>
              <a:gd name="connsiteY72" fmla="*/ 324084 h 607780"/>
              <a:gd name="connsiteX73" fmla="*/ 599638 w 608697"/>
              <a:gd name="connsiteY73" fmla="*/ 333139 h 607780"/>
              <a:gd name="connsiteX74" fmla="*/ 545285 w 608697"/>
              <a:gd name="connsiteY74" fmla="*/ 333139 h 607780"/>
              <a:gd name="connsiteX75" fmla="*/ 536226 w 608697"/>
              <a:gd name="connsiteY75" fmla="*/ 324084 h 607780"/>
              <a:gd name="connsiteX76" fmla="*/ 545285 w 608697"/>
              <a:gd name="connsiteY76" fmla="*/ 314933 h 607780"/>
              <a:gd name="connsiteX77" fmla="*/ 9050 w 608697"/>
              <a:gd name="connsiteY77" fmla="*/ 314933 h 607780"/>
              <a:gd name="connsiteX78" fmla="*/ 63350 w 608697"/>
              <a:gd name="connsiteY78" fmla="*/ 314933 h 607780"/>
              <a:gd name="connsiteX79" fmla="*/ 72400 w 608697"/>
              <a:gd name="connsiteY79" fmla="*/ 324084 h 607780"/>
              <a:gd name="connsiteX80" fmla="*/ 63350 w 608697"/>
              <a:gd name="connsiteY80" fmla="*/ 333139 h 607780"/>
              <a:gd name="connsiteX81" fmla="*/ 9050 w 608697"/>
              <a:gd name="connsiteY81" fmla="*/ 333139 h 607780"/>
              <a:gd name="connsiteX82" fmla="*/ 0 w 608697"/>
              <a:gd name="connsiteY82" fmla="*/ 324084 h 607780"/>
              <a:gd name="connsiteX83" fmla="*/ 9050 w 608697"/>
              <a:gd name="connsiteY83" fmla="*/ 314933 h 607780"/>
              <a:gd name="connsiteX84" fmla="*/ 545285 w 608697"/>
              <a:gd name="connsiteY84" fmla="*/ 265608 h 607780"/>
              <a:gd name="connsiteX85" fmla="*/ 599638 w 608697"/>
              <a:gd name="connsiteY85" fmla="*/ 265608 h 607780"/>
              <a:gd name="connsiteX86" fmla="*/ 608697 w 608697"/>
              <a:gd name="connsiteY86" fmla="*/ 274759 h 607780"/>
              <a:gd name="connsiteX87" fmla="*/ 599638 w 608697"/>
              <a:gd name="connsiteY87" fmla="*/ 283814 h 607780"/>
              <a:gd name="connsiteX88" fmla="*/ 545285 w 608697"/>
              <a:gd name="connsiteY88" fmla="*/ 283814 h 607780"/>
              <a:gd name="connsiteX89" fmla="*/ 536226 w 608697"/>
              <a:gd name="connsiteY89" fmla="*/ 274759 h 607780"/>
              <a:gd name="connsiteX90" fmla="*/ 545285 w 608697"/>
              <a:gd name="connsiteY90" fmla="*/ 265608 h 607780"/>
              <a:gd name="connsiteX91" fmla="*/ 9050 w 608697"/>
              <a:gd name="connsiteY91" fmla="*/ 265608 h 607780"/>
              <a:gd name="connsiteX92" fmla="*/ 63350 w 608697"/>
              <a:gd name="connsiteY92" fmla="*/ 265608 h 607780"/>
              <a:gd name="connsiteX93" fmla="*/ 72400 w 608697"/>
              <a:gd name="connsiteY93" fmla="*/ 274759 h 607780"/>
              <a:gd name="connsiteX94" fmla="*/ 63350 w 608697"/>
              <a:gd name="connsiteY94" fmla="*/ 283814 h 607780"/>
              <a:gd name="connsiteX95" fmla="*/ 9050 w 608697"/>
              <a:gd name="connsiteY95" fmla="*/ 283814 h 607780"/>
              <a:gd name="connsiteX96" fmla="*/ 0 w 608697"/>
              <a:gd name="connsiteY96" fmla="*/ 274759 h 607780"/>
              <a:gd name="connsiteX97" fmla="*/ 9050 w 608697"/>
              <a:gd name="connsiteY97" fmla="*/ 265608 h 607780"/>
              <a:gd name="connsiteX98" fmla="*/ 545285 w 608697"/>
              <a:gd name="connsiteY98" fmla="*/ 215295 h 607780"/>
              <a:gd name="connsiteX99" fmla="*/ 599638 w 608697"/>
              <a:gd name="connsiteY99" fmla="*/ 215295 h 607780"/>
              <a:gd name="connsiteX100" fmla="*/ 608697 w 608697"/>
              <a:gd name="connsiteY100" fmla="*/ 224362 h 607780"/>
              <a:gd name="connsiteX101" fmla="*/ 599638 w 608697"/>
              <a:gd name="connsiteY101" fmla="*/ 233430 h 607780"/>
              <a:gd name="connsiteX102" fmla="*/ 545285 w 608697"/>
              <a:gd name="connsiteY102" fmla="*/ 233430 h 607780"/>
              <a:gd name="connsiteX103" fmla="*/ 536226 w 608697"/>
              <a:gd name="connsiteY103" fmla="*/ 224362 h 607780"/>
              <a:gd name="connsiteX104" fmla="*/ 545285 w 608697"/>
              <a:gd name="connsiteY104" fmla="*/ 215295 h 607780"/>
              <a:gd name="connsiteX105" fmla="*/ 9050 w 608697"/>
              <a:gd name="connsiteY105" fmla="*/ 215295 h 607780"/>
              <a:gd name="connsiteX106" fmla="*/ 63350 w 608697"/>
              <a:gd name="connsiteY106" fmla="*/ 215295 h 607780"/>
              <a:gd name="connsiteX107" fmla="*/ 72400 w 608697"/>
              <a:gd name="connsiteY107" fmla="*/ 224362 h 607780"/>
              <a:gd name="connsiteX108" fmla="*/ 63350 w 608697"/>
              <a:gd name="connsiteY108" fmla="*/ 233430 h 607780"/>
              <a:gd name="connsiteX109" fmla="*/ 9050 w 608697"/>
              <a:gd name="connsiteY109" fmla="*/ 233430 h 607780"/>
              <a:gd name="connsiteX110" fmla="*/ 0 w 608697"/>
              <a:gd name="connsiteY110" fmla="*/ 224362 h 607780"/>
              <a:gd name="connsiteX111" fmla="*/ 9050 w 608697"/>
              <a:gd name="connsiteY111" fmla="*/ 215295 h 607780"/>
              <a:gd name="connsiteX112" fmla="*/ 217493 w 608697"/>
              <a:gd name="connsiteY112" fmla="*/ 199054 h 607780"/>
              <a:gd name="connsiteX113" fmla="*/ 217493 w 608697"/>
              <a:gd name="connsiteY113" fmla="*/ 388249 h 607780"/>
              <a:gd name="connsiteX114" fmla="*/ 405197 w 608697"/>
              <a:gd name="connsiteY114" fmla="*/ 388249 h 607780"/>
              <a:gd name="connsiteX115" fmla="*/ 405197 w 608697"/>
              <a:gd name="connsiteY115" fmla="*/ 199054 h 607780"/>
              <a:gd name="connsiteX116" fmla="*/ 545285 w 608697"/>
              <a:gd name="connsiteY116" fmla="*/ 165899 h 607780"/>
              <a:gd name="connsiteX117" fmla="*/ 599638 w 608697"/>
              <a:gd name="connsiteY117" fmla="*/ 165899 h 607780"/>
              <a:gd name="connsiteX118" fmla="*/ 608697 w 608697"/>
              <a:gd name="connsiteY118" fmla="*/ 174918 h 607780"/>
              <a:gd name="connsiteX119" fmla="*/ 599638 w 608697"/>
              <a:gd name="connsiteY119" fmla="*/ 184034 h 607780"/>
              <a:gd name="connsiteX120" fmla="*/ 545285 w 608697"/>
              <a:gd name="connsiteY120" fmla="*/ 184034 h 607780"/>
              <a:gd name="connsiteX121" fmla="*/ 536226 w 608697"/>
              <a:gd name="connsiteY121" fmla="*/ 174918 h 607780"/>
              <a:gd name="connsiteX122" fmla="*/ 545285 w 608697"/>
              <a:gd name="connsiteY122" fmla="*/ 165899 h 607780"/>
              <a:gd name="connsiteX123" fmla="*/ 9050 w 608697"/>
              <a:gd name="connsiteY123" fmla="*/ 165899 h 607780"/>
              <a:gd name="connsiteX124" fmla="*/ 63350 w 608697"/>
              <a:gd name="connsiteY124" fmla="*/ 165899 h 607780"/>
              <a:gd name="connsiteX125" fmla="*/ 72400 w 608697"/>
              <a:gd name="connsiteY125" fmla="*/ 175014 h 607780"/>
              <a:gd name="connsiteX126" fmla="*/ 63350 w 608697"/>
              <a:gd name="connsiteY126" fmla="*/ 184034 h 607780"/>
              <a:gd name="connsiteX127" fmla="*/ 9050 w 608697"/>
              <a:gd name="connsiteY127" fmla="*/ 184034 h 607780"/>
              <a:gd name="connsiteX128" fmla="*/ 0 w 608697"/>
              <a:gd name="connsiteY128" fmla="*/ 175014 h 607780"/>
              <a:gd name="connsiteX129" fmla="*/ 9050 w 608697"/>
              <a:gd name="connsiteY129" fmla="*/ 165899 h 607780"/>
              <a:gd name="connsiteX130" fmla="*/ 191490 w 608697"/>
              <a:gd name="connsiteY130" fmla="*/ 149807 h 607780"/>
              <a:gd name="connsiteX131" fmla="*/ 173577 w 608697"/>
              <a:gd name="connsiteY131" fmla="*/ 167697 h 607780"/>
              <a:gd name="connsiteX132" fmla="*/ 191490 w 608697"/>
              <a:gd name="connsiteY132" fmla="*/ 185588 h 607780"/>
              <a:gd name="connsiteX133" fmla="*/ 209403 w 608697"/>
              <a:gd name="connsiteY133" fmla="*/ 167697 h 607780"/>
              <a:gd name="connsiteX134" fmla="*/ 191490 w 608697"/>
              <a:gd name="connsiteY134" fmla="*/ 149807 h 607780"/>
              <a:gd name="connsiteX135" fmla="*/ 162983 w 608697"/>
              <a:gd name="connsiteY135" fmla="*/ 96040 h 607780"/>
              <a:gd name="connsiteX136" fmla="*/ 457780 w 608697"/>
              <a:gd name="connsiteY136" fmla="*/ 96040 h 607780"/>
              <a:gd name="connsiteX137" fmla="*/ 513928 w 608697"/>
              <a:gd name="connsiteY137" fmla="*/ 152115 h 607780"/>
              <a:gd name="connsiteX138" fmla="*/ 513928 w 608697"/>
              <a:gd name="connsiteY138" fmla="*/ 446634 h 607780"/>
              <a:gd name="connsiteX139" fmla="*/ 457780 w 608697"/>
              <a:gd name="connsiteY139" fmla="*/ 502709 h 607780"/>
              <a:gd name="connsiteX140" fmla="*/ 162983 w 608697"/>
              <a:gd name="connsiteY140" fmla="*/ 502709 h 607780"/>
              <a:gd name="connsiteX141" fmla="*/ 106836 w 608697"/>
              <a:gd name="connsiteY141" fmla="*/ 446634 h 607780"/>
              <a:gd name="connsiteX142" fmla="*/ 106836 w 608697"/>
              <a:gd name="connsiteY142" fmla="*/ 152115 h 607780"/>
              <a:gd name="connsiteX143" fmla="*/ 162983 w 608697"/>
              <a:gd name="connsiteY143" fmla="*/ 96040 h 607780"/>
              <a:gd name="connsiteX144" fmla="*/ 432518 w 608697"/>
              <a:gd name="connsiteY144" fmla="*/ 0 h 607780"/>
              <a:gd name="connsiteX145" fmla="*/ 441669 w 608697"/>
              <a:gd name="connsiteY145" fmla="*/ 9041 h 607780"/>
              <a:gd name="connsiteX146" fmla="*/ 441669 w 608697"/>
              <a:gd name="connsiteY146" fmla="*/ 63289 h 607780"/>
              <a:gd name="connsiteX147" fmla="*/ 432518 w 608697"/>
              <a:gd name="connsiteY147" fmla="*/ 72330 h 607780"/>
              <a:gd name="connsiteX148" fmla="*/ 423463 w 608697"/>
              <a:gd name="connsiteY148" fmla="*/ 63289 h 607780"/>
              <a:gd name="connsiteX149" fmla="*/ 423463 w 608697"/>
              <a:gd name="connsiteY149" fmla="*/ 9041 h 607780"/>
              <a:gd name="connsiteX150" fmla="*/ 432518 w 608697"/>
              <a:gd name="connsiteY150" fmla="*/ 0 h 607780"/>
              <a:gd name="connsiteX151" fmla="*/ 383134 w 608697"/>
              <a:gd name="connsiteY151" fmla="*/ 0 h 607780"/>
              <a:gd name="connsiteX152" fmla="*/ 392202 w 608697"/>
              <a:gd name="connsiteY152" fmla="*/ 9041 h 607780"/>
              <a:gd name="connsiteX153" fmla="*/ 392202 w 608697"/>
              <a:gd name="connsiteY153" fmla="*/ 63289 h 607780"/>
              <a:gd name="connsiteX154" fmla="*/ 383134 w 608697"/>
              <a:gd name="connsiteY154" fmla="*/ 72330 h 607780"/>
              <a:gd name="connsiteX155" fmla="*/ 374067 w 608697"/>
              <a:gd name="connsiteY155" fmla="*/ 63289 h 607780"/>
              <a:gd name="connsiteX156" fmla="*/ 374067 w 608697"/>
              <a:gd name="connsiteY156" fmla="*/ 9041 h 607780"/>
              <a:gd name="connsiteX157" fmla="*/ 383134 w 608697"/>
              <a:gd name="connsiteY157" fmla="*/ 0 h 607780"/>
              <a:gd name="connsiteX158" fmla="*/ 332764 w 608697"/>
              <a:gd name="connsiteY158" fmla="*/ 0 h 607780"/>
              <a:gd name="connsiteX159" fmla="*/ 341819 w 608697"/>
              <a:gd name="connsiteY159" fmla="*/ 9041 h 607780"/>
              <a:gd name="connsiteX160" fmla="*/ 341819 w 608697"/>
              <a:gd name="connsiteY160" fmla="*/ 63289 h 607780"/>
              <a:gd name="connsiteX161" fmla="*/ 332764 w 608697"/>
              <a:gd name="connsiteY161" fmla="*/ 72330 h 607780"/>
              <a:gd name="connsiteX162" fmla="*/ 323613 w 608697"/>
              <a:gd name="connsiteY162" fmla="*/ 63289 h 607780"/>
              <a:gd name="connsiteX163" fmla="*/ 323613 w 608697"/>
              <a:gd name="connsiteY163" fmla="*/ 9041 h 607780"/>
              <a:gd name="connsiteX164" fmla="*/ 332764 w 608697"/>
              <a:gd name="connsiteY164" fmla="*/ 0 h 607780"/>
              <a:gd name="connsiteX165" fmla="*/ 283249 w 608697"/>
              <a:gd name="connsiteY165" fmla="*/ 0 h 607780"/>
              <a:gd name="connsiteX166" fmla="*/ 292282 w 608697"/>
              <a:gd name="connsiteY166" fmla="*/ 9041 h 607780"/>
              <a:gd name="connsiteX167" fmla="*/ 292282 w 608697"/>
              <a:gd name="connsiteY167" fmla="*/ 63289 h 607780"/>
              <a:gd name="connsiteX168" fmla="*/ 283249 w 608697"/>
              <a:gd name="connsiteY168" fmla="*/ 72330 h 607780"/>
              <a:gd name="connsiteX169" fmla="*/ 274217 w 608697"/>
              <a:gd name="connsiteY169" fmla="*/ 63289 h 607780"/>
              <a:gd name="connsiteX170" fmla="*/ 274217 w 608697"/>
              <a:gd name="connsiteY170" fmla="*/ 9041 h 607780"/>
              <a:gd name="connsiteX171" fmla="*/ 283249 w 608697"/>
              <a:gd name="connsiteY171" fmla="*/ 0 h 607780"/>
              <a:gd name="connsiteX172" fmla="*/ 237712 w 608697"/>
              <a:gd name="connsiteY172" fmla="*/ 0 h 607780"/>
              <a:gd name="connsiteX173" fmla="*/ 246767 w 608697"/>
              <a:gd name="connsiteY173" fmla="*/ 9041 h 607780"/>
              <a:gd name="connsiteX174" fmla="*/ 246767 w 608697"/>
              <a:gd name="connsiteY174" fmla="*/ 63289 h 607780"/>
              <a:gd name="connsiteX175" fmla="*/ 237712 w 608697"/>
              <a:gd name="connsiteY175" fmla="*/ 72330 h 607780"/>
              <a:gd name="connsiteX176" fmla="*/ 228561 w 608697"/>
              <a:gd name="connsiteY176" fmla="*/ 63289 h 607780"/>
              <a:gd name="connsiteX177" fmla="*/ 228561 w 608697"/>
              <a:gd name="connsiteY177" fmla="*/ 9041 h 607780"/>
              <a:gd name="connsiteX178" fmla="*/ 237712 w 608697"/>
              <a:gd name="connsiteY178" fmla="*/ 0 h 607780"/>
              <a:gd name="connsiteX179" fmla="*/ 188198 w 608697"/>
              <a:gd name="connsiteY179" fmla="*/ 0 h 607780"/>
              <a:gd name="connsiteX180" fmla="*/ 197231 w 608697"/>
              <a:gd name="connsiteY180" fmla="*/ 9041 h 607780"/>
              <a:gd name="connsiteX181" fmla="*/ 197231 w 608697"/>
              <a:gd name="connsiteY181" fmla="*/ 63289 h 607780"/>
              <a:gd name="connsiteX182" fmla="*/ 188198 w 608697"/>
              <a:gd name="connsiteY182" fmla="*/ 72330 h 607780"/>
              <a:gd name="connsiteX183" fmla="*/ 179166 w 608697"/>
              <a:gd name="connsiteY183" fmla="*/ 63289 h 607780"/>
              <a:gd name="connsiteX184" fmla="*/ 179166 w 608697"/>
              <a:gd name="connsiteY184" fmla="*/ 9041 h 607780"/>
              <a:gd name="connsiteX185" fmla="*/ 188198 w 608697"/>
              <a:gd name="connsiteY185" fmla="*/ 0 h 607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608697" h="607780">
                <a:moveTo>
                  <a:pt x="432518" y="535450"/>
                </a:moveTo>
                <a:cubicBezTo>
                  <a:pt x="437527" y="535450"/>
                  <a:pt x="441669" y="539490"/>
                  <a:pt x="441669" y="544491"/>
                </a:cubicBezTo>
                <a:lnTo>
                  <a:pt x="441669" y="598739"/>
                </a:lnTo>
                <a:cubicBezTo>
                  <a:pt x="441669" y="603741"/>
                  <a:pt x="437527" y="607780"/>
                  <a:pt x="432518" y="607780"/>
                </a:cubicBezTo>
                <a:cubicBezTo>
                  <a:pt x="427509" y="607780"/>
                  <a:pt x="423463" y="603741"/>
                  <a:pt x="423463" y="598739"/>
                </a:cubicBezTo>
                <a:lnTo>
                  <a:pt x="423463" y="544491"/>
                </a:lnTo>
                <a:cubicBezTo>
                  <a:pt x="423463" y="539490"/>
                  <a:pt x="427509" y="535450"/>
                  <a:pt x="432518" y="535450"/>
                </a:cubicBezTo>
                <a:close/>
                <a:moveTo>
                  <a:pt x="383134" y="535450"/>
                </a:moveTo>
                <a:cubicBezTo>
                  <a:pt x="388150" y="535450"/>
                  <a:pt x="392202" y="539490"/>
                  <a:pt x="392202" y="544491"/>
                </a:cubicBezTo>
                <a:lnTo>
                  <a:pt x="392202" y="598739"/>
                </a:lnTo>
                <a:cubicBezTo>
                  <a:pt x="392202" y="603741"/>
                  <a:pt x="388150" y="607780"/>
                  <a:pt x="383134" y="607780"/>
                </a:cubicBezTo>
                <a:cubicBezTo>
                  <a:pt x="378118" y="607780"/>
                  <a:pt x="374067" y="603741"/>
                  <a:pt x="374067" y="598739"/>
                </a:cubicBezTo>
                <a:lnTo>
                  <a:pt x="374067" y="544491"/>
                </a:lnTo>
                <a:cubicBezTo>
                  <a:pt x="374067" y="539490"/>
                  <a:pt x="378118" y="535450"/>
                  <a:pt x="383134" y="535450"/>
                </a:cubicBezTo>
                <a:close/>
                <a:moveTo>
                  <a:pt x="332764" y="535450"/>
                </a:moveTo>
                <a:cubicBezTo>
                  <a:pt x="337773" y="535450"/>
                  <a:pt x="341819" y="539490"/>
                  <a:pt x="341819" y="544491"/>
                </a:cubicBezTo>
                <a:lnTo>
                  <a:pt x="341819" y="598739"/>
                </a:lnTo>
                <a:cubicBezTo>
                  <a:pt x="341819" y="603741"/>
                  <a:pt x="337773" y="607780"/>
                  <a:pt x="332764" y="607780"/>
                </a:cubicBezTo>
                <a:cubicBezTo>
                  <a:pt x="327755" y="607780"/>
                  <a:pt x="323613" y="603741"/>
                  <a:pt x="323613" y="598739"/>
                </a:cubicBezTo>
                <a:lnTo>
                  <a:pt x="323613" y="544491"/>
                </a:lnTo>
                <a:cubicBezTo>
                  <a:pt x="323613" y="539490"/>
                  <a:pt x="327755" y="535450"/>
                  <a:pt x="332764" y="535450"/>
                </a:cubicBezTo>
                <a:close/>
                <a:moveTo>
                  <a:pt x="283249" y="535450"/>
                </a:moveTo>
                <a:cubicBezTo>
                  <a:pt x="288246" y="535450"/>
                  <a:pt x="292282" y="539490"/>
                  <a:pt x="292282" y="544491"/>
                </a:cubicBezTo>
                <a:lnTo>
                  <a:pt x="292282" y="598739"/>
                </a:lnTo>
                <a:cubicBezTo>
                  <a:pt x="292282" y="603741"/>
                  <a:pt x="288246" y="607780"/>
                  <a:pt x="283249" y="607780"/>
                </a:cubicBezTo>
                <a:cubicBezTo>
                  <a:pt x="278253" y="607780"/>
                  <a:pt x="274217" y="603741"/>
                  <a:pt x="274217" y="598739"/>
                </a:cubicBezTo>
                <a:lnTo>
                  <a:pt x="274217" y="544491"/>
                </a:lnTo>
                <a:cubicBezTo>
                  <a:pt x="274217" y="539490"/>
                  <a:pt x="278253" y="535450"/>
                  <a:pt x="283249" y="535450"/>
                </a:cubicBezTo>
                <a:close/>
                <a:moveTo>
                  <a:pt x="237712" y="535450"/>
                </a:moveTo>
                <a:cubicBezTo>
                  <a:pt x="242625" y="535450"/>
                  <a:pt x="246767" y="539490"/>
                  <a:pt x="246767" y="544491"/>
                </a:cubicBezTo>
                <a:lnTo>
                  <a:pt x="246767" y="598739"/>
                </a:lnTo>
                <a:cubicBezTo>
                  <a:pt x="246767" y="603741"/>
                  <a:pt x="242625" y="607780"/>
                  <a:pt x="237712" y="607780"/>
                </a:cubicBezTo>
                <a:cubicBezTo>
                  <a:pt x="232607" y="607780"/>
                  <a:pt x="228561" y="603741"/>
                  <a:pt x="228561" y="598739"/>
                </a:cubicBezTo>
                <a:lnTo>
                  <a:pt x="228561" y="544491"/>
                </a:lnTo>
                <a:cubicBezTo>
                  <a:pt x="228561" y="539490"/>
                  <a:pt x="232607" y="535450"/>
                  <a:pt x="237712" y="535450"/>
                </a:cubicBezTo>
                <a:close/>
                <a:moveTo>
                  <a:pt x="188175" y="535450"/>
                </a:moveTo>
                <a:cubicBezTo>
                  <a:pt x="193184" y="535450"/>
                  <a:pt x="197230" y="539490"/>
                  <a:pt x="197230" y="544491"/>
                </a:cubicBezTo>
                <a:lnTo>
                  <a:pt x="197230" y="598739"/>
                </a:lnTo>
                <a:cubicBezTo>
                  <a:pt x="197230" y="603741"/>
                  <a:pt x="193184" y="607780"/>
                  <a:pt x="188175" y="607780"/>
                </a:cubicBezTo>
                <a:cubicBezTo>
                  <a:pt x="183166" y="607780"/>
                  <a:pt x="179024" y="603741"/>
                  <a:pt x="179024" y="598739"/>
                </a:cubicBezTo>
                <a:lnTo>
                  <a:pt x="179024" y="544491"/>
                </a:lnTo>
                <a:cubicBezTo>
                  <a:pt x="179024" y="539490"/>
                  <a:pt x="183166" y="535450"/>
                  <a:pt x="188175" y="535450"/>
                </a:cubicBezTo>
                <a:close/>
                <a:moveTo>
                  <a:pt x="545285" y="409985"/>
                </a:moveTo>
                <a:lnTo>
                  <a:pt x="599638" y="409985"/>
                </a:lnTo>
                <a:cubicBezTo>
                  <a:pt x="604650" y="409985"/>
                  <a:pt x="608697" y="414021"/>
                  <a:pt x="608697" y="419018"/>
                </a:cubicBezTo>
                <a:cubicBezTo>
                  <a:pt x="608697" y="424014"/>
                  <a:pt x="604650" y="428050"/>
                  <a:pt x="599638" y="428050"/>
                </a:cubicBezTo>
                <a:lnTo>
                  <a:pt x="545285" y="428050"/>
                </a:lnTo>
                <a:cubicBezTo>
                  <a:pt x="540274" y="428050"/>
                  <a:pt x="536226" y="424014"/>
                  <a:pt x="536226" y="419018"/>
                </a:cubicBezTo>
                <a:cubicBezTo>
                  <a:pt x="536226" y="414021"/>
                  <a:pt x="540274" y="409985"/>
                  <a:pt x="545285" y="409985"/>
                </a:cubicBezTo>
                <a:close/>
                <a:moveTo>
                  <a:pt x="9050" y="409985"/>
                </a:moveTo>
                <a:lnTo>
                  <a:pt x="63350" y="409985"/>
                </a:lnTo>
                <a:cubicBezTo>
                  <a:pt x="68356" y="409985"/>
                  <a:pt x="72400" y="414021"/>
                  <a:pt x="72400" y="419018"/>
                </a:cubicBezTo>
                <a:cubicBezTo>
                  <a:pt x="72400" y="424014"/>
                  <a:pt x="68356" y="428050"/>
                  <a:pt x="63350" y="428050"/>
                </a:cubicBezTo>
                <a:lnTo>
                  <a:pt x="9050" y="428050"/>
                </a:lnTo>
                <a:cubicBezTo>
                  <a:pt x="4043" y="428050"/>
                  <a:pt x="0" y="424014"/>
                  <a:pt x="0" y="419018"/>
                </a:cubicBezTo>
                <a:cubicBezTo>
                  <a:pt x="0" y="414021"/>
                  <a:pt x="4043" y="409985"/>
                  <a:pt x="9050" y="409985"/>
                </a:cubicBezTo>
                <a:close/>
                <a:moveTo>
                  <a:pt x="545285" y="360519"/>
                </a:moveTo>
                <a:lnTo>
                  <a:pt x="599638" y="360519"/>
                </a:lnTo>
                <a:cubicBezTo>
                  <a:pt x="604650" y="360519"/>
                  <a:pt x="608697" y="364565"/>
                  <a:pt x="608697" y="369574"/>
                </a:cubicBezTo>
                <a:cubicBezTo>
                  <a:pt x="608697" y="374679"/>
                  <a:pt x="604650" y="378725"/>
                  <a:pt x="599638" y="378725"/>
                </a:cubicBezTo>
                <a:lnTo>
                  <a:pt x="545285" y="378725"/>
                </a:lnTo>
                <a:cubicBezTo>
                  <a:pt x="540274" y="378725"/>
                  <a:pt x="536226" y="374679"/>
                  <a:pt x="536226" y="369574"/>
                </a:cubicBezTo>
                <a:cubicBezTo>
                  <a:pt x="536226" y="364565"/>
                  <a:pt x="540274" y="360519"/>
                  <a:pt x="545285" y="360519"/>
                </a:cubicBezTo>
                <a:close/>
                <a:moveTo>
                  <a:pt x="9050" y="360519"/>
                </a:moveTo>
                <a:lnTo>
                  <a:pt x="63350" y="360519"/>
                </a:lnTo>
                <a:cubicBezTo>
                  <a:pt x="68356" y="360519"/>
                  <a:pt x="72400" y="364565"/>
                  <a:pt x="72400" y="369574"/>
                </a:cubicBezTo>
                <a:cubicBezTo>
                  <a:pt x="72400" y="374679"/>
                  <a:pt x="68356" y="378725"/>
                  <a:pt x="63350" y="378725"/>
                </a:cubicBezTo>
                <a:lnTo>
                  <a:pt x="9050" y="378725"/>
                </a:lnTo>
                <a:cubicBezTo>
                  <a:pt x="4043" y="378725"/>
                  <a:pt x="0" y="374679"/>
                  <a:pt x="0" y="369574"/>
                </a:cubicBezTo>
                <a:cubicBezTo>
                  <a:pt x="0" y="364565"/>
                  <a:pt x="4043" y="360519"/>
                  <a:pt x="9050" y="360519"/>
                </a:cubicBezTo>
                <a:close/>
                <a:moveTo>
                  <a:pt x="545285" y="314933"/>
                </a:moveTo>
                <a:lnTo>
                  <a:pt x="599638" y="314933"/>
                </a:lnTo>
                <a:cubicBezTo>
                  <a:pt x="604650" y="314933"/>
                  <a:pt x="608697" y="319075"/>
                  <a:pt x="608697" y="324084"/>
                </a:cubicBezTo>
                <a:cubicBezTo>
                  <a:pt x="608697" y="328997"/>
                  <a:pt x="604650" y="333139"/>
                  <a:pt x="599638" y="333139"/>
                </a:cubicBezTo>
                <a:lnTo>
                  <a:pt x="545285" y="333139"/>
                </a:lnTo>
                <a:cubicBezTo>
                  <a:pt x="540274" y="333139"/>
                  <a:pt x="536226" y="328997"/>
                  <a:pt x="536226" y="324084"/>
                </a:cubicBezTo>
                <a:cubicBezTo>
                  <a:pt x="536226" y="319075"/>
                  <a:pt x="540274" y="314933"/>
                  <a:pt x="545285" y="314933"/>
                </a:cubicBezTo>
                <a:close/>
                <a:moveTo>
                  <a:pt x="9050" y="314933"/>
                </a:moveTo>
                <a:lnTo>
                  <a:pt x="63350" y="314933"/>
                </a:lnTo>
                <a:cubicBezTo>
                  <a:pt x="68356" y="314933"/>
                  <a:pt x="72400" y="319075"/>
                  <a:pt x="72400" y="324084"/>
                </a:cubicBezTo>
                <a:cubicBezTo>
                  <a:pt x="72400" y="328997"/>
                  <a:pt x="68356" y="333139"/>
                  <a:pt x="63350" y="333139"/>
                </a:cubicBezTo>
                <a:lnTo>
                  <a:pt x="9050" y="333139"/>
                </a:lnTo>
                <a:cubicBezTo>
                  <a:pt x="4043" y="333139"/>
                  <a:pt x="0" y="328997"/>
                  <a:pt x="0" y="324084"/>
                </a:cubicBezTo>
                <a:cubicBezTo>
                  <a:pt x="0" y="319075"/>
                  <a:pt x="4043" y="314933"/>
                  <a:pt x="9050" y="314933"/>
                </a:cubicBezTo>
                <a:close/>
                <a:moveTo>
                  <a:pt x="545285" y="265608"/>
                </a:moveTo>
                <a:lnTo>
                  <a:pt x="599638" y="265608"/>
                </a:lnTo>
                <a:cubicBezTo>
                  <a:pt x="604650" y="265608"/>
                  <a:pt x="608697" y="269654"/>
                  <a:pt x="608697" y="274759"/>
                </a:cubicBezTo>
                <a:cubicBezTo>
                  <a:pt x="608697" y="279768"/>
                  <a:pt x="604650" y="283814"/>
                  <a:pt x="599638" y="283814"/>
                </a:cubicBezTo>
                <a:lnTo>
                  <a:pt x="545285" y="283814"/>
                </a:lnTo>
                <a:cubicBezTo>
                  <a:pt x="540274" y="283814"/>
                  <a:pt x="536226" y="279768"/>
                  <a:pt x="536226" y="274759"/>
                </a:cubicBezTo>
                <a:cubicBezTo>
                  <a:pt x="536226" y="269654"/>
                  <a:pt x="540274" y="265608"/>
                  <a:pt x="545285" y="265608"/>
                </a:cubicBezTo>
                <a:close/>
                <a:moveTo>
                  <a:pt x="9050" y="265608"/>
                </a:moveTo>
                <a:lnTo>
                  <a:pt x="63350" y="265608"/>
                </a:lnTo>
                <a:cubicBezTo>
                  <a:pt x="68356" y="265608"/>
                  <a:pt x="72400" y="269654"/>
                  <a:pt x="72400" y="274759"/>
                </a:cubicBezTo>
                <a:cubicBezTo>
                  <a:pt x="72400" y="279768"/>
                  <a:pt x="68356" y="283814"/>
                  <a:pt x="63350" y="283814"/>
                </a:cubicBezTo>
                <a:lnTo>
                  <a:pt x="9050" y="283814"/>
                </a:lnTo>
                <a:cubicBezTo>
                  <a:pt x="4043" y="283814"/>
                  <a:pt x="0" y="279768"/>
                  <a:pt x="0" y="274759"/>
                </a:cubicBezTo>
                <a:cubicBezTo>
                  <a:pt x="0" y="269654"/>
                  <a:pt x="4043" y="265608"/>
                  <a:pt x="9050" y="265608"/>
                </a:cubicBezTo>
                <a:close/>
                <a:moveTo>
                  <a:pt x="545285" y="215295"/>
                </a:moveTo>
                <a:lnTo>
                  <a:pt x="599638" y="215295"/>
                </a:lnTo>
                <a:cubicBezTo>
                  <a:pt x="604650" y="215295"/>
                  <a:pt x="608697" y="219346"/>
                  <a:pt x="608697" y="224362"/>
                </a:cubicBezTo>
                <a:cubicBezTo>
                  <a:pt x="608697" y="229378"/>
                  <a:pt x="604650" y="233430"/>
                  <a:pt x="599638" y="233430"/>
                </a:cubicBezTo>
                <a:lnTo>
                  <a:pt x="545285" y="233430"/>
                </a:lnTo>
                <a:cubicBezTo>
                  <a:pt x="540274" y="233430"/>
                  <a:pt x="536226" y="229378"/>
                  <a:pt x="536226" y="224362"/>
                </a:cubicBezTo>
                <a:cubicBezTo>
                  <a:pt x="536226" y="219346"/>
                  <a:pt x="540274" y="215295"/>
                  <a:pt x="545285" y="215295"/>
                </a:cubicBezTo>
                <a:close/>
                <a:moveTo>
                  <a:pt x="9050" y="215295"/>
                </a:moveTo>
                <a:lnTo>
                  <a:pt x="63350" y="215295"/>
                </a:lnTo>
                <a:cubicBezTo>
                  <a:pt x="68356" y="215295"/>
                  <a:pt x="72400" y="219346"/>
                  <a:pt x="72400" y="224362"/>
                </a:cubicBezTo>
                <a:cubicBezTo>
                  <a:pt x="72400" y="229378"/>
                  <a:pt x="68356" y="233430"/>
                  <a:pt x="63350" y="233430"/>
                </a:cubicBezTo>
                <a:lnTo>
                  <a:pt x="9050" y="233430"/>
                </a:lnTo>
                <a:cubicBezTo>
                  <a:pt x="4043" y="233430"/>
                  <a:pt x="0" y="229378"/>
                  <a:pt x="0" y="224362"/>
                </a:cubicBezTo>
                <a:cubicBezTo>
                  <a:pt x="0" y="219346"/>
                  <a:pt x="4043" y="215295"/>
                  <a:pt x="9050" y="215295"/>
                </a:cubicBezTo>
                <a:close/>
                <a:moveTo>
                  <a:pt x="217493" y="199054"/>
                </a:moveTo>
                <a:lnTo>
                  <a:pt x="217493" y="388249"/>
                </a:lnTo>
                <a:lnTo>
                  <a:pt x="405197" y="388249"/>
                </a:lnTo>
                <a:lnTo>
                  <a:pt x="405197" y="199054"/>
                </a:lnTo>
                <a:close/>
                <a:moveTo>
                  <a:pt x="545285" y="165899"/>
                </a:moveTo>
                <a:lnTo>
                  <a:pt x="599638" y="165899"/>
                </a:lnTo>
                <a:cubicBezTo>
                  <a:pt x="604650" y="165899"/>
                  <a:pt x="608697" y="170025"/>
                  <a:pt x="608697" y="174918"/>
                </a:cubicBezTo>
                <a:cubicBezTo>
                  <a:pt x="608697" y="179908"/>
                  <a:pt x="604650" y="184034"/>
                  <a:pt x="599638" y="184034"/>
                </a:cubicBezTo>
                <a:lnTo>
                  <a:pt x="545285" y="184034"/>
                </a:lnTo>
                <a:cubicBezTo>
                  <a:pt x="540274" y="184034"/>
                  <a:pt x="536226" y="179908"/>
                  <a:pt x="536226" y="174918"/>
                </a:cubicBezTo>
                <a:cubicBezTo>
                  <a:pt x="536226" y="170025"/>
                  <a:pt x="540274" y="165899"/>
                  <a:pt x="545285" y="165899"/>
                </a:cubicBezTo>
                <a:close/>
                <a:moveTo>
                  <a:pt x="9050" y="165899"/>
                </a:moveTo>
                <a:lnTo>
                  <a:pt x="63350" y="165899"/>
                </a:lnTo>
                <a:cubicBezTo>
                  <a:pt x="68356" y="165899"/>
                  <a:pt x="72400" y="170025"/>
                  <a:pt x="72400" y="175014"/>
                </a:cubicBezTo>
                <a:cubicBezTo>
                  <a:pt x="72400" y="179908"/>
                  <a:pt x="68356" y="184034"/>
                  <a:pt x="63350" y="184034"/>
                </a:cubicBezTo>
                <a:lnTo>
                  <a:pt x="9050" y="184034"/>
                </a:lnTo>
                <a:cubicBezTo>
                  <a:pt x="4043" y="184034"/>
                  <a:pt x="0" y="179908"/>
                  <a:pt x="0" y="175014"/>
                </a:cubicBezTo>
                <a:cubicBezTo>
                  <a:pt x="0" y="170025"/>
                  <a:pt x="4043" y="165899"/>
                  <a:pt x="9050" y="165899"/>
                </a:cubicBezTo>
                <a:close/>
                <a:moveTo>
                  <a:pt x="191490" y="149807"/>
                </a:moveTo>
                <a:cubicBezTo>
                  <a:pt x="181570" y="149807"/>
                  <a:pt x="173577" y="157790"/>
                  <a:pt x="173577" y="167697"/>
                </a:cubicBezTo>
                <a:cubicBezTo>
                  <a:pt x="173577" y="177508"/>
                  <a:pt x="181570" y="185588"/>
                  <a:pt x="191490" y="185588"/>
                </a:cubicBezTo>
                <a:cubicBezTo>
                  <a:pt x="201313" y="185588"/>
                  <a:pt x="209403" y="177508"/>
                  <a:pt x="209403" y="167697"/>
                </a:cubicBezTo>
                <a:cubicBezTo>
                  <a:pt x="209403" y="157790"/>
                  <a:pt x="201313" y="149807"/>
                  <a:pt x="191490" y="149807"/>
                </a:cubicBezTo>
                <a:close/>
                <a:moveTo>
                  <a:pt x="162983" y="96040"/>
                </a:moveTo>
                <a:lnTo>
                  <a:pt x="457780" y="96040"/>
                </a:lnTo>
                <a:cubicBezTo>
                  <a:pt x="488791" y="96040"/>
                  <a:pt x="513928" y="121240"/>
                  <a:pt x="513928" y="152115"/>
                </a:cubicBezTo>
                <a:lnTo>
                  <a:pt x="513928" y="446634"/>
                </a:lnTo>
                <a:cubicBezTo>
                  <a:pt x="513928" y="477509"/>
                  <a:pt x="488791" y="502709"/>
                  <a:pt x="457780" y="502709"/>
                </a:cubicBezTo>
                <a:lnTo>
                  <a:pt x="162983" y="502709"/>
                </a:lnTo>
                <a:cubicBezTo>
                  <a:pt x="131972" y="502709"/>
                  <a:pt x="106836" y="477509"/>
                  <a:pt x="106836" y="446634"/>
                </a:cubicBezTo>
                <a:lnTo>
                  <a:pt x="106836" y="152115"/>
                </a:lnTo>
                <a:cubicBezTo>
                  <a:pt x="106836" y="121240"/>
                  <a:pt x="131972" y="96040"/>
                  <a:pt x="162983" y="96040"/>
                </a:cubicBezTo>
                <a:close/>
                <a:moveTo>
                  <a:pt x="432518" y="0"/>
                </a:moveTo>
                <a:cubicBezTo>
                  <a:pt x="437527" y="0"/>
                  <a:pt x="441669" y="4039"/>
                  <a:pt x="441669" y="9041"/>
                </a:cubicBezTo>
                <a:lnTo>
                  <a:pt x="441669" y="63289"/>
                </a:lnTo>
                <a:cubicBezTo>
                  <a:pt x="441669" y="68290"/>
                  <a:pt x="437527" y="72330"/>
                  <a:pt x="432518" y="72330"/>
                </a:cubicBezTo>
                <a:cubicBezTo>
                  <a:pt x="427605" y="72330"/>
                  <a:pt x="423463" y="68290"/>
                  <a:pt x="423463" y="63289"/>
                </a:cubicBezTo>
                <a:lnTo>
                  <a:pt x="423463" y="9041"/>
                </a:lnTo>
                <a:cubicBezTo>
                  <a:pt x="423463" y="4039"/>
                  <a:pt x="427509" y="0"/>
                  <a:pt x="432518" y="0"/>
                </a:cubicBezTo>
                <a:close/>
                <a:moveTo>
                  <a:pt x="383134" y="0"/>
                </a:moveTo>
                <a:cubicBezTo>
                  <a:pt x="388150" y="0"/>
                  <a:pt x="392202" y="4039"/>
                  <a:pt x="392202" y="9041"/>
                </a:cubicBezTo>
                <a:lnTo>
                  <a:pt x="392202" y="63289"/>
                </a:lnTo>
                <a:cubicBezTo>
                  <a:pt x="392202" y="68290"/>
                  <a:pt x="388150" y="72330"/>
                  <a:pt x="383134" y="72330"/>
                </a:cubicBezTo>
                <a:cubicBezTo>
                  <a:pt x="378118" y="72330"/>
                  <a:pt x="374067" y="68290"/>
                  <a:pt x="374067" y="63289"/>
                </a:cubicBezTo>
                <a:lnTo>
                  <a:pt x="374067" y="9041"/>
                </a:lnTo>
                <a:cubicBezTo>
                  <a:pt x="374067" y="4039"/>
                  <a:pt x="378118" y="0"/>
                  <a:pt x="383134" y="0"/>
                </a:cubicBezTo>
                <a:close/>
                <a:moveTo>
                  <a:pt x="332764" y="0"/>
                </a:moveTo>
                <a:cubicBezTo>
                  <a:pt x="337773" y="0"/>
                  <a:pt x="341819" y="4039"/>
                  <a:pt x="341819" y="9041"/>
                </a:cubicBezTo>
                <a:lnTo>
                  <a:pt x="341819" y="63289"/>
                </a:lnTo>
                <a:cubicBezTo>
                  <a:pt x="341819" y="68290"/>
                  <a:pt x="337773" y="72330"/>
                  <a:pt x="332764" y="72330"/>
                </a:cubicBezTo>
                <a:cubicBezTo>
                  <a:pt x="327755" y="72330"/>
                  <a:pt x="323613" y="68290"/>
                  <a:pt x="323613" y="63289"/>
                </a:cubicBezTo>
                <a:lnTo>
                  <a:pt x="323613" y="9041"/>
                </a:lnTo>
                <a:cubicBezTo>
                  <a:pt x="323613" y="4039"/>
                  <a:pt x="327755" y="0"/>
                  <a:pt x="332764" y="0"/>
                </a:cubicBezTo>
                <a:close/>
                <a:moveTo>
                  <a:pt x="283249" y="0"/>
                </a:moveTo>
                <a:cubicBezTo>
                  <a:pt x="288246" y="0"/>
                  <a:pt x="292282" y="4039"/>
                  <a:pt x="292282" y="9041"/>
                </a:cubicBezTo>
                <a:lnTo>
                  <a:pt x="292282" y="63289"/>
                </a:lnTo>
                <a:cubicBezTo>
                  <a:pt x="292282" y="68290"/>
                  <a:pt x="288246" y="72330"/>
                  <a:pt x="283249" y="72330"/>
                </a:cubicBezTo>
                <a:cubicBezTo>
                  <a:pt x="278253" y="72330"/>
                  <a:pt x="274217" y="68290"/>
                  <a:pt x="274217" y="63289"/>
                </a:cubicBezTo>
                <a:lnTo>
                  <a:pt x="274217" y="9041"/>
                </a:lnTo>
                <a:cubicBezTo>
                  <a:pt x="274217" y="4039"/>
                  <a:pt x="278253" y="0"/>
                  <a:pt x="283249" y="0"/>
                </a:cubicBezTo>
                <a:close/>
                <a:moveTo>
                  <a:pt x="237712" y="0"/>
                </a:moveTo>
                <a:cubicBezTo>
                  <a:pt x="242625" y="0"/>
                  <a:pt x="246767" y="4039"/>
                  <a:pt x="246767" y="9041"/>
                </a:cubicBezTo>
                <a:lnTo>
                  <a:pt x="246767" y="63289"/>
                </a:lnTo>
                <a:cubicBezTo>
                  <a:pt x="246767" y="68290"/>
                  <a:pt x="242625" y="72330"/>
                  <a:pt x="237712" y="72330"/>
                </a:cubicBezTo>
                <a:cubicBezTo>
                  <a:pt x="232607" y="72330"/>
                  <a:pt x="228561" y="68290"/>
                  <a:pt x="228561" y="63289"/>
                </a:cubicBezTo>
                <a:lnTo>
                  <a:pt x="228561" y="9041"/>
                </a:lnTo>
                <a:cubicBezTo>
                  <a:pt x="228561" y="4039"/>
                  <a:pt x="232607" y="0"/>
                  <a:pt x="237712" y="0"/>
                </a:cubicBezTo>
                <a:close/>
                <a:moveTo>
                  <a:pt x="188198" y="0"/>
                </a:moveTo>
                <a:cubicBezTo>
                  <a:pt x="193195" y="0"/>
                  <a:pt x="197231" y="4039"/>
                  <a:pt x="197231" y="9041"/>
                </a:cubicBezTo>
                <a:lnTo>
                  <a:pt x="197231" y="63289"/>
                </a:lnTo>
                <a:cubicBezTo>
                  <a:pt x="197231" y="68290"/>
                  <a:pt x="193195" y="72330"/>
                  <a:pt x="188198" y="72330"/>
                </a:cubicBezTo>
                <a:cubicBezTo>
                  <a:pt x="183202" y="72330"/>
                  <a:pt x="179166" y="68290"/>
                  <a:pt x="179166" y="63289"/>
                </a:cubicBezTo>
                <a:lnTo>
                  <a:pt x="179166" y="9041"/>
                </a:lnTo>
                <a:cubicBezTo>
                  <a:pt x="179166" y="4039"/>
                  <a:pt x="183202" y="0"/>
                  <a:pt x="188198" y="0"/>
                </a:cubicBezTo>
                <a:close/>
              </a:path>
            </a:pathLst>
          </a:custGeom>
          <a:solidFill>
            <a:srgbClr val="080B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37" name="terminal-windows_337"/>
          <p:cNvSpPr>
            <a:spLocks noChangeAspect="1"/>
          </p:cNvSpPr>
          <p:nvPr/>
        </p:nvSpPr>
        <p:spPr>
          <a:xfrm>
            <a:off x="5972189" y="4560222"/>
            <a:ext cx="229568" cy="196913"/>
          </a:xfrm>
          <a:custGeom>
            <a:avLst/>
            <a:gdLst>
              <a:gd name="connsiteX0" fmla="*/ 300015 w 589914"/>
              <a:gd name="connsiteY0" fmla="*/ 191963 h 506001"/>
              <a:gd name="connsiteX1" fmla="*/ 373122 w 589914"/>
              <a:gd name="connsiteY1" fmla="*/ 191963 h 506001"/>
              <a:gd name="connsiteX2" fmla="*/ 373122 w 589914"/>
              <a:gd name="connsiteY2" fmla="*/ 219321 h 506001"/>
              <a:gd name="connsiteX3" fmla="*/ 300015 w 589914"/>
              <a:gd name="connsiteY3" fmla="*/ 219321 h 506001"/>
              <a:gd name="connsiteX4" fmla="*/ 100465 w 589914"/>
              <a:gd name="connsiteY4" fmla="*/ 130351 h 506001"/>
              <a:gd name="connsiteX5" fmla="*/ 236794 w 589914"/>
              <a:gd name="connsiteY5" fmla="*/ 193452 h 506001"/>
              <a:gd name="connsiteX6" fmla="*/ 236794 w 589914"/>
              <a:gd name="connsiteY6" fmla="*/ 219266 h 506001"/>
              <a:gd name="connsiteX7" fmla="*/ 100465 w 589914"/>
              <a:gd name="connsiteY7" fmla="*/ 280933 h 506001"/>
              <a:gd name="connsiteX8" fmla="*/ 100465 w 589914"/>
              <a:gd name="connsiteY8" fmla="*/ 250817 h 506001"/>
              <a:gd name="connsiteX9" fmla="*/ 205223 w 589914"/>
              <a:gd name="connsiteY9" fmla="*/ 206359 h 506001"/>
              <a:gd name="connsiteX10" fmla="*/ 205223 w 589914"/>
              <a:gd name="connsiteY10" fmla="*/ 204925 h 506001"/>
              <a:gd name="connsiteX11" fmla="*/ 100465 w 589914"/>
              <a:gd name="connsiteY11" fmla="*/ 160467 h 506001"/>
              <a:gd name="connsiteX12" fmla="*/ 41624 w 589914"/>
              <a:gd name="connsiteY12" fmla="*/ 106074 h 506001"/>
              <a:gd name="connsiteX13" fmla="*/ 41624 w 589914"/>
              <a:gd name="connsiteY13" fmla="*/ 464431 h 506001"/>
              <a:gd name="connsiteX14" fmla="*/ 548290 w 589914"/>
              <a:gd name="connsiteY14" fmla="*/ 464431 h 506001"/>
              <a:gd name="connsiteX15" fmla="*/ 548290 w 589914"/>
              <a:gd name="connsiteY15" fmla="*/ 106074 h 506001"/>
              <a:gd name="connsiteX16" fmla="*/ 136355 w 589914"/>
              <a:gd name="connsiteY16" fmla="*/ 31535 h 506001"/>
              <a:gd name="connsiteX17" fmla="*/ 116260 w 589914"/>
              <a:gd name="connsiteY17" fmla="*/ 53037 h 506001"/>
              <a:gd name="connsiteX18" fmla="*/ 136355 w 589914"/>
              <a:gd name="connsiteY18" fmla="*/ 74538 h 506001"/>
              <a:gd name="connsiteX19" fmla="*/ 157884 w 589914"/>
              <a:gd name="connsiteY19" fmla="*/ 53037 h 506001"/>
              <a:gd name="connsiteX20" fmla="*/ 136355 w 589914"/>
              <a:gd name="connsiteY20" fmla="*/ 31535 h 506001"/>
              <a:gd name="connsiteX21" fmla="*/ 73201 w 589914"/>
              <a:gd name="connsiteY21" fmla="*/ 31535 h 506001"/>
              <a:gd name="connsiteX22" fmla="*/ 53106 w 589914"/>
              <a:gd name="connsiteY22" fmla="*/ 53037 h 506001"/>
              <a:gd name="connsiteX23" fmla="*/ 73201 w 589914"/>
              <a:gd name="connsiteY23" fmla="*/ 74538 h 506001"/>
              <a:gd name="connsiteX24" fmla="*/ 94731 w 589914"/>
              <a:gd name="connsiteY24" fmla="*/ 53037 h 506001"/>
              <a:gd name="connsiteX25" fmla="*/ 73201 w 589914"/>
              <a:gd name="connsiteY25" fmla="*/ 31535 h 506001"/>
              <a:gd name="connsiteX26" fmla="*/ 41624 w 589914"/>
              <a:gd name="connsiteY26" fmla="*/ 0 h 506001"/>
              <a:gd name="connsiteX27" fmla="*/ 548290 w 589914"/>
              <a:gd name="connsiteY27" fmla="*/ 0 h 506001"/>
              <a:gd name="connsiteX28" fmla="*/ 589914 w 589914"/>
              <a:gd name="connsiteY28" fmla="*/ 43003 h 506001"/>
              <a:gd name="connsiteX29" fmla="*/ 589914 w 589914"/>
              <a:gd name="connsiteY29" fmla="*/ 464431 h 506001"/>
              <a:gd name="connsiteX30" fmla="*/ 548290 w 589914"/>
              <a:gd name="connsiteY30" fmla="*/ 506001 h 506001"/>
              <a:gd name="connsiteX31" fmla="*/ 41624 w 589914"/>
              <a:gd name="connsiteY31" fmla="*/ 506001 h 506001"/>
              <a:gd name="connsiteX32" fmla="*/ 0 w 589914"/>
              <a:gd name="connsiteY32" fmla="*/ 464431 h 506001"/>
              <a:gd name="connsiteX33" fmla="*/ 0 w 589914"/>
              <a:gd name="connsiteY33" fmla="*/ 43003 h 506001"/>
              <a:gd name="connsiteX34" fmla="*/ 41624 w 589914"/>
              <a:gd name="connsiteY34" fmla="*/ 0 h 506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89914" h="506001">
                <a:moveTo>
                  <a:pt x="300015" y="191963"/>
                </a:moveTo>
                <a:lnTo>
                  <a:pt x="373122" y="191963"/>
                </a:lnTo>
                <a:lnTo>
                  <a:pt x="373122" y="219321"/>
                </a:lnTo>
                <a:lnTo>
                  <a:pt x="300015" y="219321"/>
                </a:lnTo>
                <a:close/>
                <a:moveTo>
                  <a:pt x="100465" y="130351"/>
                </a:moveTo>
                <a:lnTo>
                  <a:pt x="236794" y="193452"/>
                </a:lnTo>
                <a:lnTo>
                  <a:pt x="236794" y="219266"/>
                </a:lnTo>
                <a:lnTo>
                  <a:pt x="100465" y="280933"/>
                </a:lnTo>
                <a:lnTo>
                  <a:pt x="100465" y="250817"/>
                </a:lnTo>
                <a:lnTo>
                  <a:pt x="205223" y="206359"/>
                </a:lnTo>
                <a:lnTo>
                  <a:pt x="205223" y="204925"/>
                </a:lnTo>
                <a:lnTo>
                  <a:pt x="100465" y="160467"/>
                </a:lnTo>
                <a:close/>
                <a:moveTo>
                  <a:pt x="41624" y="106074"/>
                </a:moveTo>
                <a:lnTo>
                  <a:pt x="41624" y="464431"/>
                </a:lnTo>
                <a:lnTo>
                  <a:pt x="548290" y="464431"/>
                </a:lnTo>
                <a:lnTo>
                  <a:pt x="548290" y="106074"/>
                </a:lnTo>
                <a:close/>
                <a:moveTo>
                  <a:pt x="136355" y="31535"/>
                </a:moveTo>
                <a:cubicBezTo>
                  <a:pt x="124872" y="31535"/>
                  <a:pt x="116260" y="41569"/>
                  <a:pt x="116260" y="53037"/>
                </a:cubicBezTo>
                <a:cubicBezTo>
                  <a:pt x="116260" y="64504"/>
                  <a:pt x="124872" y="74538"/>
                  <a:pt x="136355" y="74538"/>
                </a:cubicBezTo>
                <a:cubicBezTo>
                  <a:pt x="149273" y="74538"/>
                  <a:pt x="157884" y="64504"/>
                  <a:pt x="157884" y="53037"/>
                </a:cubicBezTo>
                <a:cubicBezTo>
                  <a:pt x="157884" y="41569"/>
                  <a:pt x="149273" y="31535"/>
                  <a:pt x="136355" y="31535"/>
                </a:cubicBezTo>
                <a:close/>
                <a:moveTo>
                  <a:pt x="73201" y="31535"/>
                </a:moveTo>
                <a:cubicBezTo>
                  <a:pt x="61718" y="31535"/>
                  <a:pt x="53106" y="41569"/>
                  <a:pt x="53106" y="53037"/>
                </a:cubicBezTo>
                <a:cubicBezTo>
                  <a:pt x="53106" y="64504"/>
                  <a:pt x="61718" y="74538"/>
                  <a:pt x="73201" y="74538"/>
                </a:cubicBezTo>
                <a:cubicBezTo>
                  <a:pt x="86119" y="74538"/>
                  <a:pt x="94731" y="64504"/>
                  <a:pt x="94731" y="53037"/>
                </a:cubicBezTo>
                <a:cubicBezTo>
                  <a:pt x="94731" y="41569"/>
                  <a:pt x="86119" y="31535"/>
                  <a:pt x="73201" y="31535"/>
                </a:cubicBezTo>
                <a:close/>
                <a:moveTo>
                  <a:pt x="41624" y="0"/>
                </a:moveTo>
                <a:lnTo>
                  <a:pt x="548290" y="0"/>
                </a:lnTo>
                <a:cubicBezTo>
                  <a:pt x="571255" y="0"/>
                  <a:pt x="589914" y="20068"/>
                  <a:pt x="589914" y="43003"/>
                </a:cubicBezTo>
                <a:lnTo>
                  <a:pt x="589914" y="464431"/>
                </a:lnTo>
                <a:cubicBezTo>
                  <a:pt x="589914" y="487366"/>
                  <a:pt x="571255" y="506001"/>
                  <a:pt x="548290" y="506001"/>
                </a:cubicBezTo>
                <a:lnTo>
                  <a:pt x="41624" y="506001"/>
                </a:lnTo>
                <a:cubicBezTo>
                  <a:pt x="18659" y="506001"/>
                  <a:pt x="0" y="487366"/>
                  <a:pt x="0" y="464431"/>
                </a:cubicBezTo>
                <a:lnTo>
                  <a:pt x="0" y="43003"/>
                </a:lnTo>
                <a:cubicBezTo>
                  <a:pt x="0" y="20068"/>
                  <a:pt x="18659" y="0"/>
                  <a:pt x="41624" y="0"/>
                </a:cubicBezTo>
                <a:close/>
              </a:path>
            </a:pathLst>
          </a:custGeom>
          <a:solidFill>
            <a:srgbClr val="080B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38" name="rectangular-processor_77615"/>
          <p:cNvSpPr>
            <a:spLocks noChangeAspect="1"/>
          </p:cNvSpPr>
          <p:nvPr/>
        </p:nvSpPr>
        <p:spPr>
          <a:xfrm>
            <a:off x="6896625" y="3673070"/>
            <a:ext cx="201796" cy="225428"/>
          </a:xfrm>
          <a:custGeom>
            <a:avLst/>
            <a:gdLst>
              <a:gd name="connsiteX0" fmla="*/ 444703 w 544130"/>
              <a:gd name="connsiteY0" fmla="*/ 537144 h 607851"/>
              <a:gd name="connsiteX1" fmla="*/ 544130 w 544130"/>
              <a:gd name="connsiteY1" fmla="*/ 537144 h 607851"/>
              <a:gd name="connsiteX2" fmla="*/ 544130 w 544130"/>
              <a:gd name="connsiteY2" fmla="*/ 556973 h 607851"/>
              <a:gd name="connsiteX3" fmla="*/ 444703 w 544130"/>
              <a:gd name="connsiteY3" fmla="*/ 556973 h 607851"/>
              <a:gd name="connsiteX4" fmla="*/ 0 w 544130"/>
              <a:gd name="connsiteY4" fmla="*/ 537144 h 607851"/>
              <a:gd name="connsiteX5" fmla="*/ 99356 w 544130"/>
              <a:gd name="connsiteY5" fmla="*/ 537144 h 607851"/>
              <a:gd name="connsiteX6" fmla="*/ 99356 w 544130"/>
              <a:gd name="connsiteY6" fmla="*/ 556973 h 607851"/>
              <a:gd name="connsiteX7" fmla="*/ 0 w 544130"/>
              <a:gd name="connsiteY7" fmla="*/ 556973 h 607851"/>
              <a:gd name="connsiteX8" fmla="*/ 444703 w 544130"/>
              <a:gd name="connsiteY8" fmla="*/ 415560 h 607851"/>
              <a:gd name="connsiteX9" fmla="*/ 544130 w 544130"/>
              <a:gd name="connsiteY9" fmla="*/ 415560 h 607851"/>
              <a:gd name="connsiteX10" fmla="*/ 544130 w 544130"/>
              <a:gd name="connsiteY10" fmla="*/ 435389 h 607851"/>
              <a:gd name="connsiteX11" fmla="*/ 444703 w 544130"/>
              <a:gd name="connsiteY11" fmla="*/ 435389 h 607851"/>
              <a:gd name="connsiteX12" fmla="*/ 0 w 544130"/>
              <a:gd name="connsiteY12" fmla="*/ 415560 h 607851"/>
              <a:gd name="connsiteX13" fmla="*/ 99356 w 544130"/>
              <a:gd name="connsiteY13" fmla="*/ 415560 h 607851"/>
              <a:gd name="connsiteX14" fmla="*/ 99356 w 544130"/>
              <a:gd name="connsiteY14" fmla="*/ 435389 h 607851"/>
              <a:gd name="connsiteX15" fmla="*/ 0 w 544130"/>
              <a:gd name="connsiteY15" fmla="*/ 435389 h 607851"/>
              <a:gd name="connsiteX16" fmla="*/ 444703 w 544130"/>
              <a:gd name="connsiteY16" fmla="*/ 293976 h 607851"/>
              <a:gd name="connsiteX17" fmla="*/ 544130 w 544130"/>
              <a:gd name="connsiteY17" fmla="*/ 293976 h 607851"/>
              <a:gd name="connsiteX18" fmla="*/ 544130 w 544130"/>
              <a:gd name="connsiteY18" fmla="*/ 313805 h 607851"/>
              <a:gd name="connsiteX19" fmla="*/ 444703 w 544130"/>
              <a:gd name="connsiteY19" fmla="*/ 313805 h 607851"/>
              <a:gd name="connsiteX20" fmla="*/ 0 w 544130"/>
              <a:gd name="connsiteY20" fmla="*/ 293976 h 607851"/>
              <a:gd name="connsiteX21" fmla="*/ 99356 w 544130"/>
              <a:gd name="connsiteY21" fmla="*/ 293976 h 607851"/>
              <a:gd name="connsiteX22" fmla="*/ 99356 w 544130"/>
              <a:gd name="connsiteY22" fmla="*/ 313805 h 607851"/>
              <a:gd name="connsiteX23" fmla="*/ 0 w 544130"/>
              <a:gd name="connsiteY23" fmla="*/ 313805 h 607851"/>
              <a:gd name="connsiteX24" fmla="*/ 444703 w 544130"/>
              <a:gd name="connsiteY24" fmla="*/ 172462 h 607851"/>
              <a:gd name="connsiteX25" fmla="*/ 544130 w 544130"/>
              <a:gd name="connsiteY25" fmla="*/ 172462 h 607851"/>
              <a:gd name="connsiteX26" fmla="*/ 544130 w 544130"/>
              <a:gd name="connsiteY26" fmla="*/ 192220 h 607851"/>
              <a:gd name="connsiteX27" fmla="*/ 444703 w 544130"/>
              <a:gd name="connsiteY27" fmla="*/ 192220 h 607851"/>
              <a:gd name="connsiteX28" fmla="*/ 0 w 544130"/>
              <a:gd name="connsiteY28" fmla="*/ 172462 h 607851"/>
              <a:gd name="connsiteX29" fmla="*/ 99356 w 544130"/>
              <a:gd name="connsiteY29" fmla="*/ 172462 h 607851"/>
              <a:gd name="connsiteX30" fmla="*/ 99356 w 544130"/>
              <a:gd name="connsiteY30" fmla="*/ 192220 h 607851"/>
              <a:gd name="connsiteX31" fmla="*/ 0 w 544130"/>
              <a:gd name="connsiteY31" fmla="*/ 192220 h 607851"/>
              <a:gd name="connsiteX32" fmla="*/ 444703 w 544130"/>
              <a:gd name="connsiteY32" fmla="*/ 50878 h 607851"/>
              <a:gd name="connsiteX33" fmla="*/ 544130 w 544130"/>
              <a:gd name="connsiteY33" fmla="*/ 50878 h 607851"/>
              <a:gd name="connsiteX34" fmla="*/ 544130 w 544130"/>
              <a:gd name="connsiteY34" fmla="*/ 70707 h 607851"/>
              <a:gd name="connsiteX35" fmla="*/ 444703 w 544130"/>
              <a:gd name="connsiteY35" fmla="*/ 70707 h 607851"/>
              <a:gd name="connsiteX36" fmla="*/ 0 w 544130"/>
              <a:gd name="connsiteY36" fmla="*/ 50878 h 607851"/>
              <a:gd name="connsiteX37" fmla="*/ 99356 w 544130"/>
              <a:gd name="connsiteY37" fmla="*/ 50878 h 607851"/>
              <a:gd name="connsiteX38" fmla="*/ 99356 w 544130"/>
              <a:gd name="connsiteY38" fmla="*/ 70707 h 607851"/>
              <a:gd name="connsiteX39" fmla="*/ 0 w 544130"/>
              <a:gd name="connsiteY39" fmla="*/ 70707 h 607851"/>
              <a:gd name="connsiteX40" fmla="*/ 167699 w 544130"/>
              <a:gd name="connsiteY40" fmla="*/ 37259 h 607851"/>
              <a:gd name="connsiteX41" fmla="*/ 376432 w 544130"/>
              <a:gd name="connsiteY41" fmla="*/ 37259 h 607851"/>
              <a:gd name="connsiteX42" fmla="*/ 388816 w 544130"/>
              <a:gd name="connsiteY42" fmla="*/ 49624 h 607851"/>
              <a:gd name="connsiteX43" fmla="*/ 388816 w 544130"/>
              <a:gd name="connsiteY43" fmla="*/ 558228 h 607851"/>
              <a:gd name="connsiteX44" fmla="*/ 376432 w 544130"/>
              <a:gd name="connsiteY44" fmla="*/ 570593 h 607851"/>
              <a:gd name="connsiteX45" fmla="*/ 167699 w 544130"/>
              <a:gd name="connsiteY45" fmla="*/ 570593 h 607851"/>
              <a:gd name="connsiteX46" fmla="*/ 155315 w 544130"/>
              <a:gd name="connsiteY46" fmla="*/ 558228 h 607851"/>
              <a:gd name="connsiteX47" fmla="*/ 155315 w 544130"/>
              <a:gd name="connsiteY47" fmla="*/ 553535 h 607851"/>
              <a:gd name="connsiteX48" fmla="*/ 155315 w 544130"/>
              <a:gd name="connsiteY48" fmla="*/ 49624 h 607851"/>
              <a:gd name="connsiteX49" fmla="*/ 167699 w 544130"/>
              <a:gd name="connsiteY49" fmla="*/ 37259 h 607851"/>
              <a:gd name="connsiteX50" fmla="*/ 167667 w 544130"/>
              <a:gd name="connsiteY50" fmla="*/ 12440 h 607851"/>
              <a:gd name="connsiteX51" fmla="*/ 130443 w 544130"/>
              <a:gd name="connsiteY51" fmla="*/ 49611 h 607851"/>
              <a:gd name="connsiteX52" fmla="*/ 130443 w 544130"/>
              <a:gd name="connsiteY52" fmla="*/ 553547 h 607851"/>
              <a:gd name="connsiteX53" fmla="*/ 130443 w 544130"/>
              <a:gd name="connsiteY53" fmla="*/ 558240 h 607851"/>
              <a:gd name="connsiteX54" fmla="*/ 167667 w 544130"/>
              <a:gd name="connsiteY54" fmla="*/ 595411 h 607851"/>
              <a:gd name="connsiteX55" fmla="*/ 376392 w 544130"/>
              <a:gd name="connsiteY55" fmla="*/ 595411 h 607851"/>
              <a:gd name="connsiteX56" fmla="*/ 413616 w 544130"/>
              <a:gd name="connsiteY56" fmla="*/ 558240 h 607851"/>
              <a:gd name="connsiteX57" fmla="*/ 413616 w 544130"/>
              <a:gd name="connsiteY57" fmla="*/ 49611 h 607851"/>
              <a:gd name="connsiteX58" fmla="*/ 376392 w 544130"/>
              <a:gd name="connsiteY58" fmla="*/ 12440 h 607851"/>
              <a:gd name="connsiteX59" fmla="*/ 167667 w 544130"/>
              <a:gd name="connsiteY59" fmla="*/ 0 h 607851"/>
              <a:gd name="connsiteX60" fmla="*/ 376392 w 544130"/>
              <a:gd name="connsiteY60" fmla="*/ 0 h 607851"/>
              <a:gd name="connsiteX61" fmla="*/ 426074 w 544130"/>
              <a:gd name="connsiteY61" fmla="*/ 49611 h 607851"/>
              <a:gd name="connsiteX62" fmla="*/ 426074 w 544130"/>
              <a:gd name="connsiteY62" fmla="*/ 55794 h 607851"/>
              <a:gd name="connsiteX63" fmla="*/ 426074 w 544130"/>
              <a:gd name="connsiteY63" fmla="*/ 68234 h 607851"/>
              <a:gd name="connsiteX64" fmla="*/ 426074 w 544130"/>
              <a:gd name="connsiteY64" fmla="*/ 539617 h 607851"/>
              <a:gd name="connsiteX65" fmla="*/ 426074 w 544130"/>
              <a:gd name="connsiteY65" fmla="*/ 552057 h 607851"/>
              <a:gd name="connsiteX66" fmla="*/ 426074 w 544130"/>
              <a:gd name="connsiteY66" fmla="*/ 558240 h 607851"/>
              <a:gd name="connsiteX67" fmla="*/ 376392 w 544130"/>
              <a:gd name="connsiteY67" fmla="*/ 607851 h 607851"/>
              <a:gd name="connsiteX68" fmla="*/ 167667 w 544130"/>
              <a:gd name="connsiteY68" fmla="*/ 607851 h 607851"/>
              <a:gd name="connsiteX69" fmla="*/ 117985 w 544130"/>
              <a:gd name="connsiteY69" fmla="*/ 558240 h 607851"/>
              <a:gd name="connsiteX70" fmla="*/ 117985 w 544130"/>
              <a:gd name="connsiteY70" fmla="*/ 555111 h 607851"/>
              <a:gd name="connsiteX71" fmla="*/ 117985 w 544130"/>
              <a:gd name="connsiteY71" fmla="*/ 552057 h 607851"/>
              <a:gd name="connsiteX72" fmla="*/ 117985 w 544130"/>
              <a:gd name="connsiteY72" fmla="*/ 539617 h 607851"/>
              <a:gd name="connsiteX73" fmla="*/ 117985 w 544130"/>
              <a:gd name="connsiteY73" fmla="*/ 68234 h 607851"/>
              <a:gd name="connsiteX74" fmla="*/ 117985 w 544130"/>
              <a:gd name="connsiteY74" fmla="*/ 55794 h 607851"/>
              <a:gd name="connsiteX75" fmla="*/ 117985 w 544130"/>
              <a:gd name="connsiteY75" fmla="*/ 49611 h 607851"/>
              <a:gd name="connsiteX76" fmla="*/ 167667 w 544130"/>
              <a:gd name="connsiteY76" fmla="*/ 0 h 60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44130" h="607851">
                <a:moveTo>
                  <a:pt x="444703" y="537144"/>
                </a:moveTo>
                <a:lnTo>
                  <a:pt x="544130" y="537144"/>
                </a:lnTo>
                <a:lnTo>
                  <a:pt x="544130" y="556973"/>
                </a:lnTo>
                <a:lnTo>
                  <a:pt x="444703" y="556973"/>
                </a:lnTo>
                <a:close/>
                <a:moveTo>
                  <a:pt x="0" y="537144"/>
                </a:moveTo>
                <a:lnTo>
                  <a:pt x="99356" y="537144"/>
                </a:lnTo>
                <a:lnTo>
                  <a:pt x="99356" y="556973"/>
                </a:lnTo>
                <a:lnTo>
                  <a:pt x="0" y="556973"/>
                </a:lnTo>
                <a:close/>
                <a:moveTo>
                  <a:pt x="444703" y="415560"/>
                </a:moveTo>
                <a:lnTo>
                  <a:pt x="544130" y="415560"/>
                </a:lnTo>
                <a:lnTo>
                  <a:pt x="544130" y="435389"/>
                </a:lnTo>
                <a:lnTo>
                  <a:pt x="444703" y="435389"/>
                </a:lnTo>
                <a:close/>
                <a:moveTo>
                  <a:pt x="0" y="415560"/>
                </a:moveTo>
                <a:lnTo>
                  <a:pt x="99356" y="415560"/>
                </a:lnTo>
                <a:lnTo>
                  <a:pt x="99356" y="435389"/>
                </a:lnTo>
                <a:lnTo>
                  <a:pt x="0" y="435389"/>
                </a:lnTo>
                <a:close/>
                <a:moveTo>
                  <a:pt x="444703" y="293976"/>
                </a:moveTo>
                <a:lnTo>
                  <a:pt x="544130" y="293976"/>
                </a:lnTo>
                <a:lnTo>
                  <a:pt x="544130" y="313805"/>
                </a:lnTo>
                <a:lnTo>
                  <a:pt x="444703" y="313805"/>
                </a:lnTo>
                <a:close/>
                <a:moveTo>
                  <a:pt x="0" y="293976"/>
                </a:moveTo>
                <a:lnTo>
                  <a:pt x="99356" y="293976"/>
                </a:lnTo>
                <a:lnTo>
                  <a:pt x="99356" y="313805"/>
                </a:lnTo>
                <a:lnTo>
                  <a:pt x="0" y="313805"/>
                </a:lnTo>
                <a:close/>
                <a:moveTo>
                  <a:pt x="444703" y="172462"/>
                </a:moveTo>
                <a:lnTo>
                  <a:pt x="544130" y="172462"/>
                </a:lnTo>
                <a:lnTo>
                  <a:pt x="544130" y="192220"/>
                </a:lnTo>
                <a:lnTo>
                  <a:pt x="444703" y="192220"/>
                </a:lnTo>
                <a:close/>
                <a:moveTo>
                  <a:pt x="0" y="172462"/>
                </a:moveTo>
                <a:lnTo>
                  <a:pt x="99356" y="172462"/>
                </a:lnTo>
                <a:lnTo>
                  <a:pt x="99356" y="192220"/>
                </a:lnTo>
                <a:lnTo>
                  <a:pt x="0" y="192220"/>
                </a:lnTo>
                <a:close/>
                <a:moveTo>
                  <a:pt x="444703" y="50878"/>
                </a:moveTo>
                <a:lnTo>
                  <a:pt x="544130" y="50878"/>
                </a:lnTo>
                <a:lnTo>
                  <a:pt x="544130" y="70707"/>
                </a:lnTo>
                <a:lnTo>
                  <a:pt x="444703" y="70707"/>
                </a:lnTo>
                <a:close/>
                <a:moveTo>
                  <a:pt x="0" y="50878"/>
                </a:moveTo>
                <a:lnTo>
                  <a:pt x="99356" y="50878"/>
                </a:lnTo>
                <a:lnTo>
                  <a:pt x="99356" y="70707"/>
                </a:lnTo>
                <a:lnTo>
                  <a:pt x="0" y="70707"/>
                </a:lnTo>
                <a:close/>
                <a:moveTo>
                  <a:pt x="167699" y="37259"/>
                </a:moveTo>
                <a:lnTo>
                  <a:pt x="376432" y="37259"/>
                </a:lnTo>
                <a:cubicBezTo>
                  <a:pt x="383295" y="37259"/>
                  <a:pt x="388816" y="42771"/>
                  <a:pt x="388816" y="49624"/>
                </a:cubicBezTo>
                <a:lnTo>
                  <a:pt x="388816" y="558228"/>
                </a:lnTo>
                <a:cubicBezTo>
                  <a:pt x="388816" y="565081"/>
                  <a:pt x="383295" y="570593"/>
                  <a:pt x="376432" y="570593"/>
                </a:cubicBezTo>
                <a:lnTo>
                  <a:pt x="167699" y="570593"/>
                </a:lnTo>
                <a:cubicBezTo>
                  <a:pt x="160835" y="570593"/>
                  <a:pt x="155315" y="565081"/>
                  <a:pt x="155315" y="558228"/>
                </a:cubicBezTo>
                <a:lnTo>
                  <a:pt x="155315" y="553535"/>
                </a:lnTo>
                <a:lnTo>
                  <a:pt x="155315" y="49624"/>
                </a:lnTo>
                <a:cubicBezTo>
                  <a:pt x="155315" y="42771"/>
                  <a:pt x="160835" y="37259"/>
                  <a:pt x="167699" y="37259"/>
                </a:cubicBezTo>
                <a:close/>
                <a:moveTo>
                  <a:pt x="167667" y="12440"/>
                </a:moveTo>
                <a:cubicBezTo>
                  <a:pt x="147078" y="12440"/>
                  <a:pt x="130443" y="29052"/>
                  <a:pt x="130443" y="49611"/>
                </a:cubicBezTo>
                <a:lnTo>
                  <a:pt x="130443" y="553547"/>
                </a:lnTo>
                <a:lnTo>
                  <a:pt x="130443" y="558240"/>
                </a:lnTo>
                <a:cubicBezTo>
                  <a:pt x="130443" y="578799"/>
                  <a:pt x="147078" y="595411"/>
                  <a:pt x="167667" y="595411"/>
                </a:cubicBezTo>
                <a:lnTo>
                  <a:pt x="376392" y="595411"/>
                </a:lnTo>
                <a:cubicBezTo>
                  <a:pt x="396981" y="595411"/>
                  <a:pt x="413616" y="578799"/>
                  <a:pt x="413616" y="558240"/>
                </a:cubicBezTo>
                <a:lnTo>
                  <a:pt x="413616" y="49611"/>
                </a:lnTo>
                <a:cubicBezTo>
                  <a:pt x="413616" y="29052"/>
                  <a:pt x="396981" y="12440"/>
                  <a:pt x="376392" y="12440"/>
                </a:cubicBezTo>
                <a:close/>
                <a:moveTo>
                  <a:pt x="167667" y="0"/>
                </a:moveTo>
                <a:lnTo>
                  <a:pt x="376392" y="0"/>
                </a:lnTo>
                <a:cubicBezTo>
                  <a:pt x="403844" y="0"/>
                  <a:pt x="426074" y="22198"/>
                  <a:pt x="426074" y="49611"/>
                </a:cubicBezTo>
                <a:lnTo>
                  <a:pt x="426074" y="55794"/>
                </a:lnTo>
                <a:lnTo>
                  <a:pt x="426074" y="68234"/>
                </a:lnTo>
                <a:lnTo>
                  <a:pt x="426074" y="539617"/>
                </a:lnTo>
                <a:lnTo>
                  <a:pt x="426074" y="552057"/>
                </a:lnTo>
                <a:lnTo>
                  <a:pt x="426074" y="558240"/>
                </a:lnTo>
                <a:cubicBezTo>
                  <a:pt x="426074" y="585653"/>
                  <a:pt x="403844" y="607851"/>
                  <a:pt x="376392" y="607851"/>
                </a:cubicBezTo>
                <a:lnTo>
                  <a:pt x="167667" y="607851"/>
                </a:lnTo>
                <a:cubicBezTo>
                  <a:pt x="140215" y="607851"/>
                  <a:pt x="117985" y="585653"/>
                  <a:pt x="117985" y="558240"/>
                </a:cubicBezTo>
                <a:lnTo>
                  <a:pt x="117985" y="555111"/>
                </a:lnTo>
                <a:lnTo>
                  <a:pt x="117985" y="552057"/>
                </a:lnTo>
                <a:lnTo>
                  <a:pt x="117985" y="539617"/>
                </a:lnTo>
                <a:lnTo>
                  <a:pt x="117985" y="68234"/>
                </a:lnTo>
                <a:lnTo>
                  <a:pt x="117985" y="55794"/>
                </a:lnTo>
                <a:lnTo>
                  <a:pt x="117985" y="49611"/>
                </a:lnTo>
                <a:cubicBezTo>
                  <a:pt x="117985" y="22198"/>
                  <a:pt x="140215" y="0"/>
                  <a:pt x="167667" y="0"/>
                </a:cubicBezTo>
                <a:close/>
              </a:path>
            </a:pathLst>
          </a:custGeom>
          <a:solidFill>
            <a:srgbClr val="080B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439" name="文本框 438"/>
          <p:cNvSpPr txBox="1"/>
          <p:nvPr/>
        </p:nvSpPr>
        <p:spPr>
          <a:xfrm>
            <a:off x="-61462" y="385500"/>
            <a:ext cx="12191999" cy="523220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>
            <a:defPPr>
              <a:defRPr lang="zh-CN"/>
            </a:defPPr>
            <a:lvl1pPr algn="ctr">
              <a:defRPr kumimoji="1" sz="2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>
                <a:sym typeface="Arial" panose="020B0604020202020204" pitchFamily="34" charset="0"/>
              </a:rPr>
              <a:t>探境科技为</a:t>
            </a:r>
            <a:r>
              <a:rPr lang="en-US" altLang="zh-CN" dirty="0">
                <a:sym typeface="Arial" panose="020B0604020202020204" pitchFamily="34" charset="0"/>
              </a:rPr>
              <a:t>IOT</a:t>
            </a:r>
            <a:r>
              <a:rPr lang="zh-CN" altLang="en-US" dirty="0">
                <a:sym typeface="Arial" panose="020B0604020202020204" pitchFamily="34" charset="0"/>
              </a:rPr>
              <a:t>终端提供综合性能最好的</a:t>
            </a:r>
            <a:r>
              <a:rPr lang="en-US" altLang="zh-CN" dirty="0">
                <a:sym typeface="Arial" panose="020B0604020202020204" pitchFamily="34" charset="0"/>
              </a:rPr>
              <a:t>AI</a:t>
            </a:r>
            <a:r>
              <a:rPr lang="zh-CN" altLang="en-US" dirty="0">
                <a:sym typeface="Arial" panose="020B0604020202020204" pitchFamily="34" charset="0"/>
              </a:rPr>
              <a:t>芯片及解决方案</a:t>
            </a:r>
            <a:endParaRPr lang="zh-CN" altLang="en-US" dirty="0">
              <a:sym typeface="Arial" panose="020B0604020202020204" pitchFamily="34" charset="0"/>
            </a:endParaRPr>
          </a:p>
        </p:txBody>
      </p:sp>
      <p:pic>
        <p:nvPicPr>
          <p:cNvPr id="440" name="图片 4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441" name="直线连接符 440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0" y="389656"/>
            <a:ext cx="12191999" cy="519064"/>
          </a:xfrm>
          <a:prstGeom prst="rect">
            <a:avLst/>
          </a:prstGeom>
        </p:spPr>
        <p:txBody>
          <a:bodyPr/>
          <a:lstStyle/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统降噪结合</a:t>
            </a:r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I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噪，大幅提高语音识别效果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859491" y="1535447"/>
            <a:ext cx="1882630" cy="461661"/>
          </a:xfrm>
          <a:prstGeom prst="rect">
            <a:avLst/>
          </a:prstGeom>
          <a:solidFill>
            <a:srgbClr val="2AA4CA"/>
          </a:solidFill>
          <a:ln>
            <a:solidFill>
              <a:srgbClr val="20B9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降噪处理（展会）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836905" y="2875996"/>
            <a:ext cx="6463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噪前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6076740" y="2875996"/>
            <a:ext cx="6463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噪后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859491" y="3785577"/>
            <a:ext cx="1882630" cy="461661"/>
          </a:xfrm>
          <a:prstGeom prst="rect">
            <a:avLst/>
          </a:prstGeom>
          <a:solidFill>
            <a:srgbClr val="2AA4CA"/>
          </a:solidFill>
          <a:ln>
            <a:solidFill>
              <a:srgbClr val="20B9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降噪处理（厨房）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263868" y="1887042"/>
            <a:ext cx="2641272" cy="2816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降噪结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降噪，大幅提高语音识别效果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百度公开语音识别模型测试中提高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识别准确率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NPU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实现语音识别算法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效率高，功耗低，成本低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算法延时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ms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171753" y="1766277"/>
            <a:ext cx="3695566" cy="3793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麦降噪算法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固定模式噪声源及非固定模式噪声源采用不同方法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远场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zh-CN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双麦克风阵列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0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度声源定位，噪声抑制大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dB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抑制家居环境中噪声干扰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m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远场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双麦克风的间距可根据需求调整，结构设计灵活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主动降噪方案</a:t>
            </a:r>
            <a:endParaRPr lang="zh-CN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左大括号 11"/>
          <p:cNvSpPr/>
          <p:nvPr/>
        </p:nvSpPr>
        <p:spPr>
          <a:xfrm>
            <a:off x="4167341" y="1698147"/>
            <a:ext cx="309635" cy="3461706"/>
          </a:xfrm>
          <a:prstGeom prst="lef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左大括号 12"/>
          <p:cNvSpPr/>
          <p:nvPr/>
        </p:nvSpPr>
        <p:spPr>
          <a:xfrm rot="10800000">
            <a:off x="7124480" y="1698147"/>
            <a:ext cx="309635" cy="3461706"/>
          </a:xfrm>
          <a:prstGeom prst="lef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/>
        </p:nvSpPr>
        <p:spPr>
          <a:xfrm>
            <a:off x="572515" y="1905425"/>
            <a:ext cx="569419" cy="569419"/>
          </a:xfrm>
          <a:prstGeom prst="ellipse">
            <a:avLst/>
          </a:prstGeom>
          <a:noFill/>
          <a:ln w="53975">
            <a:solidFill>
              <a:srgbClr val="00A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638575" y="1909948"/>
            <a:ext cx="437940" cy="58477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endParaRPr lang="zh-CN" altLang="en-US" sz="32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578000" y="3396573"/>
            <a:ext cx="569419" cy="569419"/>
          </a:xfrm>
          <a:prstGeom prst="ellipse">
            <a:avLst/>
          </a:prstGeom>
          <a:noFill/>
          <a:ln w="53975">
            <a:solidFill>
              <a:srgbClr val="00A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644060" y="3401096"/>
            <a:ext cx="437940" cy="58477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endParaRPr lang="zh-CN" altLang="en-US" sz="32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7573483" y="1900902"/>
            <a:ext cx="569419" cy="569419"/>
          </a:xfrm>
          <a:prstGeom prst="ellipse">
            <a:avLst/>
          </a:prstGeom>
          <a:noFill/>
          <a:ln w="53975">
            <a:solidFill>
              <a:srgbClr val="00A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7639543" y="1905425"/>
            <a:ext cx="437940" cy="58477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endParaRPr lang="zh-CN" altLang="en-US" sz="32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0" name="椭圆 19"/>
          <p:cNvSpPr/>
          <p:nvPr/>
        </p:nvSpPr>
        <p:spPr>
          <a:xfrm>
            <a:off x="7574216" y="3396573"/>
            <a:ext cx="569419" cy="569419"/>
          </a:xfrm>
          <a:prstGeom prst="ellipse">
            <a:avLst/>
          </a:prstGeom>
          <a:noFill/>
          <a:ln w="53975">
            <a:solidFill>
              <a:srgbClr val="00A2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7640276" y="3401096"/>
            <a:ext cx="437940" cy="58477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endParaRPr lang="zh-CN" altLang="en-US" sz="32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4836905" y="5227250"/>
            <a:ext cx="6463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噪前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6076740" y="5227250"/>
            <a:ext cx="6463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噪后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27" name="直线连接符 26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电商直播场景10s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848239" y="4471375"/>
            <a:ext cx="573478" cy="573478"/>
          </a:xfrm>
          <a:prstGeom prst="rect">
            <a:avLst/>
          </a:prstGeom>
        </p:spPr>
      </p:pic>
      <p:pic>
        <p:nvPicPr>
          <p:cNvPr id="30" name="电商场景10s_denoised">
            <a:hlinkClick r:id="" action="ppaction://media"/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076740" y="4522758"/>
            <a:ext cx="573478" cy="573478"/>
          </a:xfrm>
          <a:prstGeom prst="rect">
            <a:avLst/>
          </a:prstGeom>
        </p:spPr>
      </p:pic>
      <p:pic>
        <p:nvPicPr>
          <p:cNvPr id="31" name="展会噪音降噪前">
            <a:hlinkClick r:id="" action="ppaction://media"/>
          </p:cNvPr>
          <p:cNvPicPr>
            <a:picLocks noChangeAspect="1"/>
          </p:cNvPicPr>
          <p:nvPr>
            <a:audioFile r:link="rId7"/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830640" y="2187238"/>
            <a:ext cx="566165" cy="566165"/>
          </a:xfrm>
          <a:prstGeom prst="rect">
            <a:avLst/>
          </a:prstGeom>
        </p:spPr>
      </p:pic>
      <p:pic>
        <p:nvPicPr>
          <p:cNvPr id="32" name="展会场景降噪后">
            <a:hlinkClick r:id="" action="ppaction://media"/>
          </p:cNvPr>
          <p:cNvPicPr>
            <a:picLocks noChangeAspect="1"/>
          </p:cNvPicPr>
          <p:nvPr>
            <a:audioFile r:link="rId9"/>
            <p:extLst>
              <p:ext uri="{DAA4B4D4-6D71-4841-9C94-3DE7FCFB9230}">
                <p14:media xmlns:p14="http://schemas.microsoft.com/office/powerpoint/2010/main" r:embed="rId10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084053" y="2197812"/>
            <a:ext cx="566165" cy="5661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272" fill="hold"/>
                                        <p:tgtEl>
                                          <p:spTgt spid="3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6771" fill="hold"/>
                                        <p:tgtEl>
                                          <p:spTgt spid="3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6800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6728" fill="hold"/>
                                        <p:tgtEl>
                                          <p:spTgt spid="3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1"/>
                </p:tgtEl>
              </p:cMediaNode>
            </p:audio>
            <p:audio>
              <p:cMediaNode vol="80000">
                <p:cTn id="2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2"/>
                </p:tgtEl>
              </p:cMediaNode>
            </p:audio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9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0"/>
                </p:tgtEl>
              </p:cMediaNode>
            </p:audio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0" y="389656"/>
            <a:ext cx="12191999" cy="519064"/>
          </a:xfrm>
          <a:prstGeom prst="rect">
            <a:avLst/>
          </a:prstGeom>
        </p:spPr>
        <p:txBody>
          <a:bodyPr/>
          <a:lstStyle/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探境将人机语音交互体验提升到一个新的水平</a:t>
            </a:r>
            <a:b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</a:b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206" y="1777824"/>
            <a:ext cx="6199459" cy="3849254"/>
          </a:xfrm>
          <a:prstGeom prst="rect">
            <a:avLst/>
          </a:prstGeom>
        </p:spPr>
      </p:pic>
      <p:sp>
        <p:nvSpPr>
          <p:cNvPr id="28" name="椭圆 27"/>
          <p:cNvSpPr/>
          <p:nvPr/>
        </p:nvSpPr>
        <p:spPr>
          <a:xfrm>
            <a:off x="2494901" y="1676604"/>
            <a:ext cx="1027874" cy="1027874"/>
          </a:xfrm>
          <a:prstGeom prst="ellipse">
            <a:avLst/>
          </a:prstGeom>
          <a:noFill/>
          <a:ln w="38100" cmpd="sng">
            <a:solidFill>
              <a:srgbClr val="2AA4C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9" name="椭圆 28"/>
          <p:cNvSpPr/>
          <p:nvPr/>
        </p:nvSpPr>
        <p:spPr>
          <a:xfrm>
            <a:off x="4457623" y="1676604"/>
            <a:ext cx="1027874" cy="1027874"/>
          </a:xfrm>
          <a:prstGeom prst="ellipse">
            <a:avLst/>
          </a:prstGeom>
          <a:noFill/>
          <a:ln w="38100" cmpd="sng">
            <a:solidFill>
              <a:srgbClr val="2AA4C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0" name="椭圆 29"/>
          <p:cNvSpPr/>
          <p:nvPr/>
        </p:nvSpPr>
        <p:spPr>
          <a:xfrm>
            <a:off x="6462549" y="1676604"/>
            <a:ext cx="1027874" cy="1027874"/>
          </a:xfrm>
          <a:prstGeom prst="ellipse">
            <a:avLst/>
          </a:prstGeom>
          <a:noFill/>
          <a:ln w="38100" cmpd="sng">
            <a:solidFill>
              <a:srgbClr val="2AA4C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1" name="椭圆 30"/>
          <p:cNvSpPr/>
          <p:nvPr/>
        </p:nvSpPr>
        <p:spPr>
          <a:xfrm>
            <a:off x="2482542" y="3788992"/>
            <a:ext cx="1027874" cy="1027874"/>
          </a:xfrm>
          <a:prstGeom prst="ellipse">
            <a:avLst/>
          </a:prstGeom>
          <a:noFill/>
          <a:ln w="38100" cmpd="sng">
            <a:solidFill>
              <a:srgbClr val="2AA4C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2" name="椭圆 31"/>
          <p:cNvSpPr/>
          <p:nvPr/>
        </p:nvSpPr>
        <p:spPr>
          <a:xfrm>
            <a:off x="4449383" y="3788992"/>
            <a:ext cx="1027874" cy="1027874"/>
          </a:xfrm>
          <a:prstGeom prst="ellipse">
            <a:avLst/>
          </a:prstGeom>
          <a:noFill/>
          <a:ln w="38100" cmpd="sng">
            <a:solidFill>
              <a:srgbClr val="2AA4C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3" name="椭圆 32"/>
          <p:cNvSpPr/>
          <p:nvPr/>
        </p:nvSpPr>
        <p:spPr>
          <a:xfrm>
            <a:off x="6416224" y="3788992"/>
            <a:ext cx="1027874" cy="1027874"/>
          </a:xfrm>
          <a:prstGeom prst="ellipse">
            <a:avLst/>
          </a:prstGeom>
          <a:noFill/>
          <a:ln w="38100" cmpd="sng">
            <a:solidFill>
              <a:srgbClr val="2AA4C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4" name="椭圆 33"/>
          <p:cNvSpPr/>
          <p:nvPr/>
        </p:nvSpPr>
        <p:spPr>
          <a:xfrm>
            <a:off x="8383066" y="1676604"/>
            <a:ext cx="1027874" cy="1027874"/>
          </a:xfrm>
          <a:prstGeom prst="ellipse">
            <a:avLst/>
          </a:prstGeom>
          <a:noFill/>
          <a:ln w="38100" cmpd="sng">
            <a:solidFill>
              <a:srgbClr val="2AA4C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5" name="椭圆 34"/>
          <p:cNvSpPr/>
          <p:nvPr/>
        </p:nvSpPr>
        <p:spPr>
          <a:xfrm>
            <a:off x="8383066" y="3788992"/>
            <a:ext cx="1027874" cy="1027874"/>
          </a:xfrm>
          <a:prstGeom prst="ellipse">
            <a:avLst/>
          </a:prstGeom>
          <a:noFill/>
          <a:ln w="38100" cmpd="sng">
            <a:solidFill>
              <a:srgbClr val="2AA4C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grpSp>
        <p:nvGrpSpPr>
          <p:cNvPr id="36" name="组合 35"/>
          <p:cNvGrpSpPr/>
          <p:nvPr/>
        </p:nvGrpSpPr>
        <p:grpSpPr>
          <a:xfrm>
            <a:off x="8672929" y="1799106"/>
            <a:ext cx="425361" cy="782870"/>
            <a:chOff x="9105357" y="1799106"/>
            <a:chExt cx="425361" cy="782870"/>
          </a:xfrm>
        </p:grpSpPr>
        <p:sp>
          <p:nvSpPr>
            <p:cNvPr id="37" name="Freeform 28"/>
            <p:cNvSpPr/>
            <p:nvPr/>
          </p:nvSpPr>
          <p:spPr bwMode="auto">
            <a:xfrm rot="10800000">
              <a:off x="9297549" y="1799106"/>
              <a:ext cx="79536" cy="437965"/>
            </a:xfrm>
            <a:custGeom>
              <a:avLst/>
              <a:gdLst>
                <a:gd name="T0" fmla="*/ 0 w 23"/>
                <a:gd name="T1" fmla="*/ 0 h 64"/>
                <a:gd name="T2" fmla="*/ 0 w 23"/>
                <a:gd name="T3" fmla="*/ 54 h 64"/>
                <a:gd name="T4" fmla="*/ 11 w 23"/>
                <a:gd name="T5" fmla="*/ 64 h 64"/>
                <a:gd name="T6" fmla="*/ 12 w 23"/>
                <a:gd name="T7" fmla="*/ 64 h 64"/>
                <a:gd name="T8" fmla="*/ 23 w 23"/>
                <a:gd name="T9" fmla="*/ 54 h 64"/>
                <a:gd name="T10" fmla="*/ 23 w 23"/>
                <a:gd name="T11" fmla="*/ 0 h 64"/>
                <a:gd name="T12" fmla="*/ 15 w 23"/>
                <a:gd name="T13" fmla="*/ 1 h 64"/>
                <a:gd name="T14" fmla="*/ 15 w 23"/>
                <a:gd name="T15" fmla="*/ 54 h 64"/>
                <a:gd name="T16" fmla="*/ 12 w 23"/>
                <a:gd name="T17" fmla="*/ 56 h 64"/>
                <a:gd name="T18" fmla="*/ 11 w 23"/>
                <a:gd name="T19" fmla="*/ 56 h 64"/>
                <a:gd name="T20" fmla="*/ 8 w 23"/>
                <a:gd name="T21" fmla="*/ 54 h 64"/>
                <a:gd name="T22" fmla="*/ 8 w 23"/>
                <a:gd name="T23" fmla="*/ 1 h 64"/>
                <a:gd name="T24" fmla="*/ 0 w 23"/>
                <a:gd name="T2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64">
                  <a:moveTo>
                    <a:pt x="0" y="0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0" y="59"/>
                    <a:pt x="5" y="64"/>
                    <a:pt x="11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8" y="64"/>
                    <a:pt x="23" y="59"/>
                    <a:pt x="23" y="5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0" y="1"/>
                    <a:pt x="17" y="1"/>
                    <a:pt x="15" y="1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5"/>
                    <a:pt x="13" y="56"/>
                    <a:pt x="12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8" y="55"/>
                    <a:pt x="8" y="54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6" y="1"/>
                    <a:pt x="3" y="1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Freeform 29"/>
            <p:cNvSpPr>
              <a:spLocks noEditPoints="1"/>
            </p:cNvSpPr>
            <p:nvPr/>
          </p:nvSpPr>
          <p:spPr bwMode="auto">
            <a:xfrm rot="10800000">
              <a:off x="9162461" y="2215872"/>
              <a:ext cx="368257" cy="366104"/>
            </a:xfrm>
            <a:custGeom>
              <a:avLst/>
              <a:gdLst>
                <a:gd name="T0" fmla="*/ 42 w 85"/>
                <a:gd name="T1" fmla="*/ 84 h 84"/>
                <a:gd name="T2" fmla="*/ 85 w 85"/>
                <a:gd name="T3" fmla="*/ 42 h 84"/>
                <a:gd name="T4" fmla="*/ 42 w 85"/>
                <a:gd name="T5" fmla="*/ 0 h 84"/>
                <a:gd name="T6" fmla="*/ 0 w 85"/>
                <a:gd name="T7" fmla="*/ 42 h 84"/>
                <a:gd name="T8" fmla="*/ 42 w 85"/>
                <a:gd name="T9" fmla="*/ 84 h 84"/>
                <a:gd name="T10" fmla="*/ 42 w 85"/>
                <a:gd name="T11" fmla="*/ 8 h 84"/>
                <a:gd name="T12" fmla="*/ 77 w 85"/>
                <a:gd name="T13" fmla="*/ 42 h 84"/>
                <a:gd name="T14" fmla="*/ 42 w 85"/>
                <a:gd name="T15" fmla="*/ 76 h 84"/>
                <a:gd name="T16" fmla="*/ 8 w 85"/>
                <a:gd name="T17" fmla="*/ 42 h 84"/>
                <a:gd name="T18" fmla="*/ 42 w 85"/>
                <a:gd name="T19" fmla="*/ 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42" y="84"/>
                  </a:moveTo>
                  <a:cubicBezTo>
                    <a:pt x="66" y="84"/>
                    <a:pt x="85" y="65"/>
                    <a:pt x="85" y="42"/>
                  </a:cubicBezTo>
                  <a:cubicBezTo>
                    <a:pt x="85" y="19"/>
                    <a:pt x="66" y="0"/>
                    <a:pt x="42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lose/>
                  <a:moveTo>
                    <a:pt x="42" y="8"/>
                  </a:moveTo>
                  <a:cubicBezTo>
                    <a:pt x="61" y="8"/>
                    <a:pt x="77" y="23"/>
                    <a:pt x="77" y="42"/>
                  </a:cubicBezTo>
                  <a:cubicBezTo>
                    <a:pt x="77" y="61"/>
                    <a:pt x="61" y="76"/>
                    <a:pt x="42" y="76"/>
                  </a:cubicBezTo>
                  <a:cubicBezTo>
                    <a:pt x="24" y="76"/>
                    <a:pt x="8" y="61"/>
                    <a:pt x="8" y="42"/>
                  </a:cubicBezTo>
                  <a:cubicBezTo>
                    <a:pt x="8" y="23"/>
                    <a:pt x="24" y="8"/>
                    <a:pt x="42" y="8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Freeform 30"/>
            <p:cNvSpPr/>
            <p:nvPr/>
          </p:nvSpPr>
          <p:spPr bwMode="auto">
            <a:xfrm rot="714942">
              <a:off x="9231343" y="2281880"/>
              <a:ext cx="132412" cy="234086"/>
            </a:xfrm>
            <a:custGeom>
              <a:avLst/>
              <a:gdLst>
                <a:gd name="T0" fmla="*/ 22 w 28"/>
                <a:gd name="T1" fmla="*/ 49 h 49"/>
                <a:gd name="T2" fmla="*/ 23 w 28"/>
                <a:gd name="T3" fmla="*/ 49 h 49"/>
                <a:gd name="T4" fmla="*/ 27 w 28"/>
                <a:gd name="T5" fmla="*/ 46 h 49"/>
                <a:gd name="T6" fmla="*/ 25 w 28"/>
                <a:gd name="T7" fmla="*/ 41 h 49"/>
                <a:gd name="T8" fmla="*/ 22 w 28"/>
                <a:gd name="T9" fmla="*/ 40 h 49"/>
                <a:gd name="T10" fmla="*/ 8 w 28"/>
                <a:gd name="T11" fmla="*/ 20 h 49"/>
                <a:gd name="T12" fmla="*/ 11 w 28"/>
                <a:gd name="T13" fmla="*/ 9 h 49"/>
                <a:gd name="T14" fmla="*/ 13 w 28"/>
                <a:gd name="T15" fmla="*/ 7 h 49"/>
                <a:gd name="T16" fmla="*/ 12 w 28"/>
                <a:gd name="T17" fmla="*/ 1 h 49"/>
                <a:gd name="T18" fmla="*/ 7 w 28"/>
                <a:gd name="T19" fmla="*/ 2 h 49"/>
                <a:gd name="T20" fmla="*/ 0 w 28"/>
                <a:gd name="T21" fmla="*/ 20 h 49"/>
                <a:gd name="T22" fmla="*/ 22 w 28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9">
                  <a:moveTo>
                    <a:pt x="22" y="49"/>
                  </a:moveTo>
                  <a:cubicBezTo>
                    <a:pt x="23" y="49"/>
                    <a:pt x="23" y="49"/>
                    <a:pt x="23" y="49"/>
                  </a:cubicBezTo>
                  <a:cubicBezTo>
                    <a:pt x="25" y="49"/>
                    <a:pt x="27" y="48"/>
                    <a:pt x="27" y="46"/>
                  </a:cubicBezTo>
                  <a:cubicBezTo>
                    <a:pt x="28" y="44"/>
                    <a:pt x="27" y="42"/>
                    <a:pt x="25" y="41"/>
                  </a:cubicBezTo>
                  <a:cubicBezTo>
                    <a:pt x="24" y="41"/>
                    <a:pt x="23" y="41"/>
                    <a:pt x="22" y="40"/>
                  </a:cubicBezTo>
                  <a:cubicBezTo>
                    <a:pt x="14" y="37"/>
                    <a:pt x="8" y="29"/>
                    <a:pt x="8" y="20"/>
                  </a:cubicBezTo>
                  <a:cubicBezTo>
                    <a:pt x="8" y="16"/>
                    <a:pt x="10" y="13"/>
                    <a:pt x="11" y="9"/>
                  </a:cubicBezTo>
                  <a:cubicBezTo>
                    <a:pt x="12" y="9"/>
                    <a:pt x="12" y="8"/>
                    <a:pt x="13" y="7"/>
                  </a:cubicBezTo>
                  <a:cubicBezTo>
                    <a:pt x="14" y="5"/>
                    <a:pt x="14" y="3"/>
                    <a:pt x="12" y="1"/>
                  </a:cubicBezTo>
                  <a:cubicBezTo>
                    <a:pt x="10" y="0"/>
                    <a:pt x="8" y="0"/>
                    <a:pt x="7" y="2"/>
                  </a:cubicBezTo>
                  <a:cubicBezTo>
                    <a:pt x="3" y="7"/>
                    <a:pt x="0" y="14"/>
                    <a:pt x="0" y="20"/>
                  </a:cubicBezTo>
                  <a:cubicBezTo>
                    <a:pt x="0" y="34"/>
                    <a:pt x="10" y="45"/>
                    <a:pt x="22" y="49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Freeform 122"/>
            <p:cNvSpPr/>
            <p:nvPr/>
          </p:nvSpPr>
          <p:spPr bwMode="auto">
            <a:xfrm rot="5400000">
              <a:off x="9199175" y="1896271"/>
              <a:ext cx="28575" cy="139090"/>
            </a:xfrm>
            <a:custGeom>
              <a:avLst/>
              <a:gdLst>
                <a:gd name="T0" fmla="*/ 5 w 9"/>
                <a:gd name="T1" fmla="*/ 57 h 57"/>
                <a:gd name="T2" fmla="*/ 9 w 9"/>
                <a:gd name="T3" fmla="*/ 53 h 57"/>
                <a:gd name="T4" fmla="*/ 8 w 9"/>
                <a:gd name="T5" fmla="*/ 4 h 57"/>
                <a:gd name="T6" fmla="*/ 4 w 9"/>
                <a:gd name="T7" fmla="*/ 0 h 57"/>
                <a:gd name="T8" fmla="*/ 0 w 9"/>
                <a:gd name="T9" fmla="*/ 4 h 57"/>
                <a:gd name="T10" fmla="*/ 1 w 9"/>
                <a:gd name="T11" fmla="*/ 53 h 57"/>
                <a:gd name="T12" fmla="*/ 5 w 9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7">
                  <a:moveTo>
                    <a:pt x="5" y="57"/>
                  </a:moveTo>
                  <a:cubicBezTo>
                    <a:pt x="7" y="57"/>
                    <a:pt x="9" y="55"/>
                    <a:pt x="9" y="5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55"/>
                    <a:pt x="2" y="57"/>
                    <a:pt x="5" y="57"/>
                  </a:cubicBezTo>
                  <a:close/>
                </a:path>
              </a:pathLst>
            </a:custGeom>
            <a:solidFill>
              <a:schemeClr val="tx1"/>
            </a:solidFill>
            <a:ln w="317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Freeform 123"/>
            <p:cNvSpPr/>
            <p:nvPr/>
          </p:nvSpPr>
          <p:spPr bwMode="auto">
            <a:xfrm rot="5400000">
              <a:off x="9199175" y="1981997"/>
              <a:ext cx="28575" cy="139090"/>
            </a:xfrm>
            <a:custGeom>
              <a:avLst/>
              <a:gdLst>
                <a:gd name="T0" fmla="*/ 5 w 9"/>
                <a:gd name="T1" fmla="*/ 57 h 57"/>
                <a:gd name="T2" fmla="*/ 9 w 9"/>
                <a:gd name="T3" fmla="*/ 53 h 57"/>
                <a:gd name="T4" fmla="*/ 8 w 9"/>
                <a:gd name="T5" fmla="*/ 4 h 57"/>
                <a:gd name="T6" fmla="*/ 4 w 9"/>
                <a:gd name="T7" fmla="*/ 0 h 57"/>
                <a:gd name="T8" fmla="*/ 0 w 9"/>
                <a:gd name="T9" fmla="*/ 4 h 57"/>
                <a:gd name="T10" fmla="*/ 1 w 9"/>
                <a:gd name="T11" fmla="*/ 53 h 57"/>
                <a:gd name="T12" fmla="*/ 5 w 9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7">
                  <a:moveTo>
                    <a:pt x="5" y="57"/>
                  </a:moveTo>
                  <a:cubicBezTo>
                    <a:pt x="7" y="57"/>
                    <a:pt x="9" y="55"/>
                    <a:pt x="9" y="5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55"/>
                    <a:pt x="2" y="57"/>
                    <a:pt x="5" y="57"/>
                  </a:cubicBezTo>
                  <a:close/>
                </a:path>
              </a:pathLst>
            </a:custGeom>
            <a:solidFill>
              <a:schemeClr val="tx1"/>
            </a:solidFill>
            <a:ln w="317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Freeform 124"/>
            <p:cNvSpPr/>
            <p:nvPr/>
          </p:nvSpPr>
          <p:spPr bwMode="auto">
            <a:xfrm rot="5400000">
              <a:off x="9198382" y="2070102"/>
              <a:ext cx="30162" cy="139090"/>
            </a:xfrm>
            <a:custGeom>
              <a:avLst/>
              <a:gdLst>
                <a:gd name="T0" fmla="*/ 5 w 9"/>
                <a:gd name="T1" fmla="*/ 57 h 57"/>
                <a:gd name="T2" fmla="*/ 9 w 9"/>
                <a:gd name="T3" fmla="*/ 53 h 57"/>
                <a:gd name="T4" fmla="*/ 8 w 9"/>
                <a:gd name="T5" fmla="*/ 4 h 57"/>
                <a:gd name="T6" fmla="*/ 4 w 9"/>
                <a:gd name="T7" fmla="*/ 0 h 57"/>
                <a:gd name="T8" fmla="*/ 0 w 9"/>
                <a:gd name="T9" fmla="*/ 4 h 57"/>
                <a:gd name="T10" fmla="*/ 1 w 9"/>
                <a:gd name="T11" fmla="*/ 53 h 57"/>
                <a:gd name="T12" fmla="*/ 5 w 9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7">
                  <a:moveTo>
                    <a:pt x="5" y="57"/>
                  </a:moveTo>
                  <a:cubicBezTo>
                    <a:pt x="7" y="57"/>
                    <a:pt x="9" y="55"/>
                    <a:pt x="9" y="5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55"/>
                    <a:pt x="2" y="57"/>
                    <a:pt x="5" y="57"/>
                  </a:cubicBezTo>
                  <a:close/>
                </a:path>
              </a:pathLst>
            </a:custGeom>
            <a:solidFill>
              <a:schemeClr val="tx1"/>
            </a:solidFill>
            <a:ln w="317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Freeform 123"/>
            <p:cNvSpPr/>
            <p:nvPr/>
          </p:nvSpPr>
          <p:spPr bwMode="auto">
            <a:xfrm rot="5400000">
              <a:off x="9182351" y="1917397"/>
              <a:ext cx="28575" cy="182563"/>
            </a:xfrm>
            <a:custGeom>
              <a:avLst/>
              <a:gdLst>
                <a:gd name="T0" fmla="*/ 5 w 9"/>
                <a:gd name="T1" fmla="*/ 57 h 57"/>
                <a:gd name="T2" fmla="*/ 9 w 9"/>
                <a:gd name="T3" fmla="*/ 53 h 57"/>
                <a:gd name="T4" fmla="*/ 8 w 9"/>
                <a:gd name="T5" fmla="*/ 4 h 57"/>
                <a:gd name="T6" fmla="*/ 4 w 9"/>
                <a:gd name="T7" fmla="*/ 0 h 57"/>
                <a:gd name="T8" fmla="*/ 0 w 9"/>
                <a:gd name="T9" fmla="*/ 4 h 57"/>
                <a:gd name="T10" fmla="*/ 1 w 9"/>
                <a:gd name="T11" fmla="*/ 53 h 57"/>
                <a:gd name="T12" fmla="*/ 5 w 9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7">
                  <a:moveTo>
                    <a:pt x="5" y="57"/>
                  </a:moveTo>
                  <a:cubicBezTo>
                    <a:pt x="7" y="57"/>
                    <a:pt x="9" y="55"/>
                    <a:pt x="9" y="5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55"/>
                    <a:pt x="2" y="57"/>
                    <a:pt x="5" y="57"/>
                  </a:cubicBezTo>
                  <a:close/>
                </a:path>
              </a:pathLst>
            </a:custGeom>
            <a:solidFill>
              <a:schemeClr val="tx1"/>
            </a:solidFill>
            <a:ln w="317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Freeform 124"/>
            <p:cNvSpPr/>
            <p:nvPr/>
          </p:nvSpPr>
          <p:spPr bwMode="auto">
            <a:xfrm rot="5400000">
              <a:off x="9181558" y="2003916"/>
              <a:ext cx="30162" cy="182563"/>
            </a:xfrm>
            <a:custGeom>
              <a:avLst/>
              <a:gdLst>
                <a:gd name="T0" fmla="*/ 5 w 9"/>
                <a:gd name="T1" fmla="*/ 57 h 57"/>
                <a:gd name="T2" fmla="*/ 9 w 9"/>
                <a:gd name="T3" fmla="*/ 53 h 57"/>
                <a:gd name="T4" fmla="*/ 8 w 9"/>
                <a:gd name="T5" fmla="*/ 4 h 57"/>
                <a:gd name="T6" fmla="*/ 4 w 9"/>
                <a:gd name="T7" fmla="*/ 0 h 57"/>
                <a:gd name="T8" fmla="*/ 0 w 9"/>
                <a:gd name="T9" fmla="*/ 4 h 57"/>
                <a:gd name="T10" fmla="*/ 1 w 9"/>
                <a:gd name="T11" fmla="*/ 53 h 57"/>
                <a:gd name="T12" fmla="*/ 5 w 9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7">
                  <a:moveTo>
                    <a:pt x="5" y="57"/>
                  </a:moveTo>
                  <a:cubicBezTo>
                    <a:pt x="7" y="57"/>
                    <a:pt x="9" y="55"/>
                    <a:pt x="9" y="5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55"/>
                    <a:pt x="2" y="57"/>
                    <a:pt x="5" y="57"/>
                  </a:cubicBezTo>
                  <a:close/>
                </a:path>
              </a:pathLst>
            </a:custGeom>
            <a:solidFill>
              <a:schemeClr val="tx1"/>
            </a:solidFill>
            <a:ln w="317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45" name="文本框 44"/>
          <p:cNvSpPr txBox="1"/>
          <p:nvPr/>
        </p:nvSpPr>
        <p:spPr>
          <a:xfrm>
            <a:off x="7882661" y="2894229"/>
            <a:ext cx="3019425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85℃/85%</a:t>
            </a:r>
            <a:r>
              <a:rPr lang="zh-CN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可靠性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8124708" y="5015514"/>
            <a:ext cx="1685077" cy="6924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待机唤醒功耗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  <a:p>
            <a:r>
              <a:rPr lang="en-US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10mW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</p:txBody>
      </p:sp>
      <p:grpSp>
        <p:nvGrpSpPr>
          <p:cNvPr id="47" name="组合 46"/>
          <p:cNvGrpSpPr/>
          <p:nvPr/>
        </p:nvGrpSpPr>
        <p:grpSpPr>
          <a:xfrm>
            <a:off x="8589651" y="4140753"/>
            <a:ext cx="695331" cy="358499"/>
            <a:chOff x="8604641" y="4140753"/>
            <a:chExt cx="695331" cy="358499"/>
          </a:xfrm>
        </p:grpSpPr>
        <p:sp>
          <p:nvSpPr>
            <p:cNvPr id="48" name="Freeform 280"/>
            <p:cNvSpPr/>
            <p:nvPr/>
          </p:nvSpPr>
          <p:spPr bwMode="auto">
            <a:xfrm>
              <a:off x="8664705" y="4186436"/>
              <a:ext cx="358499" cy="271829"/>
            </a:xfrm>
            <a:custGeom>
              <a:avLst/>
              <a:gdLst>
                <a:gd name="T0" fmla="*/ 9 w 99"/>
                <a:gd name="T1" fmla="*/ 0 h 75"/>
                <a:gd name="T2" fmla="*/ 0 w 99"/>
                <a:gd name="T3" fmla="*/ 9 h 75"/>
                <a:gd name="T4" fmla="*/ 0 w 99"/>
                <a:gd name="T5" fmla="*/ 66 h 75"/>
                <a:gd name="T6" fmla="*/ 9 w 99"/>
                <a:gd name="T7" fmla="*/ 75 h 75"/>
                <a:gd name="T8" fmla="*/ 99 w 99"/>
                <a:gd name="T9" fmla="*/ 75 h 75"/>
                <a:gd name="T10" fmla="*/ 75 w 99"/>
                <a:gd name="T11" fmla="*/ 0 h 75"/>
                <a:gd name="T12" fmla="*/ 9 w 99"/>
                <a:gd name="T1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75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1"/>
                    <a:pt x="4" y="75"/>
                    <a:pt x="9" y="75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75" y="0"/>
                    <a:pt x="75" y="0"/>
                    <a:pt x="75" y="0"/>
                  </a:cubicBezTo>
                  <a:lnTo>
                    <a:pt x="9" y="0"/>
                  </a:lnTo>
                  <a:close/>
                </a:path>
              </a:pathLst>
            </a:custGeom>
            <a:noFill/>
            <a:ln w="28575" cap="flat">
              <a:solidFill>
                <a:srgbClr val="000000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Freeform 281"/>
            <p:cNvSpPr/>
            <p:nvPr/>
          </p:nvSpPr>
          <p:spPr bwMode="auto">
            <a:xfrm>
              <a:off x="8604641" y="4140753"/>
              <a:ext cx="695331" cy="358499"/>
            </a:xfrm>
            <a:custGeom>
              <a:avLst/>
              <a:gdLst>
                <a:gd name="T0" fmla="*/ 186 w 192"/>
                <a:gd name="T1" fmla="*/ 28 h 99"/>
                <a:gd name="T2" fmla="*/ 169 w 192"/>
                <a:gd name="T3" fmla="*/ 28 h 99"/>
                <a:gd name="T4" fmla="*/ 169 w 192"/>
                <a:gd name="T5" fmla="*/ 21 h 99"/>
                <a:gd name="T6" fmla="*/ 148 w 192"/>
                <a:gd name="T7" fmla="*/ 0 h 99"/>
                <a:gd name="T8" fmla="*/ 21 w 192"/>
                <a:gd name="T9" fmla="*/ 0 h 99"/>
                <a:gd name="T10" fmla="*/ 0 w 192"/>
                <a:gd name="T11" fmla="*/ 21 h 99"/>
                <a:gd name="T12" fmla="*/ 0 w 192"/>
                <a:gd name="T13" fmla="*/ 78 h 99"/>
                <a:gd name="T14" fmla="*/ 21 w 192"/>
                <a:gd name="T15" fmla="*/ 99 h 99"/>
                <a:gd name="T16" fmla="*/ 148 w 192"/>
                <a:gd name="T17" fmla="*/ 99 h 99"/>
                <a:gd name="T18" fmla="*/ 169 w 192"/>
                <a:gd name="T19" fmla="*/ 78 h 99"/>
                <a:gd name="T20" fmla="*/ 169 w 192"/>
                <a:gd name="T21" fmla="*/ 71 h 99"/>
                <a:gd name="T22" fmla="*/ 186 w 192"/>
                <a:gd name="T23" fmla="*/ 71 h 99"/>
                <a:gd name="T24" fmla="*/ 192 w 192"/>
                <a:gd name="T25" fmla="*/ 65 h 99"/>
                <a:gd name="T26" fmla="*/ 192 w 192"/>
                <a:gd name="T27" fmla="*/ 34 h 99"/>
                <a:gd name="T28" fmla="*/ 186 w 192"/>
                <a:gd name="T29" fmla="*/ 2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2" h="99">
                  <a:moveTo>
                    <a:pt x="186" y="28"/>
                  </a:moveTo>
                  <a:cubicBezTo>
                    <a:pt x="169" y="28"/>
                    <a:pt x="169" y="28"/>
                    <a:pt x="169" y="28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9" y="10"/>
                    <a:pt x="160" y="0"/>
                    <a:pt x="14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9"/>
                    <a:pt x="10" y="99"/>
                    <a:pt x="21" y="99"/>
                  </a:cubicBezTo>
                  <a:cubicBezTo>
                    <a:pt x="148" y="99"/>
                    <a:pt x="148" y="99"/>
                    <a:pt x="148" y="99"/>
                  </a:cubicBezTo>
                  <a:cubicBezTo>
                    <a:pt x="160" y="99"/>
                    <a:pt x="169" y="89"/>
                    <a:pt x="169" y="78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86" y="71"/>
                    <a:pt x="186" y="71"/>
                    <a:pt x="186" y="71"/>
                  </a:cubicBezTo>
                  <a:cubicBezTo>
                    <a:pt x="190" y="71"/>
                    <a:pt x="192" y="69"/>
                    <a:pt x="192" y="65"/>
                  </a:cubicBezTo>
                  <a:cubicBezTo>
                    <a:pt x="192" y="34"/>
                    <a:pt x="192" y="34"/>
                    <a:pt x="192" y="34"/>
                  </a:cubicBezTo>
                  <a:cubicBezTo>
                    <a:pt x="192" y="31"/>
                    <a:pt x="190" y="28"/>
                    <a:pt x="186" y="28"/>
                  </a:cubicBezTo>
                  <a:close/>
                </a:path>
              </a:pathLst>
            </a:custGeom>
            <a:noFill/>
            <a:ln w="22225" cap="flat">
              <a:solidFill>
                <a:srgbClr val="000000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Line 282"/>
            <p:cNvSpPr>
              <a:spLocks noChangeShapeType="1"/>
            </p:cNvSpPr>
            <p:nvPr/>
          </p:nvSpPr>
          <p:spPr bwMode="auto">
            <a:xfrm>
              <a:off x="8816709" y="4186436"/>
              <a:ext cx="90610" cy="271829"/>
            </a:xfrm>
            <a:prstGeom prst="line">
              <a:avLst/>
            </a:prstGeom>
            <a:noFill/>
            <a:ln w="22225" cap="flat">
              <a:solidFill>
                <a:srgbClr val="000000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51" name="矩形 50"/>
          <p:cNvSpPr/>
          <p:nvPr/>
        </p:nvSpPr>
        <p:spPr>
          <a:xfrm>
            <a:off x="5915424" y="5015514"/>
            <a:ext cx="2206053" cy="3924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响应时间小于</a:t>
            </a:r>
            <a:r>
              <a:rPr lang="en-US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0.2s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3889947" y="5015514"/>
            <a:ext cx="2044149" cy="6924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少于</a:t>
            </a:r>
            <a:r>
              <a:rPr lang="en-US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1</a:t>
            </a:r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次</a:t>
            </a:r>
            <a:r>
              <a:rPr lang="en-US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/72</a:t>
            </a:r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小时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  <a:p>
            <a:pPr algn="ctr"/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误唤醒率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2099696" y="5015514"/>
            <a:ext cx="1762021" cy="3924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10</a:t>
            </a:r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米远场识别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2033722" y="2894229"/>
            <a:ext cx="1925527" cy="3924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支持</a:t>
            </a:r>
            <a:r>
              <a:rPr lang="en-US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200</a:t>
            </a:r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命令词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4295273" y="2894229"/>
            <a:ext cx="1481496" cy="3924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99%</a:t>
            </a:r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唤醒率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6218317" y="2894229"/>
            <a:ext cx="1481496" cy="3924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97%</a:t>
            </a:r>
            <a:r>
              <a:rPr lang="zh-CN" altLang="en-US" sz="1950" dirty="0">
                <a:solidFill>
                  <a:srgbClr val="373735"/>
                </a:solidFill>
                <a:latin typeface="Hiragino Sans GB W3" panose="020B0300000000000000" pitchFamily="34" charset="-128"/>
                <a:ea typeface="Hiragino Sans GB W3" panose="020B0300000000000000" pitchFamily="34" charset="-128"/>
                <a:sym typeface="+mn-ea"/>
              </a:rPr>
              <a:t>识别率</a:t>
            </a:r>
            <a:endParaRPr lang="en-US" altLang="zh-CN" sz="1950" dirty="0">
              <a:solidFill>
                <a:srgbClr val="373735"/>
              </a:solidFill>
              <a:latin typeface="Hiragino Sans GB W3" panose="020B0300000000000000" pitchFamily="34" charset="-128"/>
              <a:ea typeface="Hiragino Sans GB W3" panose="020B0300000000000000" pitchFamily="34" charset="-128"/>
              <a:sym typeface="+mn-ea"/>
            </a:endParaRPr>
          </a:p>
        </p:txBody>
      </p:sp>
      <p:pic>
        <p:nvPicPr>
          <p:cNvPr id="57" name="图片 5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58" name="直线连接符 57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 txBox="1"/>
          <p:nvPr/>
        </p:nvSpPr>
        <p:spPr>
          <a:xfrm>
            <a:off x="0" y="389656"/>
            <a:ext cx="12192000" cy="5190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双麦方案测试报告数据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36" name="表格 35"/>
          <p:cNvGraphicFramePr>
            <a:graphicFrameLocks noGrp="1"/>
          </p:cNvGraphicFramePr>
          <p:nvPr/>
        </p:nvGraphicFramePr>
        <p:xfrm>
          <a:off x="1991731" y="965719"/>
          <a:ext cx="7920694" cy="46955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65604"/>
                <a:gridCol w="1230918"/>
                <a:gridCol w="1730422"/>
                <a:gridCol w="1730422"/>
                <a:gridCol w="963328"/>
              </a:tblGrid>
              <a:tr h="34300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测试项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2AA4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指标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2AA4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300" u="none" strike="noStrike">
                          <a:effectLst/>
                        </a:rPr>
                        <a:t>Intenginetech</a:t>
                      </a:r>
                      <a:endParaRPr lang="da-DK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2AA4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竞品</a:t>
                      </a:r>
                      <a:r>
                        <a:rPr lang="en-US" altLang="zh-CN" sz="1300" u="none" strike="noStrike" dirty="0">
                          <a:effectLst/>
                        </a:rPr>
                        <a:t>C</a:t>
                      </a:r>
                      <a:endParaRPr lang="da-DK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2AA4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竞品</a:t>
                      </a:r>
                      <a:r>
                        <a:rPr lang="en-US" altLang="zh-CN" sz="1300" u="none" strike="noStrike" dirty="0">
                          <a:effectLst/>
                        </a:rPr>
                        <a:t>U</a:t>
                      </a:r>
                      <a:endParaRPr lang="da-DK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2AA4CA"/>
                    </a:solidFill>
                  </a:tcPr>
                </a:tc>
              </a:tr>
              <a:tr h="45169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a-DK" sz="1300" u="none" strike="noStrike" dirty="0">
                          <a:effectLst/>
                        </a:rPr>
                        <a:t>1m</a:t>
                      </a:r>
                      <a:r>
                        <a:rPr lang="zh-CN" altLang="en-US" sz="1300" u="none" strike="noStrike" dirty="0">
                          <a:effectLst/>
                        </a:rPr>
                        <a:t>安静环境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459" marR="110459" marT="55230" marB="5523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唤醒率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98.89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>
                          <a:effectLst/>
                        </a:rPr>
                        <a:t>99.00%</a:t>
                      </a:r>
                      <a:endParaRPr lang="en-US" altLang="zh-CN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98.33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</a:tr>
              <a:tr h="435798"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识别率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97.99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>
                          <a:effectLst/>
                        </a:rPr>
                        <a:t>97.97%</a:t>
                      </a:r>
                      <a:endParaRPr lang="en-US" altLang="zh-CN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>
                          <a:effectLst/>
                        </a:rPr>
                        <a:t>95.02%</a:t>
                      </a:r>
                      <a:endParaRPr lang="en-US" altLang="zh-CN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</a:tr>
              <a:tr h="5127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a-DK" sz="1300" u="none" strike="noStrike">
                          <a:effectLst/>
                        </a:rPr>
                        <a:t>5m</a:t>
                      </a:r>
                      <a:r>
                        <a:rPr lang="zh-CN" altLang="en-US" sz="1300" u="none" strike="noStrike">
                          <a:effectLst/>
                        </a:rPr>
                        <a:t>安静环境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459" marR="110459" marT="55230" marB="5523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唤醒率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98.33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>
                          <a:effectLst/>
                        </a:rPr>
                        <a:t>97.96%</a:t>
                      </a:r>
                      <a:endParaRPr lang="en-US" altLang="zh-CN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95.56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</a:tr>
              <a:tr h="474251"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识别率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96.19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>
                          <a:effectLst/>
                        </a:rPr>
                        <a:t>96.10%</a:t>
                      </a:r>
                      <a:endParaRPr lang="en-US" altLang="zh-CN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94.07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</a:tr>
              <a:tr h="4362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a-DK" sz="1300" u="none" strike="noStrike" dirty="0">
                          <a:effectLst/>
                        </a:rPr>
                        <a:t>1m</a:t>
                      </a:r>
                      <a:r>
                        <a:rPr lang="zh-CN" altLang="en-US" sz="1300" u="none" strike="noStrike" dirty="0">
                          <a:effectLst/>
                        </a:rPr>
                        <a:t>噪声环境</a:t>
                      </a:r>
                      <a:br>
                        <a:rPr lang="zh-CN" altLang="en-US" sz="1300" u="none" strike="noStrike" dirty="0">
                          <a:effectLst/>
                        </a:rPr>
                      </a:br>
                      <a:r>
                        <a:rPr lang="zh-CN" altLang="en-US" sz="1300" u="none" strike="noStrike" dirty="0">
                          <a:effectLst/>
                        </a:rPr>
                        <a:t>信噪比</a:t>
                      </a:r>
                      <a:r>
                        <a:rPr lang="en-US" altLang="zh-CN" sz="1300" u="none" strike="noStrike" dirty="0">
                          <a:effectLst/>
                        </a:rPr>
                        <a:t>5</a:t>
                      </a:r>
                      <a:r>
                        <a:rPr lang="da-DK" sz="1300" u="none" strike="noStrike" dirty="0">
                          <a:effectLst/>
                        </a:rPr>
                        <a:t>dB</a:t>
                      </a:r>
                      <a:r>
                        <a:rPr lang="zh-CN" altLang="en-US" sz="1300" u="none" strike="noStrike" dirty="0">
                          <a:effectLst/>
                        </a:rPr>
                        <a:t>左右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459" marR="110459" marT="55230" marB="5523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唤醒率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700" b="1" u="none" strike="noStrike" dirty="0">
                          <a:solidFill>
                            <a:srgbClr val="20B9CE"/>
                          </a:solidFill>
                          <a:effectLst/>
                        </a:rPr>
                        <a:t>95.00%</a:t>
                      </a:r>
                      <a:endParaRPr lang="en-US" altLang="zh-CN" sz="1700" b="1" i="0" u="none" strike="noStrike" dirty="0">
                        <a:solidFill>
                          <a:srgbClr val="20B9CE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>
                          <a:effectLst/>
                        </a:rPr>
                        <a:t>90.93%</a:t>
                      </a:r>
                      <a:endParaRPr lang="en-US" altLang="zh-CN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91.11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</a:tr>
              <a:tr h="453292"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识别率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700" b="1" u="none" strike="noStrike" kern="1200" dirty="0">
                          <a:solidFill>
                            <a:srgbClr val="20B9C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.99%</a:t>
                      </a:r>
                      <a:endParaRPr lang="en-US" altLang="zh-CN" sz="1700" b="1" u="none" strike="noStrike" kern="1200" dirty="0">
                        <a:solidFill>
                          <a:srgbClr val="20B9CE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80.11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75.91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</a:tr>
              <a:tr h="43032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a-DK" sz="1300" u="none" strike="noStrike">
                          <a:effectLst/>
                        </a:rPr>
                        <a:t>5m</a:t>
                      </a:r>
                      <a:r>
                        <a:rPr lang="zh-CN" altLang="en-US" sz="1300" u="none" strike="noStrike">
                          <a:effectLst/>
                        </a:rPr>
                        <a:t>噪声环境</a:t>
                      </a:r>
                      <a:br>
                        <a:rPr lang="zh-CN" altLang="en-US" sz="1300" u="none" strike="noStrike">
                          <a:effectLst/>
                        </a:rPr>
                      </a:br>
                      <a:r>
                        <a:rPr lang="zh-CN" altLang="en-US" sz="1300" u="none" strike="noStrike">
                          <a:effectLst/>
                        </a:rPr>
                        <a:t>信噪比</a:t>
                      </a:r>
                      <a:r>
                        <a:rPr lang="en-US" altLang="zh-CN" sz="1300" u="none" strike="noStrike">
                          <a:effectLst/>
                        </a:rPr>
                        <a:t>3</a:t>
                      </a:r>
                      <a:r>
                        <a:rPr lang="da-DK" sz="1300" u="none" strike="noStrike">
                          <a:effectLst/>
                        </a:rPr>
                        <a:t>dB</a:t>
                      </a:r>
                      <a:r>
                        <a:rPr lang="zh-CN" altLang="en-US" sz="1300" u="none" strike="noStrike">
                          <a:effectLst/>
                        </a:rPr>
                        <a:t>左右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0459" marR="110459" marT="55230" marB="5523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>
                          <a:effectLst/>
                        </a:rPr>
                        <a:t>唤醒率</a:t>
                      </a:r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700" b="1" u="none" strike="noStrike" kern="1200" dirty="0">
                          <a:solidFill>
                            <a:srgbClr val="20B9C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.56%</a:t>
                      </a:r>
                      <a:endParaRPr lang="en-US" altLang="zh-CN" sz="1700" b="1" u="none" strike="noStrike" kern="1200" dirty="0">
                        <a:solidFill>
                          <a:srgbClr val="20B9CE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85.34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80.56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</a:tr>
              <a:tr h="494950"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识别率</a:t>
                      </a:r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700" b="1" u="none" strike="noStrike" kern="1200" dirty="0">
                          <a:solidFill>
                            <a:srgbClr val="20B9C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4.54%</a:t>
                      </a:r>
                      <a:endParaRPr lang="en-US" altLang="zh-CN" sz="1700" b="1" u="none" strike="noStrike" kern="1200" dirty="0">
                        <a:solidFill>
                          <a:srgbClr val="20B9CE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67.96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69.05%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</a:tr>
              <a:tr h="66331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误唤醒测试</a:t>
                      </a:r>
                      <a:br>
                        <a:rPr lang="zh-CN" altLang="en-US" sz="1300" u="none" strike="noStrike" dirty="0">
                          <a:effectLst/>
                        </a:rPr>
                      </a:br>
                      <a:r>
                        <a:rPr lang="en-US" altLang="zh-CN" sz="1300" u="none" strike="noStrike" dirty="0">
                          <a:effectLst/>
                        </a:rPr>
                        <a:t>(72</a:t>
                      </a:r>
                      <a:r>
                        <a:rPr lang="zh-CN" altLang="en-US" sz="1300" u="none" strike="noStrike" dirty="0">
                          <a:effectLst/>
                        </a:rPr>
                        <a:t>小时不间断的负样本语音</a:t>
                      </a:r>
                      <a:r>
                        <a:rPr lang="en-US" altLang="zh-CN" sz="1300" u="none" strike="noStrike" dirty="0">
                          <a:effectLst/>
                        </a:rPr>
                        <a:t>)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00" u="none" strike="noStrike" dirty="0">
                          <a:effectLst/>
                        </a:rPr>
                        <a:t>误唤醒次数</a:t>
                      </a:r>
                      <a:br>
                        <a:rPr lang="zh-CN" altLang="en-US" sz="1300" u="none" strike="noStrike" dirty="0">
                          <a:effectLst/>
                        </a:rPr>
                      </a:br>
                      <a:r>
                        <a:rPr lang="en-US" altLang="zh-CN" sz="1300" u="none" strike="noStrike" dirty="0">
                          <a:effectLst/>
                        </a:rPr>
                        <a:t>(</a:t>
                      </a:r>
                      <a:r>
                        <a:rPr lang="zh-CN" altLang="en-US" sz="1300" u="none" strike="noStrike" dirty="0">
                          <a:effectLst/>
                        </a:rPr>
                        <a:t>单位： 次</a:t>
                      </a:r>
                      <a:r>
                        <a:rPr lang="en-US" altLang="zh-CN" sz="1300" u="none" strike="noStrike" dirty="0">
                          <a:effectLst/>
                        </a:rPr>
                        <a:t>/72</a:t>
                      </a:r>
                      <a:r>
                        <a:rPr lang="zh-CN" altLang="en-US" sz="1300" u="none" strike="noStrike" dirty="0">
                          <a:effectLst/>
                        </a:rPr>
                        <a:t>小时</a:t>
                      </a:r>
                      <a:r>
                        <a:rPr lang="en-US" altLang="zh-CN" sz="1300" u="none" strike="noStrike" dirty="0">
                          <a:effectLst/>
                        </a:rPr>
                        <a:t>)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700" b="1" u="none" strike="noStrike" kern="1200" dirty="0">
                          <a:solidFill>
                            <a:srgbClr val="20B9C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en-US" altLang="zh-CN" sz="1700" b="1" u="none" strike="noStrike" kern="1200" dirty="0">
                        <a:solidFill>
                          <a:srgbClr val="20B9CE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20</a:t>
                      </a:r>
                      <a:endParaRPr lang="en-US" altLang="zh-CN" sz="1300" b="1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300" u="none" strike="noStrike" dirty="0">
                          <a:effectLst/>
                        </a:rPr>
                        <a:t>4</a:t>
                      </a:r>
                      <a:endParaRPr lang="en-US" altLang="zh-CN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1506" marR="11506" marT="11506" marB="0" anchor="ctr">
                    <a:solidFill>
                      <a:srgbClr val="E8EEF8"/>
                    </a:solidFill>
                  </a:tcPr>
                </a:tc>
              </a:tr>
            </a:tbl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5" name="直线连接符 4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847528" y="6093296"/>
            <a:ext cx="74494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噪声环境：包括空调吹风时的噪声，同时有音乐、电视噪声</a:t>
            </a:r>
            <a:endParaRPr kumimoji="1" lang="en-US" altLang="zh-CN" sz="1200" dirty="0"/>
          </a:p>
          <a:p>
            <a:r>
              <a:rPr kumimoji="1" lang="zh-CN" altLang="en-US" sz="1200" dirty="0"/>
              <a:t>负样本语音为</a:t>
            </a:r>
            <a:r>
              <a:rPr kumimoji="1" lang="en-US" altLang="zh-CN" sz="1200" dirty="0"/>
              <a:t>24</a:t>
            </a:r>
            <a:r>
              <a:rPr kumimoji="1" lang="zh-CN" altLang="en-US" sz="1200" dirty="0"/>
              <a:t>小时不间断的电视节目语音：包括体育节目、电视剧、新闻、音乐各</a:t>
            </a:r>
            <a:r>
              <a:rPr kumimoji="1" lang="en-US" altLang="zh-CN" sz="1200" dirty="0"/>
              <a:t>4</a:t>
            </a:r>
            <a:r>
              <a:rPr kumimoji="1" lang="zh-CN" altLang="en-US" sz="1200" dirty="0"/>
              <a:t>小时，综艺节目</a:t>
            </a:r>
            <a:r>
              <a:rPr kumimoji="1" lang="en-US" altLang="zh-CN" sz="1200" dirty="0"/>
              <a:t>8</a:t>
            </a:r>
            <a:r>
              <a:rPr kumimoji="1" lang="zh-CN" altLang="en-US" sz="1200" dirty="0"/>
              <a:t>小时</a:t>
            </a:r>
            <a:endParaRPr kumimoji="1" lang="zh-CN" altLang="en-US" sz="1200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" name="组合 148"/>
          <p:cNvGrpSpPr/>
          <p:nvPr/>
        </p:nvGrpSpPr>
        <p:grpSpPr>
          <a:xfrm>
            <a:off x="868076" y="1377039"/>
            <a:ext cx="10484508" cy="4103922"/>
            <a:chOff x="939023" y="2272144"/>
            <a:chExt cx="10484508" cy="4103922"/>
          </a:xfrm>
        </p:grpSpPr>
        <p:sp>
          <p:nvSpPr>
            <p:cNvPr id="150" name="矩形 149"/>
            <p:cNvSpPr/>
            <p:nvPr/>
          </p:nvSpPr>
          <p:spPr>
            <a:xfrm>
              <a:off x="1692036" y="2541161"/>
              <a:ext cx="110799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kumimoji="1"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开关照明</a:t>
              </a:r>
              <a:endParaRPr kumimoji="1"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51" name="文本框 150"/>
            <p:cNvSpPr txBox="1"/>
            <p:nvPr/>
          </p:nvSpPr>
          <p:spPr>
            <a:xfrm>
              <a:off x="6155974" y="4023143"/>
              <a:ext cx="821211" cy="3474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洗衣机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2" name="文本框 151"/>
            <p:cNvSpPr txBox="1"/>
            <p:nvPr/>
          </p:nvSpPr>
          <p:spPr>
            <a:xfrm>
              <a:off x="5271357" y="4023143"/>
              <a:ext cx="630634" cy="347477"/>
            </a:xfrm>
            <a:prstGeom prst="rect">
              <a:avLst/>
            </a:prstGeom>
            <a:noFill/>
            <a:ln w="22860"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冰箱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3" name="组合 152"/>
            <p:cNvGrpSpPr/>
            <p:nvPr/>
          </p:nvGrpSpPr>
          <p:grpSpPr>
            <a:xfrm>
              <a:off x="5461657" y="3278379"/>
              <a:ext cx="357941" cy="689976"/>
              <a:chOff x="8644545" y="5802086"/>
              <a:chExt cx="357941" cy="689976"/>
            </a:xfrm>
          </p:grpSpPr>
          <p:sp>
            <p:nvSpPr>
              <p:cNvPr id="288" name="Freeform 126"/>
              <p:cNvSpPr/>
              <p:nvPr/>
            </p:nvSpPr>
            <p:spPr bwMode="auto">
              <a:xfrm rot="16200000">
                <a:off x="8678337" y="5940990"/>
                <a:ext cx="139012" cy="25607"/>
              </a:xfrm>
              <a:custGeom>
                <a:avLst/>
                <a:gdLst>
                  <a:gd name="T0" fmla="*/ 0 w 48"/>
                  <a:gd name="T1" fmla="*/ 0 h 9"/>
                  <a:gd name="T2" fmla="*/ 10 w 48"/>
                  <a:gd name="T3" fmla="*/ 9 h 9"/>
                  <a:gd name="T4" fmla="*/ 39 w 48"/>
                  <a:gd name="T5" fmla="*/ 9 h 9"/>
                  <a:gd name="T6" fmla="*/ 48 w 48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9">
                    <a:moveTo>
                      <a:pt x="0" y="0"/>
                    </a:moveTo>
                    <a:cubicBezTo>
                      <a:pt x="0" y="5"/>
                      <a:pt x="3" y="9"/>
                      <a:pt x="10" y="9"/>
                    </a:cubicBezTo>
                    <a:cubicBezTo>
                      <a:pt x="15" y="9"/>
                      <a:pt x="34" y="9"/>
                      <a:pt x="39" y="9"/>
                    </a:cubicBezTo>
                    <a:cubicBezTo>
                      <a:pt x="46" y="9"/>
                      <a:pt x="48" y="5"/>
                      <a:pt x="48" y="0"/>
                    </a:cubicBezTo>
                  </a:path>
                </a:pathLst>
              </a:custGeom>
              <a:noFill/>
              <a:ln w="22860" cap="rnd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89" name="Freeform 127"/>
              <p:cNvSpPr/>
              <p:nvPr/>
            </p:nvSpPr>
            <p:spPr bwMode="auto">
              <a:xfrm rot="16200000">
                <a:off x="8671482" y="6295491"/>
                <a:ext cx="139012" cy="29266"/>
              </a:xfrm>
              <a:custGeom>
                <a:avLst/>
                <a:gdLst>
                  <a:gd name="T0" fmla="*/ 0 w 48"/>
                  <a:gd name="T1" fmla="*/ 0 h 10"/>
                  <a:gd name="T2" fmla="*/ 10 w 48"/>
                  <a:gd name="T3" fmla="*/ 10 h 10"/>
                  <a:gd name="T4" fmla="*/ 39 w 48"/>
                  <a:gd name="T5" fmla="*/ 10 h 10"/>
                  <a:gd name="T6" fmla="*/ 48 w 48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10">
                    <a:moveTo>
                      <a:pt x="0" y="0"/>
                    </a:moveTo>
                    <a:cubicBezTo>
                      <a:pt x="0" y="5"/>
                      <a:pt x="3" y="10"/>
                      <a:pt x="10" y="10"/>
                    </a:cubicBezTo>
                    <a:cubicBezTo>
                      <a:pt x="15" y="10"/>
                      <a:pt x="34" y="10"/>
                      <a:pt x="39" y="10"/>
                    </a:cubicBezTo>
                    <a:cubicBezTo>
                      <a:pt x="46" y="10"/>
                      <a:pt x="48" y="5"/>
                      <a:pt x="48" y="0"/>
                    </a:cubicBezTo>
                  </a:path>
                </a:pathLst>
              </a:custGeom>
              <a:noFill/>
              <a:ln w="22860" cap="rnd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grpSp>
            <p:nvGrpSpPr>
              <p:cNvPr id="290" name="组合 289"/>
              <p:cNvGrpSpPr/>
              <p:nvPr/>
            </p:nvGrpSpPr>
            <p:grpSpPr>
              <a:xfrm>
                <a:off x="8644545" y="5802086"/>
                <a:ext cx="357941" cy="689976"/>
                <a:chOff x="8644545" y="5802086"/>
                <a:chExt cx="498734" cy="689976"/>
              </a:xfrm>
            </p:grpSpPr>
            <p:sp>
              <p:nvSpPr>
                <p:cNvPr id="291" name="Freeform 125"/>
                <p:cNvSpPr/>
                <p:nvPr/>
              </p:nvSpPr>
              <p:spPr bwMode="auto">
                <a:xfrm>
                  <a:off x="8644545" y="5802086"/>
                  <a:ext cx="498734" cy="689976"/>
                </a:xfrm>
                <a:custGeom>
                  <a:avLst/>
                  <a:gdLst>
                    <a:gd name="T0" fmla="*/ 173 w 173"/>
                    <a:gd name="T1" fmla="*/ 187 h 207"/>
                    <a:gd name="T2" fmla="*/ 153 w 173"/>
                    <a:gd name="T3" fmla="*/ 207 h 207"/>
                    <a:gd name="T4" fmla="*/ 19 w 173"/>
                    <a:gd name="T5" fmla="*/ 207 h 207"/>
                    <a:gd name="T6" fmla="*/ 0 w 173"/>
                    <a:gd name="T7" fmla="*/ 187 h 207"/>
                    <a:gd name="T8" fmla="*/ 0 w 173"/>
                    <a:gd name="T9" fmla="*/ 19 h 207"/>
                    <a:gd name="T10" fmla="*/ 19 w 173"/>
                    <a:gd name="T11" fmla="*/ 0 h 207"/>
                    <a:gd name="T12" fmla="*/ 153 w 173"/>
                    <a:gd name="T13" fmla="*/ 0 h 207"/>
                    <a:gd name="T14" fmla="*/ 173 w 173"/>
                    <a:gd name="T15" fmla="*/ 19 h 207"/>
                    <a:gd name="T16" fmla="*/ 173 w 173"/>
                    <a:gd name="T17" fmla="*/ 187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3" h="207">
                      <a:moveTo>
                        <a:pt x="173" y="187"/>
                      </a:moveTo>
                      <a:cubicBezTo>
                        <a:pt x="173" y="198"/>
                        <a:pt x="164" y="207"/>
                        <a:pt x="153" y="207"/>
                      </a:cubicBezTo>
                      <a:cubicBezTo>
                        <a:pt x="19" y="207"/>
                        <a:pt x="19" y="207"/>
                        <a:pt x="19" y="207"/>
                      </a:cubicBezTo>
                      <a:cubicBezTo>
                        <a:pt x="8" y="207"/>
                        <a:pt x="0" y="198"/>
                        <a:pt x="0" y="18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9"/>
                        <a:pt x="8" y="0"/>
                        <a:pt x="19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64" y="0"/>
                        <a:pt x="173" y="9"/>
                        <a:pt x="173" y="19"/>
                      </a:cubicBezTo>
                      <a:lnTo>
                        <a:pt x="173" y="187"/>
                      </a:lnTo>
                      <a:close/>
                    </a:path>
                  </a:pathLst>
                </a:custGeom>
                <a:noFill/>
                <a:ln w="22860" cap="rnd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92" name="Line 128"/>
                <p:cNvSpPr>
                  <a:spLocks noChangeShapeType="1"/>
                </p:cNvSpPr>
                <p:nvPr/>
              </p:nvSpPr>
              <p:spPr bwMode="auto">
                <a:xfrm>
                  <a:off x="8644545" y="6088910"/>
                  <a:ext cx="498734" cy="0"/>
                </a:xfrm>
                <a:prstGeom prst="line">
                  <a:avLst/>
                </a:prstGeom>
                <a:noFill/>
                <a:ln w="22860" cap="rnd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54" name="矩形 153"/>
            <p:cNvSpPr/>
            <p:nvPr/>
          </p:nvSpPr>
          <p:spPr>
            <a:xfrm>
              <a:off x="5278811" y="2526083"/>
              <a:ext cx="87716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kumimoji="1"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冰洗空</a:t>
              </a:r>
              <a:endParaRPr kumimoji="1"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55" name="矩形 154"/>
            <p:cNvSpPr/>
            <p:nvPr/>
          </p:nvSpPr>
          <p:spPr>
            <a:xfrm>
              <a:off x="8792427" y="2515552"/>
              <a:ext cx="1569660" cy="49728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kumimoji="1"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厨卫、小家电</a:t>
              </a:r>
              <a:endParaRPr kumimoji="1"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56" name="文本框 155"/>
            <p:cNvSpPr txBox="1"/>
            <p:nvPr/>
          </p:nvSpPr>
          <p:spPr>
            <a:xfrm>
              <a:off x="10221168" y="4032004"/>
              <a:ext cx="1202363" cy="3474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晾衣架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7" name="组合 156"/>
            <p:cNvGrpSpPr/>
            <p:nvPr/>
          </p:nvGrpSpPr>
          <p:grpSpPr>
            <a:xfrm>
              <a:off x="9248438" y="3370868"/>
              <a:ext cx="1202363" cy="1020294"/>
              <a:chOff x="9123748" y="3508952"/>
              <a:chExt cx="1202363" cy="1020294"/>
            </a:xfrm>
          </p:grpSpPr>
          <p:sp>
            <p:nvSpPr>
              <p:cNvPr id="276" name="文本框 275"/>
              <p:cNvSpPr txBox="1"/>
              <p:nvPr/>
            </p:nvSpPr>
            <p:spPr>
              <a:xfrm>
                <a:off x="9123748" y="4181769"/>
                <a:ext cx="1202363" cy="34747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空气净化器</a:t>
                </a:r>
                <a:endPara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7" name="Freeform 237"/>
              <p:cNvSpPr/>
              <p:nvPr/>
            </p:nvSpPr>
            <p:spPr bwMode="auto">
              <a:xfrm>
                <a:off x="9441335" y="3508952"/>
                <a:ext cx="573581" cy="648276"/>
              </a:xfrm>
              <a:custGeom>
                <a:avLst/>
                <a:gdLst>
                  <a:gd name="T0" fmla="*/ 115 w 115"/>
                  <a:gd name="T1" fmla="*/ 159 h 167"/>
                  <a:gd name="T2" fmla="*/ 107 w 115"/>
                  <a:gd name="T3" fmla="*/ 167 h 167"/>
                  <a:gd name="T4" fmla="*/ 8 w 115"/>
                  <a:gd name="T5" fmla="*/ 167 h 167"/>
                  <a:gd name="T6" fmla="*/ 0 w 115"/>
                  <a:gd name="T7" fmla="*/ 159 h 167"/>
                  <a:gd name="T8" fmla="*/ 0 w 115"/>
                  <a:gd name="T9" fmla="*/ 8 h 167"/>
                  <a:gd name="T10" fmla="*/ 8 w 115"/>
                  <a:gd name="T11" fmla="*/ 0 h 167"/>
                  <a:gd name="T12" fmla="*/ 107 w 115"/>
                  <a:gd name="T13" fmla="*/ 0 h 167"/>
                  <a:gd name="T14" fmla="*/ 115 w 115"/>
                  <a:gd name="T15" fmla="*/ 8 h 167"/>
                  <a:gd name="T16" fmla="*/ 115 w 115"/>
                  <a:gd name="T17" fmla="*/ 15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5" h="167">
                    <a:moveTo>
                      <a:pt x="115" y="159"/>
                    </a:moveTo>
                    <a:cubicBezTo>
                      <a:pt x="115" y="163"/>
                      <a:pt x="111" y="167"/>
                      <a:pt x="107" y="167"/>
                    </a:cubicBezTo>
                    <a:cubicBezTo>
                      <a:pt x="8" y="167"/>
                      <a:pt x="8" y="167"/>
                      <a:pt x="8" y="167"/>
                    </a:cubicBezTo>
                    <a:cubicBezTo>
                      <a:pt x="3" y="167"/>
                      <a:pt x="0" y="163"/>
                      <a:pt x="0" y="15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3" y="0"/>
                      <a:pt x="8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1" y="0"/>
                      <a:pt x="115" y="3"/>
                      <a:pt x="115" y="8"/>
                    </a:cubicBezTo>
                    <a:lnTo>
                      <a:pt x="115" y="159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78" name="Line 123"/>
              <p:cNvSpPr>
                <a:spLocks noChangeShapeType="1"/>
              </p:cNvSpPr>
              <p:nvPr/>
            </p:nvSpPr>
            <p:spPr bwMode="auto">
              <a:xfrm>
                <a:off x="9457978" y="3583294"/>
                <a:ext cx="546118" cy="0"/>
              </a:xfrm>
              <a:prstGeom prst="line">
                <a:avLst/>
              </a:prstGeom>
              <a:noFill/>
              <a:ln w="19050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79" name="Line 125"/>
              <p:cNvSpPr>
                <a:spLocks noChangeShapeType="1"/>
              </p:cNvSpPr>
              <p:nvPr/>
            </p:nvSpPr>
            <p:spPr bwMode="auto">
              <a:xfrm>
                <a:off x="9452567" y="3656451"/>
                <a:ext cx="546118" cy="0"/>
              </a:xfrm>
              <a:prstGeom prst="line">
                <a:avLst/>
              </a:prstGeom>
              <a:noFill/>
              <a:ln w="19050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grpSp>
            <p:nvGrpSpPr>
              <p:cNvPr id="280" name="组合 279"/>
              <p:cNvGrpSpPr/>
              <p:nvPr/>
            </p:nvGrpSpPr>
            <p:grpSpPr>
              <a:xfrm rot="5400000">
                <a:off x="9732646" y="3453511"/>
                <a:ext cx="121054" cy="261770"/>
                <a:chOff x="9001293" y="5358401"/>
                <a:chExt cx="166688" cy="95250"/>
              </a:xfrm>
            </p:grpSpPr>
            <p:sp>
              <p:nvSpPr>
                <p:cNvPr id="286" name="Line 127"/>
                <p:cNvSpPr>
                  <a:spLocks noChangeShapeType="1"/>
                </p:cNvSpPr>
                <p:nvPr/>
              </p:nvSpPr>
              <p:spPr bwMode="auto">
                <a:xfrm>
                  <a:off x="9001293" y="5358401"/>
                  <a:ext cx="166688" cy="0"/>
                </a:xfrm>
                <a:prstGeom prst="line">
                  <a:avLst/>
                </a:pr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87" name="Line 129"/>
                <p:cNvSpPr>
                  <a:spLocks noChangeShapeType="1"/>
                </p:cNvSpPr>
                <p:nvPr/>
              </p:nvSpPr>
              <p:spPr bwMode="auto">
                <a:xfrm>
                  <a:off x="9001293" y="5453651"/>
                  <a:ext cx="166688" cy="0"/>
                </a:xfrm>
                <a:prstGeom prst="line">
                  <a:avLst/>
                </a:pr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81" name="组合 280"/>
              <p:cNvGrpSpPr/>
              <p:nvPr/>
            </p:nvGrpSpPr>
            <p:grpSpPr>
              <a:xfrm rot="5400000">
                <a:off x="9601764" y="3457378"/>
                <a:ext cx="121054" cy="261770"/>
                <a:chOff x="9001293" y="5358401"/>
                <a:chExt cx="166688" cy="95250"/>
              </a:xfrm>
            </p:grpSpPr>
            <p:sp>
              <p:nvSpPr>
                <p:cNvPr id="284" name="Line 127"/>
                <p:cNvSpPr>
                  <a:spLocks noChangeShapeType="1"/>
                </p:cNvSpPr>
                <p:nvPr/>
              </p:nvSpPr>
              <p:spPr bwMode="auto">
                <a:xfrm>
                  <a:off x="9001293" y="5358401"/>
                  <a:ext cx="166688" cy="0"/>
                </a:xfrm>
                <a:prstGeom prst="line">
                  <a:avLst/>
                </a:pr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85" name="Line 129"/>
                <p:cNvSpPr>
                  <a:spLocks noChangeShapeType="1"/>
                </p:cNvSpPr>
                <p:nvPr/>
              </p:nvSpPr>
              <p:spPr bwMode="auto">
                <a:xfrm>
                  <a:off x="9001293" y="5453651"/>
                  <a:ext cx="166688" cy="0"/>
                </a:xfrm>
                <a:prstGeom prst="line">
                  <a:avLst/>
                </a:pr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sp>
            <p:nvSpPr>
              <p:cNvPr id="282" name="Line 125"/>
              <p:cNvSpPr>
                <a:spLocks noChangeShapeType="1"/>
              </p:cNvSpPr>
              <p:nvPr/>
            </p:nvSpPr>
            <p:spPr bwMode="auto">
              <a:xfrm>
                <a:off x="9455067" y="3621644"/>
                <a:ext cx="546118" cy="0"/>
              </a:xfrm>
              <a:prstGeom prst="line">
                <a:avLst/>
              </a:prstGeom>
              <a:noFill/>
              <a:ln w="19050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83" name="Line 125"/>
              <p:cNvSpPr>
                <a:spLocks noChangeShapeType="1"/>
              </p:cNvSpPr>
              <p:nvPr/>
            </p:nvSpPr>
            <p:spPr bwMode="auto">
              <a:xfrm>
                <a:off x="9455067" y="3545389"/>
                <a:ext cx="546118" cy="0"/>
              </a:xfrm>
              <a:prstGeom prst="line">
                <a:avLst/>
              </a:prstGeom>
              <a:noFill/>
              <a:ln w="19050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158" name="文本框 157"/>
            <p:cNvSpPr txBox="1"/>
            <p:nvPr/>
          </p:nvSpPr>
          <p:spPr>
            <a:xfrm>
              <a:off x="8516321" y="4043525"/>
              <a:ext cx="821211" cy="3474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油烟机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9" name="组合 158"/>
            <p:cNvGrpSpPr/>
            <p:nvPr/>
          </p:nvGrpSpPr>
          <p:grpSpPr>
            <a:xfrm>
              <a:off x="8537493" y="3378671"/>
              <a:ext cx="777823" cy="640473"/>
              <a:chOff x="7712278" y="5167556"/>
              <a:chExt cx="879006" cy="640473"/>
            </a:xfrm>
          </p:grpSpPr>
          <p:grpSp>
            <p:nvGrpSpPr>
              <p:cNvPr id="268" name="组合 267"/>
              <p:cNvGrpSpPr/>
              <p:nvPr/>
            </p:nvGrpSpPr>
            <p:grpSpPr>
              <a:xfrm>
                <a:off x="7712278" y="5167556"/>
                <a:ext cx="879006" cy="640473"/>
                <a:chOff x="9010750" y="3296511"/>
                <a:chExt cx="1067192" cy="640473"/>
              </a:xfrm>
            </p:grpSpPr>
            <p:sp>
              <p:nvSpPr>
                <p:cNvPr id="270" name="Freeform 25"/>
                <p:cNvSpPr/>
                <p:nvPr/>
              </p:nvSpPr>
              <p:spPr bwMode="auto">
                <a:xfrm>
                  <a:off x="9126645" y="3461922"/>
                  <a:ext cx="811880" cy="206086"/>
                </a:xfrm>
                <a:custGeom>
                  <a:avLst/>
                  <a:gdLst>
                    <a:gd name="T0" fmla="*/ 190 w 191"/>
                    <a:gd name="T1" fmla="*/ 66 h 70"/>
                    <a:gd name="T2" fmla="*/ 188 w 191"/>
                    <a:gd name="T3" fmla="*/ 70 h 70"/>
                    <a:gd name="T4" fmla="*/ 4 w 191"/>
                    <a:gd name="T5" fmla="*/ 70 h 70"/>
                    <a:gd name="T6" fmla="*/ 1 w 191"/>
                    <a:gd name="T7" fmla="*/ 66 h 70"/>
                    <a:gd name="T8" fmla="*/ 24 w 191"/>
                    <a:gd name="T9" fmla="*/ 4 h 70"/>
                    <a:gd name="T10" fmla="*/ 29 w 191"/>
                    <a:gd name="T11" fmla="*/ 0 h 70"/>
                    <a:gd name="T12" fmla="*/ 160 w 191"/>
                    <a:gd name="T13" fmla="*/ 0 h 70"/>
                    <a:gd name="T14" fmla="*/ 166 w 191"/>
                    <a:gd name="T15" fmla="*/ 4 h 70"/>
                    <a:gd name="T16" fmla="*/ 190 w 191"/>
                    <a:gd name="T17" fmla="*/ 6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1" h="70">
                      <a:moveTo>
                        <a:pt x="190" y="66"/>
                      </a:moveTo>
                      <a:cubicBezTo>
                        <a:pt x="191" y="68"/>
                        <a:pt x="190" y="70"/>
                        <a:pt x="188" y="70"/>
                      </a:cubicBezTo>
                      <a:cubicBezTo>
                        <a:pt x="4" y="70"/>
                        <a:pt x="4" y="70"/>
                        <a:pt x="4" y="70"/>
                      </a:cubicBezTo>
                      <a:cubicBezTo>
                        <a:pt x="1" y="70"/>
                        <a:pt x="0" y="68"/>
                        <a:pt x="1" y="66"/>
                      </a:cubicBezTo>
                      <a:cubicBezTo>
                        <a:pt x="24" y="4"/>
                        <a:pt x="24" y="4"/>
                        <a:pt x="24" y="4"/>
                      </a:cubicBezTo>
                      <a:cubicBezTo>
                        <a:pt x="25" y="2"/>
                        <a:pt x="27" y="0"/>
                        <a:pt x="29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2" y="0"/>
                        <a:pt x="165" y="2"/>
                        <a:pt x="166" y="4"/>
                      </a:cubicBezTo>
                      <a:lnTo>
                        <a:pt x="190" y="66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71" name="Rectangle 202"/>
                <p:cNvSpPr>
                  <a:spLocks noChangeArrowheads="1"/>
                </p:cNvSpPr>
                <p:nvPr/>
              </p:nvSpPr>
              <p:spPr bwMode="auto">
                <a:xfrm>
                  <a:off x="9010750" y="3669406"/>
                  <a:ext cx="1067192" cy="100002"/>
                </a:xfrm>
                <a:prstGeom prst="rect">
                  <a:avLst/>
                </a:pr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72" name="Rectangle 194"/>
                <p:cNvSpPr>
                  <a:spLocks noChangeArrowheads="1"/>
                </p:cNvSpPr>
                <p:nvPr/>
              </p:nvSpPr>
              <p:spPr bwMode="auto">
                <a:xfrm>
                  <a:off x="9441170" y="3296511"/>
                  <a:ext cx="182830" cy="155265"/>
                </a:xfrm>
                <a:prstGeom prst="rect">
                  <a:avLst/>
                </a:pr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73" name="Freeform 87"/>
                <p:cNvSpPr/>
                <p:nvPr/>
              </p:nvSpPr>
              <p:spPr bwMode="auto">
                <a:xfrm rot="11500643" flipH="1">
                  <a:off x="9224937" y="3829860"/>
                  <a:ext cx="141353" cy="107123"/>
                </a:xfrm>
                <a:custGeom>
                  <a:avLst/>
                  <a:gdLst>
                    <a:gd name="T0" fmla="*/ 99 w 108"/>
                    <a:gd name="T1" fmla="*/ 0 h 204"/>
                    <a:gd name="T2" fmla="*/ 108 w 108"/>
                    <a:gd name="T3" fmla="*/ 113 h 204"/>
                    <a:gd name="T4" fmla="*/ 9 w 108"/>
                    <a:gd name="T5" fmla="*/ 181 h 204"/>
                    <a:gd name="T6" fmla="*/ 0 w 108"/>
                    <a:gd name="T7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8" h="204">
                      <a:moveTo>
                        <a:pt x="99" y="0"/>
                      </a:moveTo>
                      <a:lnTo>
                        <a:pt x="108" y="113"/>
                      </a:lnTo>
                      <a:lnTo>
                        <a:pt x="9" y="181"/>
                      </a:lnTo>
                      <a:lnTo>
                        <a:pt x="0" y="204"/>
                      </a:lnTo>
                    </a:path>
                  </a:pathLst>
                </a:cu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74" name="Freeform 87"/>
                <p:cNvSpPr/>
                <p:nvPr/>
              </p:nvSpPr>
              <p:spPr bwMode="auto">
                <a:xfrm rot="11500643" flipH="1">
                  <a:off x="9627785" y="3823000"/>
                  <a:ext cx="141353" cy="107123"/>
                </a:xfrm>
                <a:custGeom>
                  <a:avLst/>
                  <a:gdLst>
                    <a:gd name="T0" fmla="*/ 99 w 108"/>
                    <a:gd name="T1" fmla="*/ 0 h 204"/>
                    <a:gd name="T2" fmla="*/ 108 w 108"/>
                    <a:gd name="T3" fmla="*/ 113 h 204"/>
                    <a:gd name="T4" fmla="*/ 9 w 108"/>
                    <a:gd name="T5" fmla="*/ 181 h 204"/>
                    <a:gd name="T6" fmla="*/ 0 w 108"/>
                    <a:gd name="T7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8" h="204">
                      <a:moveTo>
                        <a:pt x="99" y="0"/>
                      </a:moveTo>
                      <a:lnTo>
                        <a:pt x="108" y="113"/>
                      </a:lnTo>
                      <a:lnTo>
                        <a:pt x="9" y="181"/>
                      </a:lnTo>
                      <a:lnTo>
                        <a:pt x="0" y="204"/>
                      </a:lnTo>
                    </a:path>
                  </a:pathLst>
                </a:cu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75" name="Freeform 87"/>
                <p:cNvSpPr/>
                <p:nvPr/>
              </p:nvSpPr>
              <p:spPr bwMode="auto">
                <a:xfrm rot="11500643" flipH="1">
                  <a:off x="9433550" y="3829861"/>
                  <a:ext cx="141353" cy="107123"/>
                </a:xfrm>
                <a:custGeom>
                  <a:avLst/>
                  <a:gdLst>
                    <a:gd name="T0" fmla="*/ 99 w 108"/>
                    <a:gd name="T1" fmla="*/ 0 h 204"/>
                    <a:gd name="T2" fmla="*/ 108 w 108"/>
                    <a:gd name="T3" fmla="*/ 113 h 204"/>
                    <a:gd name="T4" fmla="*/ 9 w 108"/>
                    <a:gd name="T5" fmla="*/ 181 h 204"/>
                    <a:gd name="T6" fmla="*/ 0 w 108"/>
                    <a:gd name="T7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8" h="204">
                      <a:moveTo>
                        <a:pt x="99" y="0"/>
                      </a:moveTo>
                      <a:lnTo>
                        <a:pt x="108" y="113"/>
                      </a:lnTo>
                      <a:lnTo>
                        <a:pt x="9" y="181"/>
                      </a:lnTo>
                      <a:lnTo>
                        <a:pt x="0" y="204"/>
                      </a:lnTo>
                    </a:path>
                  </a:pathLst>
                </a:cu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sp>
            <p:nvSpPr>
              <p:cNvPr id="269" name="Freeform 87"/>
              <p:cNvSpPr/>
              <p:nvPr/>
            </p:nvSpPr>
            <p:spPr bwMode="auto">
              <a:xfrm rot="11500643" flipH="1">
                <a:off x="8354227" y="5690072"/>
                <a:ext cx="116427" cy="107123"/>
              </a:xfrm>
              <a:custGeom>
                <a:avLst/>
                <a:gdLst>
                  <a:gd name="T0" fmla="*/ 99 w 108"/>
                  <a:gd name="T1" fmla="*/ 0 h 204"/>
                  <a:gd name="T2" fmla="*/ 108 w 108"/>
                  <a:gd name="T3" fmla="*/ 113 h 204"/>
                  <a:gd name="T4" fmla="*/ 9 w 108"/>
                  <a:gd name="T5" fmla="*/ 181 h 204"/>
                  <a:gd name="T6" fmla="*/ 0 w 108"/>
                  <a:gd name="T7" fmla="*/ 20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8" h="204">
                    <a:moveTo>
                      <a:pt x="99" y="0"/>
                    </a:moveTo>
                    <a:lnTo>
                      <a:pt x="108" y="113"/>
                    </a:lnTo>
                    <a:lnTo>
                      <a:pt x="9" y="181"/>
                    </a:lnTo>
                    <a:lnTo>
                      <a:pt x="0" y="204"/>
                    </a:lnTo>
                  </a:path>
                </a:pathLst>
              </a:custGeom>
              <a:noFill/>
              <a:ln w="19050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160" name="文本框 159"/>
            <p:cNvSpPr txBox="1"/>
            <p:nvPr/>
          </p:nvSpPr>
          <p:spPr>
            <a:xfrm>
              <a:off x="1498781" y="5378441"/>
              <a:ext cx="630635" cy="316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开关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1" name="文本框 160"/>
            <p:cNvSpPr txBox="1"/>
            <p:nvPr/>
          </p:nvSpPr>
          <p:spPr>
            <a:xfrm>
              <a:off x="2509060" y="5378441"/>
              <a:ext cx="630634" cy="316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插座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2" name="文本框 161"/>
            <p:cNvSpPr txBox="1"/>
            <p:nvPr/>
          </p:nvSpPr>
          <p:spPr>
            <a:xfrm>
              <a:off x="8171922" y="5354891"/>
              <a:ext cx="1011787" cy="316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语音宝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63" name="组合 162"/>
            <p:cNvGrpSpPr/>
            <p:nvPr/>
          </p:nvGrpSpPr>
          <p:grpSpPr>
            <a:xfrm>
              <a:off x="1117360" y="3278379"/>
              <a:ext cx="2515716" cy="933799"/>
              <a:chOff x="897160" y="4675328"/>
              <a:chExt cx="2515716" cy="933799"/>
            </a:xfrm>
          </p:grpSpPr>
          <p:grpSp>
            <p:nvGrpSpPr>
              <p:cNvPr id="251" name="组合 250"/>
              <p:cNvGrpSpPr/>
              <p:nvPr/>
            </p:nvGrpSpPr>
            <p:grpSpPr>
              <a:xfrm>
                <a:off x="2817152" y="4675328"/>
                <a:ext cx="442913" cy="506320"/>
                <a:chOff x="944378" y="4653836"/>
                <a:chExt cx="442913" cy="506320"/>
              </a:xfrm>
            </p:grpSpPr>
            <p:grpSp>
              <p:nvGrpSpPr>
                <p:cNvPr id="264" name="组合 263"/>
                <p:cNvGrpSpPr/>
                <p:nvPr/>
              </p:nvGrpSpPr>
              <p:grpSpPr>
                <a:xfrm>
                  <a:off x="944378" y="4653836"/>
                  <a:ext cx="442913" cy="403063"/>
                  <a:chOff x="11653839" y="1155863"/>
                  <a:chExt cx="442913" cy="403063"/>
                </a:xfrm>
              </p:grpSpPr>
              <p:sp>
                <p:nvSpPr>
                  <p:cNvPr id="266" name="Freeform 44"/>
                  <p:cNvSpPr/>
                  <p:nvPr/>
                </p:nvSpPr>
                <p:spPr bwMode="auto">
                  <a:xfrm>
                    <a:off x="11653839" y="1336676"/>
                    <a:ext cx="442913" cy="222250"/>
                  </a:xfrm>
                  <a:custGeom>
                    <a:avLst/>
                    <a:gdLst>
                      <a:gd name="T0" fmla="*/ 78 w 157"/>
                      <a:gd name="T1" fmla="*/ 0 h 79"/>
                      <a:gd name="T2" fmla="*/ 0 w 157"/>
                      <a:gd name="T3" fmla="*/ 79 h 79"/>
                      <a:gd name="T4" fmla="*/ 157 w 157"/>
                      <a:gd name="T5" fmla="*/ 79 h 79"/>
                      <a:gd name="T6" fmla="*/ 78 w 157"/>
                      <a:gd name="T7" fmla="*/ 0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7" h="79">
                        <a:moveTo>
                          <a:pt x="78" y="0"/>
                        </a:moveTo>
                        <a:cubicBezTo>
                          <a:pt x="35" y="0"/>
                          <a:pt x="0" y="35"/>
                          <a:pt x="0" y="79"/>
                        </a:cubicBezTo>
                        <a:cubicBezTo>
                          <a:pt x="157" y="79"/>
                          <a:pt x="157" y="79"/>
                          <a:pt x="157" y="79"/>
                        </a:cubicBezTo>
                        <a:cubicBezTo>
                          <a:pt x="157" y="35"/>
                          <a:pt x="122" y="0"/>
                          <a:pt x="78" y="0"/>
                        </a:cubicBezTo>
                        <a:close/>
                      </a:path>
                    </a:pathLst>
                  </a:custGeom>
                  <a:noFill/>
                  <a:ln w="22225" cap="rnd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/>
                  </a:p>
                </p:txBody>
              </p:sp>
              <p:sp>
                <p:nvSpPr>
                  <p:cNvPr id="267" name="Freeform 45"/>
                  <p:cNvSpPr/>
                  <p:nvPr/>
                </p:nvSpPr>
                <p:spPr bwMode="auto">
                  <a:xfrm rot="5400000">
                    <a:off x="11784888" y="1223410"/>
                    <a:ext cx="180813" cy="45719"/>
                  </a:xfrm>
                  <a:custGeom>
                    <a:avLst/>
                    <a:gdLst>
                      <a:gd name="T0" fmla="*/ 192 w 192"/>
                      <a:gd name="T1" fmla="*/ 22 h 30"/>
                      <a:gd name="T2" fmla="*/ 184 w 192"/>
                      <a:gd name="T3" fmla="*/ 30 h 30"/>
                      <a:gd name="T4" fmla="*/ 8 w 192"/>
                      <a:gd name="T5" fmla="*/ 30 h 30"/>
                      <a:gd name="T6" fmla="*/ 0 w 192"/>
                      <a:gd name="T7" fmla="*/ 22 h 30"/>
                      <a:gd name="T8" fmla="*/ 0 w 192"/>
                      <a:gd name="T9" fmla="*/ 8 h 30"/>
                      <a:gd name="T10" fmla="*/ 8 w 192"/>
                      <a:gd name="T11" fmla="*/ 0 h 30"/>
                      <a:gd name="T12" fmla="*/ 184 w 192"/>
                      <a:gd name="T13" fmla="*/ 0 h 30"/>
                      <a:gd name="T14" fmla="*/ 192 w 192"/>
                      <a:gd name="T15" fmla="*/ 8 h 30"/>
                      <a:gd name="T16" fmla="*/ 192 w 192"/>
                      <a:gd name="T17" fmla="*/ 22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92" h="30">
                        <a:moveTo>
                          <a:pt x="192" y="22"/>
                        </a:moveTo>
                        <a:cubicBezTo>
                          <a:pt x="192" y="27"/>
                          <a:pt x="189" y="30"/>
                          <a:pt x="184" y="30"/>
                        </a:cubicBezTo>
                        <a:cubicBezTo>
                          <a:pt x="8" y="30"/>
                          <a:pt x="8" y="30"/>
                          <a:pt x="8" y="30"/>
                        </a:cubicBezTo>
                        <a:cubicBezTo>
                          <a:pt x="4" y="30"/>
                          <a:pt x="0" y="27"/>
                          <a:pt x="0" y="22"/>
                        </a:cubicBezTo>
                        <a:cubicBezTo>
                          <a:pt x="0" y="8"/>
                          <a:pt x="0" y="8"/>
                          <a:pt x="0" y="8"/>
                        </a:cubicBezTo>
                        <a:cubicBezTo>
                          <a:pt x="0" y="4"/>
                          <a:pt x="4" y="0"/>
                          <a:pt x="8" y="0"/>
                        </a:cubicBezTo>
                        <a:cubicBezTo>
                          <a:pt x="184" y="0"/>
                          <a:pt x="184" y="0"/>
                          <a:pt x="184" y="0"/>
                        </a:cubicBezTo>
                        <a:cubicBezTo>
                          <a:pt x="189" y="0"/>
                          <a:pt x="192" y="4"/>
                          <a:pt x="192" y="8"/>
                        </a:cubicBezTo>
                        <a:lnTo>
                          <a:pt x="192" y="22"/>
                        </a:lnTo>
                        <a:close/>
                      </a:path>
                    </a:pathLst>
                  </a:custGeom>
                  <a:noFill/>
                  <a:ln w="22225" cap="rnd">
                    <a:solidFill>
                      <a:schemeClr val="bg1">
                        <a:lumMod val="50000"/>
                      </a:schemeClr>
                    </a:solidFill>
                    <a:prstDash val="solid"/>
                    <a:round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265" name="Freeform 122"/>
                <p:cNvSpPr/>
                <p:nvPr/>
              </p:nvSpPr>
              <p:spPr bwMode="auto">
                <a:xfrm rot="5400000">
                  <a:off x="1125308" y="5016818"/>
                  <a:ext cx="57107" cy="229570"/>
                </a:xfrm>
                <a:custGeom>
                  <a:avLst/>
                  <a:gdLst>
                    <a:gd name="T0" fmla="*/ 0 w 21"/>
                    <a:gd name="T1" fmla="*/ 85 h 85"/>
                    <a:gd name="T2" fmla="*/ 21 w 21"/>
                    <a:gd name="T3" fmla="*/ 41 h 85"/>
                    <a:gd name="T4" fmla="*/ 4 w 21"/>
                    <a:gd name="T5" fmla="*/ 0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" h="85">
                      <a:moveTo>
                        <a:pt x="0" y="85"/>
                      </a:moveTo>
                      <a:cubicBezTo>
                        <a:pt x="13" y="75"/>
                        <a:pt x="21" y="59"/>
                        <a:pt x="21" y="41"/>
                      </a:cubicBezTo>
                      <a:cubicBezTo>
                        <a:pt x="21" y="25"/>
                        <a:pt x="15" y="11"/>
                        <a:pt x="4" y="0"/>
                      </a:cubicBezTo>
                    </a:path>
                  </a:pathLst>
                </a:custGeom>
                <a:noFill/>
                <a:ln w="30163" cap="flat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sp>
            <p:nvSpPr>
              <p:cNvPr id="252" name="文本框 251"/>
              <p:cNvSpPr txBox="1"/>
              <p:nvPr/>
            </p:nvSpPr>
            <p:spPr>
              <a:xfrm>
                <a:off x="2591665" y="5292822"/>
                <a:ext cx="821211" cy="3163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吊灯</a:t>
                </a:r>
                <a:endPara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3" name="文本框 252"/>
              <p:cNvSpPr txBox="1"/>
              <p:nvPr/>
            </p:nvSpPr>
            <p:spPr>
              <a:xfrm>
                <a:off x="897160" y="5258782"/>
                <a:ext cx="839674" cy="3163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台灯</a:t>
                </a:r>
                <a:endPara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54" name="组合 253"/>
              <p:cNvGrpSpPr/>
              <p:nvPr/>
            </p:nvGrpSpPr>
            <p:grpSpPr>
              <a:xfrm>
                <a:off x="1908275" y="4921317"/>
                <a:ext cx="542925" cy="221457"/>
                <a:chOff x="1908275" y="4709040"/>
                <a:chExt cx="542925" cy="221457"/>
              </a:xfrm>
            </p:grpSpPr>
            <p:sp>
              <p:nvSpPr>
                <p:cNvPr id="262" name="Oval 279"/>
                <p:cNvSpPr>
                  <a:spLocks noChangeArrowheads="1"/>
                </p:cNvSpPr>
                <p:nvPr/>
              </p:nvSpPr>
              <p:spPr bwMode="auto">
                <a:xfrm>
                  <a:off x="1908275" y="4716211"/>
                  <a:ext cx="542925" cy="142875"/>
                </a:xfrm>
                <a:prstGeom prst="ellipse">
                  <a:avLst/>
                </a:prstGeom>
                <a:noFill/>
                <a:ln w="22225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63" name="Oval 279"/>
                <p:cNvSpPr>
                  <a:spLocks noChangeArrowheads="1"/>
                </p:cNvSpPr>
                <p:nvPr/>
              </p:nvSpPr>
              <p:spPr bwMode="auto">
                <a:xfrm>
                  <a:off x="1908275" y="4709040"/>
                  <a:ext cx="542925" cy="221457"/>
                </a:xfrm>
                <a:prstGeom prst="ellipse">
                  <a:avLst/>
                </a:prstGeom>
                <a:noFill/>
                <a:ln w="22225" cap="rnd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sp>
            <p:nvSpPr>
              <p:cNvPr id="255" name="文本框 254"/>
              <p:cNvSpPr txBox="1"/>
              <p:nvPr/>
            </p:nvSpPr>
            <p:spPr>
              <a:xfrm>
                <a:off x="1752311" y="5258781"/>
                <a:ext cx="821211" cy="3163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吸顶灯</a:t>
                </a:r>
                <a:endPara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56" name="组合 255"/>
              <p:cNvGrpSpPr/>
              <p:nvPr/>
            </p:nvGrpSpPr>
            <p:grpSpPr>
              <a:xfrm>
                <a:off x="1096274" y="4677327"/>
                <a:ext cx="458788" cy="561976"/>
                <a:chOff x="8901113" y="400051"/>
                <a:chExt cx="458788" cy="561976"/>
              </a:xfrm>
            </p:grpSpPr>
            <p:sp>
              <p:nvSpPr>
                <p:cNvPr id="257" name="Freeform 43"/>
                <p:cNvSpPr/>
                <p:nvPr/>
              </p:nvSpPr>
              <p:spPr bwMode="auto">
                <a:xfrm>
                  <a:off x="8901113" y="400051"/>
                  <a:ext cx="250825" cy="493713"/>
                </a:xfrm>
                <a:custGeom>
                  <a:avLst/>
                  <a:gdLst>
                    <a:gd name="T0" fmla="*/ 158 w 158"/>
                    <a:gd name="T1" fmla="*/ 311 h 311"/>
                    <a:gd name="T2" fmla="*/ 0 w 158"/>
                    <a:gd name="T3" fmla="*/ 153 h 311"/>
                    <a:gd name="T4" fmla="*/ 158 w 158"/>
                    <a:gd name="T5" fmla="*/ 0 h 3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8" h="311">
                      <a:moveTo>
                        <a:pt x="158" y="311"/>
                      </a:moveTo>
                      <a:lnTo>
                        <a:pt x="0" y="153"/>
                      </a:lnTo>
                      <a:lnTo>
                        <a:pt x="158" y="0"/>
                      </a:lnTo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58" name="Rectangle 44"/>
                <p:cNvSpPr>
                  <a:spLocks noChangeArrowheads="1"/>
                </p:cNvSpPr>
                <p:nvPr/>
              </p:nvSpPr>
              <p:spPr bwMode="auto">
                <a:xfrm>
                  <a:off x="9026526" y="893764"/>
                  <a:ext cx="254000" cy="68263"/>
                </a:xfrm>
                <a:prstGeom prst="rect">
                  <a:avLst/>
                </a:pr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59" name="Freeform 45"/>
                <p:cNvSpPr/>
                <p:nvPr/>
              </p:nvSpPr>
              <p:spPr bwMode="auto">
                <a:xfrm>
                  <a:off x="9137651" y="438151"/>
                  <a:ext cx="219075" cy="219075"/>
                </a:xfrm>
                <a:custGeom>
                  <a:avLst/>
                  <a:gdLst>
                    <a:gd name="T0" fmla="*/ 16 w 75"/>
                    <a:gd name="T1" fmla="*/ 16 h 75"/>
                    <a:gd name="T2" fmla="*/ 16 w 75"/>
                    <a:gd name="T3" fmla="*/ 75 h 75"/>
                    <a:gd name="T4" fmla="*/ 75 w 75"/>
                    <a:gd name="T5" fmla="*/ 16 h 75"/>
                    <a:gd name="T6" fmla="*/ 16 w 75"/>
                    <a:gd name="T7" fmla="*/ 16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5" h="75">
                      <a:moveTo>
                        <a:pt x="16" y="16"/>
                      </a:moveTo>
                      <a:cubicBezTo>
                        <a:pt x="0" y="32"/>
                        <a:pt x="0" y="59"/>
                        <a:pt x="16" y="75"/>
                      </a:cubicBezTo>
                      <a:cubicBezTo>
                        <a:pt x="75" y="16"/>
                        <a:pt x="75" y="16"/>
                        <a:pt x="75" y="16"/>
                      </a:cubicBezTo>
                      <a:cubicBezTo>
                        <a:pt x="59" y="0"/>
                        <a:pt x="32" y="0"/>
                        <a:pt x="16" y="16"/>
                      </a:cubicBezTo>
                      <a:close/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60" name="Freeform 46"/>
                <p:cNvSpPr/>
                <p:nvPr/>
              </p:nvSpPr>
              <p:spPr bwMode="auto">
                <a:xfrm>
                  <a:off x="9251951" y="552451"/>
                  <a:ext cx="107950" cy="104775"/>
                </a:xfrm>
                <a:custGeom>
                  <a:avLst/>
                  <a:gdLst>
                    <a:gd name="T0" fmla="*/ 30 w 37"/>
                    <a:gd name="T1" fmla="*/ 6 h 36"/>
                    <a:gd name="T2" fmla="*/ 30 w 37"/>
                    <a:gd name="T3" fmla="*/ 30 h 36"/>
                    <a:gd name="T4" fmla="*/ 7 w 37"/>
                    <a:gd name="T5" fmla="*/ 30 h 36"/>
                    <a:gd name="T6" fmla="*/ 7 w 37"/>
                    <a:gd name="T7" fmla="*/ 6 h 36"/>
                    <a:gd name="T8" fmla="*/ 30 w 37"/>
                    <a:gd name="T9" fmla="*/ 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36">
                      <a:moveTo>
                        <a:pt x="30" y="6"/>
                      </a:moveTo>
                      <a:cubicBezTo>
                        <a:pt x="37" y="13"/>
                        <a:pt x="37" y="23"/>
                        <a:pt x="30" y="30"/>
                      </a:cubicBezTo>
                      <a:cubicBezTo>
                        <a:pt x="24" y="36"/>
                        <a:pt x="13" y="36"/>
                        <a:pt x="7" y="30"/>
                      </a:cubicBezTo>
                      <a:cubicBezTo>
                        <a:pt x="0" y="23"/>
                        <a:pt x="0" y="13"/>
                        <a:pt x="7" y="6"/>
                      </a:cubicBezTo>
                      <a:cubicBezTo>
                        <a:pt x="13" y="0"/>
                        <a:pt x="24" y="0"/>
                        <a:pt x="30" y="6"/>
                      </a:cubicBezTo>
                      <a:close/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61" name="Freeform 47"/>
                <p:cNvSpPr/>
                <p:nvPr/>
              </p:nvSpPr>
              <p:spPr bwMode="auto">
                <a:xfrm>
                  <a:off x="9126538" y="434976"/>
                  <a:ext cx="66675" cy="65088"/>
                </a:xfrm>
                <a:custGeom>
                  <a:avLst/>
                  <a:gdLst>
                    <a:gd name="T0" fmla="*/ 19 w 23"/>
                    <a:gd name="T1" fmla="*/ 4 h 22"/>
                    <a:gd name="T2" fmla="*/ 19 w 23"/>
                    <a:gd name="T3" fmla="*/ 18 h 22"/>
                    <a:gd name="T4" fmla="*/ 4 w 23"/>
                    <a:gd name="T5" fmla="*/ 18 h 22"/>
                    <a:gd name="T6" fmla="*/ 4 w 23"/>
                    <a:gd name="T7" fmla="*/ 4 h 22"/>
                    <a:gd name="T8" fmla="*/ 19 w 23"/>
                    <a:gd name="T9" fmla="*/ 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22">
                      <a:moveTo>
                        <a:pt x="19" y="4"/>
                      </a:moveTo>
                      <a:cubicBezTo>
                        <a:pt x="23" y="8"/>
                        <a:pt x="23" y="14"/>
                        <a:pt x="19" y="18"/>
                      </a:cubicBezTo>
                      <a:cubicBezTo>
                        <a:pt x="15" y="22"/>
                        <a:pt x="8" y="22"/>
                        <a:pt x="4" y="18"/>
                      </a:cubicBezTo>
                      <a:cubicBezTo>
                        <a:pt x="0" y="14"/>
                        <a:pt x="0" y="8"/>
                        <a:pt x="4" y="4"/>
                      </a:cubicBezTo>
                      <a:cubicBezTo>
                        <a:pt x="8" y="0"/>
                        <a:pt x="15" y="0"/>
                        <a:pt x="19" y="4"/>
                      </a:cubicBezTo>
                      <a:close/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64" name="文本框 163"/>
            <p:cNvSpPr txBox="1"/>
            <p:nvPr/>
          </p:nvSpPr>
          <p:spPr>
            <a:xfrm>
              <a:off x="4743624" y="5369782"/>
              <a:ext cx="756935" cy="316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立式空调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5" name="Freeform 87"/>
            <p:cNvSpPr>
              <a:spLocks noEditPoints="1"/>
            </p:cNvSpPr>
            <p:nvPr/>
          </p:nvSpPr>
          <p:spPr bwMode="auto">
            <a:xfrm>
              <a:off x="5907585" y="4809410"/>
              <a:ext cx="469222" cy="530200"/>
            </a:xfrm>
            <a:custGeom>
              <a:avLst/>
              <a:gdLst>
                <a:gd name="T0" fmla="*/ 168 w 192"/>
                <a:gd name="T1" fmla="*/ 0 h 217"/>
                <a:gd name="T2" fmla="*/ 24 w 192"/>
                <a:gd name="T3" fmla="*/ 0 h 217"/>
                <a:gd name="T4" fmla="*/ 0 w 192"/>
                <a:gd name="T5" fmla="*/ 24 h 217"/>
                <a:gd name="T6" fmla="*/ 0 w 192"/>
                <a:gd name="T7" fmla="*/ 42 h 217"/>
                <a:gd name="T8" fmla="*/ 0 w 192"/>
                <a:gd name="T9" fmla="*/ 66 h 217"/>
                <a:gd name="T10" fmla="*/ 0 w 192"/>
                <a:gd name="T11" fmla="*/ 180 h 217"/>
                <a:gd name="T12" fmla="*/ 22 w 192"/>
                <a:gd name="T13" fmla="*/ 204 h 217"/>
                <a:gd name="T14" fmla="*/ 20 w 192"/>
                <a:gd name="T15" fmla="*/ 209 h 217"/>
                <a:gd name="T16" fmla="*/ 28 w 192"/>
                <a:gd name="T17" fmla="*/ 217 h 217"/>
                <a:gd name="T18" fmla="*/ 36 w 192"/>
                <a:gd name="T19" fmla="*/ 209 h 217"/>
                <a:gd name="T20" fmla="*/ 34 w 192"/>
                <a:gd name="T21" fmla="*/ 204 h 217"/>
                <a:gd name="T22" fmla="*/ 158 w 192"/>
                <a:gd name="T23" fmla="*/ 204 h 217"/>
                <a:gd name="T24" fmla="*/ 156 w 192"/>
                <a:gd name="T25" fmla="*/ 209 h 217"/>
                <a:gd name="T26" fmla="*/ 164 w 192"/>
                <a:gd name="T27" fmla="*/ 217 h 217"/>
                <a:gd name="T28" fmla="*/ 172 w 192"/>
                <a:gd name="T29" fmla="*/ 209 h 217"/>
                <a:gd name="T30" fmla="*/ 170 w 192"/>
                <a:gd name="T31" fmla="*/ 204 h 217"/>
                <a:gd name="T32" fmla="*/ 192 w 192"/>
                <a:gd name="T33" fmla="*/ 180 h 217"/>
                <a:gd name="T34" fmla="*/ 192 w 192"/>
                <a:gd name="T35" fmla="*/ 66 h 217"/>
                <a:gd name="T36" fmla="*/ 192 w 192"/>
                <a:gd name="T37" fmla="*/ 42 h 217"/>
                <a:gd name="T38" fmla="*/ 192 w 192"/>
                <a:gd name="T39" fmla="*/ 24 h 217"/>
                <a:gd name="T40" fmla="*/ 168 w 192"/>
                <a:gd name="T41" fmla="*/ 0 h 217"/>
                <a:gd name="T42" fmla="*/ 8 w 192"/>
                <a:gd name="T43" fmla="*/ 72 h 217"/>
                <a:gd name="T44" fmla="*/ 80 w 192"/>
                <a:gd name="T45" fmla="*/ 72 h 217"/>
                <a:gd name="T46" fmla="*/ 156 w 192"/>
                <a:gd name="T47" fmla="*/ 148 h 217"/>
                <a:gd name="T48" fmla="*/ 8 w 192"/>
                <a:gd name="T49" fmla="*/ 148 h 217"/>
                <a:gd name="T50" fmla="*/ 8 w 192"/>
                <a:gd name="T51" fmla="*/ 72 h 217"/>
                <a:gd name="T52" fmla="*/ 184 w 192"/>
                <a:gd name="T53" fmla="*/ 180 h 217"/>
                <a:gd name="T54" fmla="*/ 168 w 192"/>
                <a:gd name="T55" fmla="*/ 196 h 217"/>
                <a:gd name="T56" fmla="*/ 24 w 192"/>
                <a:gd name="T57" fmla="*/ 196 h 217"/>
                <a:gd name="T58" fmla="*/ 8 w 192"/>
                <a:gd name="T59" fmla="*/ 180 h 217"/>
                <a:gd name="T60" fmla="*/ 8 w 192"/>
                <a:gd name="T61" fmla="*/ 156 h 217"/>
                <a:gd name="T62" fmla="*/ 164 w 192"/>
                <a:gd name="T63" fmla="*/ 156 h 217"/>
                <a:gd name="T64" fmla="*/ 164 w 192"/>
                <a:gd name="T65" fmla="*/ 156 h 217"/>
                <a:gd name="T66" fmla="*/ 164 w 192"/>
                <a:gd name="T67" fmla="*/ 156 h 217"/>
                <a:gd name="T68" fmla="*/ 184 w 192"/>
                <a:gd name="T69" fmla="*/ 156 h 217"/>
                <a:gd name="T70" fmla="*/ 184 w 192"/>
                <a:gd name="T71" fmla="*/ 180 h 217"/>
                <a:gd name="T72" fmla="*/ 184 w 192"/>
                <a:gd name="T73" fmla="*/ 148 h 217"/>
                <a:gd name="T74" fmla="*/ 167 w 192"/>
                <a:gd name="T75" fmla="*/ 148 h 217"/>
                <a:gd name="T76" fmla="*/ 91 w 192"/>
                <a:gd name="T77" fmla="*/ 72 h 217"/>
                <a:gd name="T78" fmla="*/ 114 w 192"/>
                <a:gd name="T79" fmla="*/ 72 h 217"/>
                <a:gd name="T80" fmla="*/ 149 w 192"/>
                <a:gd name="T81" fmla="*/ 107 h 217"/>
                <a:gd name="T82" fmla="*/ 155 w 192"/>
                <a:gd name="T83" fmla="*/ 101 h 217"/>
                <a:gd name="T84" fmla="*/ 126 w 192"/>
                <a:gd name="T85" fmla="*/ 72 h 217"/>
                <a:gd name="T86" fmla="*/ 184 w 192"/>
                <a:gd name="T87" fmla="*/ 72 h 217"/>
                <a:gd name="T88" fmla="*/ 184 w 192"/>
                <a:gd name="T89" fmla="*/ 148 h 217"/>
                <a:gd name="T90" fmla="*/ 184 w 192"/>
                <a:gd name="T91" fmla="*/ 64 h 217"/>
                <a:gd name="T92" fmla="*/ 8 w 192"/>
                <a:gd name="T93" fmla="*/ 64 h 217"/>
                <a:gd name="T94" fmla="*/ 8 w 192"/>
                <a:gd name="T95" fmla="*/ 50 h 217"/>
                <a:gd name="T96" fmla="*/ 184 w 192"/>
                <a:gd name="T97" fmla="*/ 50 h 217"/>
                <a:gd name="T98" fmla="*/ 184 w 192"/>
                <a:gd name="T99" fmla="*/ 64 h 217"/>
                <a:gd name="T100" fmla="*/ 184 w 192"/>
                <a:gd name="T101" fmla="*/ 42 h 217"/>
                <a:gd name="T102" fmla="*/ 8 w 192"/>
                <a:gd name="T103" fmla="*/ 42 h 217"/>
                <a:gd name="T104" fmla="*/ 8 w 192"/>
                <a:gd name="T105" fmla="*/ 24 h 217"/>
                <a:gd name="T106" fmla="*/ 24 w 192"/>
                <a:gd name="T107" fmla="*/ 8 h 217"/>
                <a:gd name="T108" fmla="*/ 168 w 192"/>
                <a:gd name="T109" fmla="*/ 8 h 217"/>
                <a:gd name="T110" fmla="*/ 184 w 192"/>
                <a:gd name="T111" fmla="*/ 24 h 217"/>
                <a:gd name="T112" fmla="*/ 184 w 192"/>
                <a:gd name="T113" fmla="*/ 4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2" h="217">
                  <a:moveTo>
                    <a:pt x="168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93"/>
                    <a:pt x="10" y="203"/>
                    <a:pt x="22" y="204"/>
                  </a:cubicBezTo>
                  <a:cubicBezTo>
                    <a:pt x="21" y="206"/>
                    <a:pt x="20" y="207"/>
                    <a:pt x="20" y="209"/>
                  </a:cubicBezTo>
                  <a:cubicBezTo>
                    <a:pt x="20" y="214"/>
                    <a:pt x="24" y="217"/>
                    <a:pt x="28" y="217"/>
                  </a:cubicBezTo>
                  <a:cubicBezTo>
                    <a:pt x="32" y="217"/>
                    <a:pt x="36" y="214"/>
                    <a:pt x="36" y="209"/>
                  </a:cubicBezTo>
                  <a:cubicBezTo>
                    <a:pt x="36" y="207"/>
                    <a:pt x="35" y="206"/>
                    <a:pt x="34" y="204"/>
                  </a:cubicBezTo>
                  <a:cubicBezTo>
                    <a:pt x="158" y="204"/>
                    <a:pt x="158" y="204"/>
                    <a:pt x="158" y="204"/>
                  </a:cubicBezTo>
                  <a:cubicBezTo>
                    <a:pt x="157" y="206"/>
                    <a:pt x="156" y="207"/>
                    <a:pt x="156" y="209"/>
                  </a:cubicBezTo>
                  <a:cubicBezTo>
                    <a:pt x="156" y="214"/>
                    <a:pt x="160" y="217"/>
                    <a:pt x="164" y="217"/>
                  </a:cubicBezTo>
                  <a:cubicBezTo>
                    <a:pt x="168" y="217"/>
                    <a:pt x="172" y="214"/>
                    <a:pt x="172" y="209"/>
                  </a:cubicBezTo>
                  <a:cubicBezTo>
                    <a:pt x="172" y="207"/>
                    <a:pt x="171" y="206"/>
                    <a:pt x="170" y="204"/>
                  </a:cubicBezTo>
                  <a:cubicBezTo>
                    <a:pt x="182" y="203"/>
                    <a:pt x="192" y="193"/>
                    <a:pt x="192" y="180"/>
                  </a:cubicBezTo>
                  <a:cubicBezTo>
                    <a:pt x="192" y="66"/>
                    <a:pt x="192" y="66"/>
                    <a:pt x="192" y="66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24"/>
                    <a:pt x="192" y="24"/>
                    <a:pt x="192" y="24"/>
                  </a:cubicBezTo>
                  <a:cubicBezTo>
                    <a:pt x="192" y="11"/>
                    <a:pt x="181" y="0"/>
                    <a:pt x="168" y="0"/>
                  </a:cubicBezTo>
                  <a:close/>
                  <a:moveTo>
                    <a:pt x="8" y="72"/>
                  </a:moveTo>
                  <a:cubicBezTo>
                    <a:pt x="80" y="72"/>
                    <a:pt x="80" y="72"/>
                    <a:pt x="80" y="72"/>
                  </a:cubicBezTo>
                  <a:cubicBezTo>
                    <a:pt x="156" y="148"/>
                    <a:pt x="156" y="148"/>
                    <a:pt x="156" y="148"/>
                  </a:cubicBezTo>
                  <a:cubicBezTo>
                    <a:pt x="8" y="148"/>
                    <a:pt x="8" y="148"/>
                    <a:pt x="8" y="148"/>
                  </a:cubicBezTo>
                  <a:lnTo>
                    <a:pt x="8" y="72"/>
                  </a:lnTo>
                  <a:close/>
                  <a:moveTo>
                    <a:pt x="184" y="180"/>
                  </a:moveTo>
                  <a:cubicBezTo>
                    <a:pt x="184" y="189"/>
                    <a:pt x="177" y="196"/>
                    <a:pt x="168" y="196"/>
                  </a:cubicBezTo>
                  <a:cubicBezTo>
                    <a:pt x="24" y="196"/>
                    <a:pt x="24" y="196"/>
                    <a:pt x="24" y="196"/>
                  </a:cubicBezTo>
                  <a:cubicBezTo>
                    <a:pt x="15" y="196"/>
                    <a:pt x="8" y="189"/>
                    <a:pt x="8" y="180"/>
                  </a:cubicBezTo>
                  <a:cubicBezTo>
                    <a:pt x="8" y="156"/>
                    <a:pt x="8" y="156"/>
                    <a:pt x="8" y="156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84" y="156"/>
                    <a:pt x="184" y="156"/>
                    <a:pt x="184" y="156"/>
                  </a:cubicBezTo>
                  <a:lnTo>
                    <a:pt x="184" y="180"/>
                  </a:lnTo>
                  <a:close/>
                  <a:moveTo>
                    <a:pt x="184" y="148"/>
                  </a:moveTo>
                  <a:cubicBezTo>
                    <a:pt x="167" y="148"/>
                    <a:pt x="167" y="148"/>
                    <a:pt x="167" y="148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49" y="107"/>
                    <a:pt x="149" y="107"/>
                    <a:pt x="149" y="107"/>
                  </a:cubicBezTo>
                  <a:cubicBezTo>
                    <a:pt x="155" y="101"/>
                    <a:pt x="155" y="101"/>
                    <a:pt x="155" y="101"/>
                  </a:cubicBezTo>
                  <a:cubicBezTo>
                    <a:pt x="126" y="72"/>
                    <a:pt x="126" y="72"/>
                    <a:pt x="126" y="72"/>
                  </a:cubicBezTo>
                  <a:cubicBezTo>
                    <a:pt x="184" y="72"/>
                    <a:pt x="184" y="72"/>
                    <a:pt x="184" y="72"/>
                  </a:cubicBezTo>
                  <a:lnTo>
                    <a:pt x="184" y="148"/>
                  </a:lnTo>
                  <a:close/>
                  <a:moveTo>
                    <a:pt x="184" y="64"/>
                  </a:moveTo>
                  <a:cubicBezTo>
                    <a:pt x="8" y="64"/>
                    <a:pt x="8" y="64"/>
                    <a:pt x="8" y="64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184" y="50"/>
                    <a:pt x="184" y="50"/>
                    <a:pt x="184" y="50"/>
                  </a:cubicBezTo>
                  <a:lnTo>
                    <a:pt x="184" y="64"/>
                  </a:lnTo>
                  <a:close/>
                  <a:moveTo>
                    <a:pt x="184" y="42"/>
                  </a:moveTo>
                  <a:cubicBezTo>
                    <a:pt x="8" y="42"/>
                    <a:pt x="8" y="42"/>
                    <a:pt x="8" y="4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16"/>
                    <a:pt x="15" y="8"/>
                    <a:pt x="24" y="8"/>
                  </a:cubicBezTo>
                  <a:cubicBezTo>
                    <a:pt x="168" y="8"/>
                    <a:pt x="168" y="8"/>
                    <a:pt x="168" y="8"/>
                  </a:cubicBezTo>
                  <a:cubicBezTo>
                    <a:pt x="177" y="8"/>
                    <a:pt x="184" y="16"/>
                    <a:pt x="184" y="24"/>
                  </a:cubicBezTo>
                  <a:lnTo>
                    <a:pt x="184" y="4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6" name="文本框 165"/>
            <p:cNvSpPr txBox="1"/>
            <p:nvPr/>
          </p:nvSpPr>
          <p:spPr>
            <a:xfrm>
              <a:off x="5749474" y="5365922"/>
              <a:ext cx="756935" cy="316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冰柜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7" name="文本框 166"/>
            <p:cNvSpPr txBox="1"/>
            <p:nvPr/>
          </p:nvSpPr>
          <p:spPr>
            <a:xfrm>
              <a:off x="5241789" y="5826420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>
                  <a:solidFill>
                    <a:schemeClr val="bg1">
                      <a:lumMod val="65000"/>
                    </a:schemeClr>
                  </a:solidFill>
                </a:rPr>
                <a:t>……</a:t>
              </a:r>
              <a:endParaRPr kumimoji="1" lang="zh-CN" altLang="en-US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68" name="文本框 167"/>
            <p:cNvSpPr txBox="1"/>
            <p:nvPr/>
          </p:nvSpPr>
          <p:spPr>
            <a:xfrm>
              <a:off x="1878622" y="5826420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>
                  <a:solidFill>
                    <a:schemeClr val="bg1">
                      <a:lumMod val="65000"/>
                    </a:schemeClr>
                  </a:solidFill>
                </a:rPr>
                <a:t>……</a:t>
              </a:r>
              <a:endParaRPr kumimoji="1" lang="zh-CN" altLang="en-US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grpSp>
          <p:nvGrpSpPr>
            <p:cNvPr id="169" name="组合 168"/>
            <p:cNvGrpSpPr/>
            <p:nvPr/>
          </p:nvGrpSpPr>
          <p:grpSpPr>
            <a:xfrm>
              <a:off x="9178520" y="4640939"/>
              <a:ext cx="1011787" cy="1034014"/>
              <a:chOff x="8815177" y="4797932"/>
              <a:chExt cx="1011787" cy="1034014"/>
            </a:xfrm>
          </p:grpSpPr>
          <p:sp>
            <p:nvSpPr>
              <p:cNvPr id="239" name="文本框 238"/>
              <p:cNvSpPr txBox="1"/>
              <p:nvPr/>
            </p:nvSpPr>
            <p:spPr>
              <a:xfrm>
                <a:off x="8815177" y="5515641"/>
                <a:ext cx="1011787" cy="3163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zh-CN" altLang="en-US" sz="11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加湿器</a:t>
                </a:r>
                <a:endPara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40" name="组合 239"/>
              <p:cNvGrpSpPr/>
              <p:nvPr/>
            </p:nvGrpSpPr>
            <p:grpSpPr>
              <a:xfrm>
                <a:off x="8995820" y="4797932"/>
                <a:ext cx="456747" cy="602505"/>
                <a:chOff x="7696201" y="114045"/>
                <a:chExt cx="577850" cy="762255"/>
              </a:xfrm>
            </p:grpSpPr>
            <p:sp>
              <p:nvSpPr>
                <p:cNvPr id="241" name="Freeform 23"/>
                <p:cNvSpPr/>
                <p:nvPr/>
              </p:nvSpPr>
              <p:spPr bwMode="auto">
                <a:xfrm>
                  <a:off x="7696201" y="295275"/>
                  <a:ext cx="577850" cy="581025"/>
                </a:xfrm>
                <a:custGeom>
                  <a:avLst/>
                  <a:gdLst>
                    <a:gd name="T0" fmla="*/ 191 w 191"/>
                    <a:gd name="T1" fmla="*/ 186 h 192"/>
                    <a:gd name="T2" fmla="*/ 184 w 191"/>
                    <a:gd name="T3" fmla="*/ 192 h 192"/>
                    <a:gd name="T4" fmla="*/ 7 w 191"/>
                    <a:gd name="T5" fmla="*/ 192 h 192"/>
                    <a:gd name="T6" fmla="*/ 0 w 191"/>
                    <a:gd name="T7" fmla="*/ 186 h 192"/>
                    <a:gd name="T8" fmla="*/ 0 w 191"/>
                    <a:gd name="T9" fmla="*/ 7 h 192"/>
                    <a:gd name="T10" fmla="*/ 7 w 191"/>
                    <a:gd name="T11" fmla="*/ 0 h 192"/>
                    <a:gd name="T12" fmla="*/ 184 w 191"/>
                    <a:gd name="T13" fmla="*/ 0 h 192"/>
                    <a:gd name="T14" fmla="*/ 191 w 191"/>
                    <a:gd name="T15" fmla="*/ 7 h 192"/>
                    <a:gd name="T16" fmla="*/ 191 w 191"/>
                    <a:gd name="T17" fmla="*/ 186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1" h="192">
                      <a:moveTo>
                        <a:pt x="191" y="186"/>
                      </a:moveTo>
                      <a:cubicBezTo>
                        <a:pt x="191" y="189"/>
                        <a:pt x="188" y="192"/>
                        <a:pt x="184" y="192"/>
                      </a:cubicBezTo>
                      <a:cubicBezTo>
                        <a:pt x="7" y="192"/>
                        <a:pt x="7" y="192"/>
                        <a:pt x="7" y="192"/>
                      </a:cubicBezTo>
                      <a:cubicBezTo>
                        <a:pt x="3" y="192"/>
                        <a:pt x="0" y="189"/>
                        <a:pt x="0" y="186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3" y="0"/>
                        <a:pt x="7" y="0"/>
                      </a:cubicBezTo>
                      <a:cubicBezTo>
                        <a:pt x="184" y="0"/>
                        <a:pt x="184" y="0"/>
                        <a:pt x="184" y="0"/>
                      </a:cubicBezTo>
                      <a:cubicBezTo>
                        <a:pt x="188" y="0"/>
                        <a:pt x="191" y="3"/>
                        <a:pt x="191" y="7"/>
                      </a:cubicBezTo>
                      <a:lnTo>
                        <a:pt x="191" y="186"/>
                      </a:lnTo>
                      <a:close/>
                    </a:path>
                  </a:pathLst>
                </a:custGeom>
                <a:noFill/>
                <a:ln w="23813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42" name="Line 24"/>
                <p:cNvSpPr>
                  <a:spLocks noChangeShapeType="1"/>
                </p:cNvSpPr>
                <p:nvPr/>
              </p:nvSpPr>
              <p:spPr bwMode="auto">
                <a:xfrm>
                  <a:off x="7696201" y="400050"/>
                  <a:ext cx="577850" cy="0"/>
                </a:xfrm>
                <a:prstGeom prst="line">
                  <a:avLst/>
                </a:prstGeom>
                <a:noFill/>
                <a:ln w="23813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43" name="Oval 25"/>
                <p:cNvSpPr>
                  <a:spLocks noChangeArrowheads="1"/>
                </p:cNvSpPr>
                <p:nvPr/>
              </p:nvSpPr>
              <p:spPr bwMode="auto">
                <a:xfrm>
                  <a:off x="7915176" y="543823"/>
                  <a:ext cx="148813" cy="156277"/>
                </a:xfrm>
                <a:prstGeom prst="ellipse">
                  <a:avLst/>
                </a:prstGeom>
                <a:noFill/>
                <a:ln w="23813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44" name="Freeform 78"/>
                <p:cNvSpPr/>
                <p:nvPr/>
              </p:nvSpPr>
              <p:spPr bwMode="auto">
                <a:xfrm>
                  <a:off x="7787641" y="118429"/>
                  <a:ext cx="39688" cy="146050"/>
                </a:xfrm>
                <a:custGeom>
                  <a:avLst/>
                  <a:gdLst>
                    <a:gd name="T0" fmla="*/ 5 w 14"/>
                    <a:gd name="T1" fmla="*/ 50 h 50"/>
                    <a:gd name="T2" fmla="*/ 8 w 14"/>
                    <a:gd name="T3" fmla="*/ 24 h 50"/>
                    <a:gd name="T4" fmla="*/ 6 w 14"/>
                    <a:gd name="T5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50">
                      <a:moveTo>
                        <a:pt x="5" y="50"/>
                      </a:moveTo>
                      <a:cubicBezTo>
                        <a:pt x="0" y="39"/>
                        <a:pt x="1" y="34"/>
                        <a:pt x="8" y="24"/>
                      </a:cubicBezTo>
                      <a:cubicBezTo>
                        <a:pt x="14" y="15"/>
                        <a:pt x="12" y="8"/>
                        <a:pt x="6" y="0"/>
                      </a:cubicBezTo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45" name="Freeform 79"/>
                <p:cNvSpPr/>
                <p:nvPr/>
              </p:nvSpPr>
              <p:spPr bwMode="auto">
                <a:xfrm>
                  <a:off x="7844791" y="118429"/>
                  <a:ext cx="41275" cy="146050"/>
                </a:xfrm>
                <a:custGeom>
                  <a:avLst/>
                  <a:gdLst>
                    <a:gd name="T0" fmla="*/ 5 w 14"/>
                    <a:gd name="T1" fmla="*/ 50 h 50"/>
                    <a:gd name="T2" fmla="*/ 8 w 14"/>
                    <a:gd name="T3" fmla="*/ 24 h 50"/>
                    <a:gd name="T4" fmla="*/ 6 w 14"/>
                    <a:gd name="T5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50">
                      <a:moveTo>
                        <a:pt x="5" y="50"/>
                      </a:moveTo>
                      <a:cubicBezTo>
                        <a:pt x="0" y="39"/>
                        <a:pt x="0" y="34"/>
                        <a:pt x="8" y="24"/>
                      </a:cubicBezTo>
                      <a:cubicBezTo>
                        <a:pt x="14" y="15"/>
                        <a:pt x="12" y="8"/>
                        <a:pt x="6" y="0"/>
                      </a:cubicBezTo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46" name="Freeform 80"/>
                <p:cNvSpPr/>
                <p:nvPr/>
              </p:nvSpPr>
              <p:spPr bwMode="auto">
                <a:xfrm>
                  <a:off x="7903528" y="118429"/>
                  <a:ext cx="41275" cy="146050"/>
                </a:xfrm>
                <a:custGeom>
                  <a:avLst/>
                  <a:gdLst>
                    <a:gd name="T0" fmla="*/ 5 w 14"/>
                    <a:gd name="T1" fmla="*/ 50 h 50"/>
                    <a:gd name="T2" fmla="*/ 7 w 14"/>
                    <a:gd name="T3" fmla="*/ 24 h 50"/>
                    <a:gd name="T4" fmla="*/ 6 w 14"/>
                    <a:gd name="T5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50">
                      <a:moveTo>
                        <a:pt x="5" y="50"/>
                      </a:moveTo>
                      <a:cubicBezTo>
                        <a:pt x="0" y="39"/>
                        <a:pt x="0" y="34"/>
                        <a:pt x="7" y="24"/>
                      </a:cubicBezTo>
                      <a:cubicBezTo>
                        <a:pt x="14" y="15"/>
                        <a:pt x="11" y="8"/>
                        <a:pt x="6" y="0"/>
                      </a:cubicBezTo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47" name="Freeform 78"/>
                <p:cNvSpPr/>
                <p:nvPr/>
              </p:nvSpPr>
              <p:spPr bwMode="auto">
                <a:xfrm>
                  <a:off x="7960361" y="118429"/>
                  <a:ext cx="39688" cy="146050"/>
                </a:xfrm>
                <a:custGeom>
                  <a:avLst/>
                  <a:gdLst>
                    <a:gd name="T0" fmla="*/ 5 w 14"/>
                    <a:gd name="T1" fmla="*/ 50 h 50"/>
                    <a:gd name="T2" fmla="*/ 8 w 14"/>
                    <a:gd name="T3" fmla="*/ 24 h 50"/>
                    <a:gd name="T4" fmla="*/ 6 w 14"/>
                    <a:gd name="T5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50">
                      <a:moveTo>
                        <a:pt x="5" y="50"/>
                      </a:moveTo>
                      <a:cubicBezTo>
                        <a:pt x="0" y="39"/>
                        <a:pt x="1" y="34"/>
                        <a:pt x="8" y="24"/>
                      </a:cubicBezTo>
                      <a:cubicBezTo>
                        <a:pt x="14" y="15"/>
                        <a:pt x="12" y="8"/>
                        <a:pt x="6" y="0"/>
                      </a:cubicBezTo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48" name="Freeform 79"/>
                <p:cNvSpPr/>
                <p:nvPr/>
              </p:nvSpPr>
              <p:spPr bwMode="auto">
                <a:xfrm>
                  <a:off x="8017511" y="118429"/>
                  <a:ext cx="41275" cy="146050"/>
                </a:xfrm>
                <a:custGeom>
                  <a:avLst/>
                  <a:gdLst>
                    <a:gd name="T0" fmla="*/ 5 w 14"/>
                    <a:gd name="T1" fmla="*/ 50 h 50"/>
                    <a:gd name="T2" fmla="*/ 8 w 14"/>
                    <a:gd name="T3" fmla="*/ 24 h 50"/>
                    <a:gd name="T4" fmla="*/ 6 w 14"/>
                    <a:gd name="T5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50">
                      <a:moveTo>
                        <a:pt x="5" y="50"/>
                      </a:moveTo>
                      <a:cubicBezTo>
                        <a:pt x="0" y="39"/>
                        <a:pt x="0" y="34"/>
                        <a:pt x="8" y="24"/>
                      </a:cubicBezTo>
                      <a:cubicBezTo>
                        <a:pt x="14" y="15"/>
                        <a:pt x="12" y="8"/>
                        <a:pt x="6" y="0"/>
                      </a:cubicBezTo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49" name="Freeform 80"/>
                <p:cNvSpPr/>
                <p:nvPr/>
              </p:nvSpPr>
              <p:spPr bwMode="auto">
                <a:xfrm>
                  <a:off x="8076248" y="118429"/>
                  <a:ext cx="41275" cy="146050"/>
                </a:xfrm>
                <a:custGeom>
                  <a:avLst/>
                  <a:gdLst>
                    <a:gd name="T0" fmla="*/ 5 w 14"/>
                    <a:gd name="T1" fmla="*/ 50 h 50"/>
                    <a:gd name="T2" fmla="*/ 7 w 14"/>
                    <a:gd name="T3" fmla="*/ 24 h 50"/>
                    <a:gd name="T4" fmla="*/ 6 w 14"/>
                    <a:gd name="T5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50">
                      <a:moveTo>
                        <a:pt x="5" y="50"/>
                      </a:moveTo>
                      <a:cubicBezTo>
                        <a:pt x="0" y="39"/>
                        <a:pt x="0" y="34"/>
                        <a:pt x="7" y="24"/>
                      </a:cubicBezTo>
                      <a:cubicBezTo>
                        <a:pt x="14" y="15"/>
                        <a:pt x="11" y="8"/>
                        <a:pt x="6" y="0"/>
                      </a:cubicBezTo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50" name="Freeform 80"/>
                <p:cNvSpPr/>
                <p:nvPr/>
              </p:nvSpPr>
              <p:spPr bwMode="auto">
                <a:xfrm>
                  <a:off x="8140701" y="114045"/>
                  <a:ext cx="41275" cy="146050"/>
                </a:xfrm>
                <a:custGeom>
                  <a:avLst/>
                  <a:gdLst>
                    <a:gd name="T0" fmla="*/ 5 w 14"/>
                    <a:gd name="T1" fmla="*/ 50 h 50"/>
                    <a:gd name="T2" fmla="*/ 7 w 14"/>
                    <a:gd name="T3" fmla="*/ 24 h 50"/>
                    <a:gd name="T4" fmla="*/ 6 w 14"/>
                    <a:gd name="T5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50">
                      <a:moveTo>
                        <a:pt x="5" y="50"/>
                      </a:moveTo>
                      <a:cubicBezTo>
                        <a:pt x="0" y="39"/>
                        <a:pt x="0" y="34"/>
                        <a:pt x="7" y="24"/>
                      </a:cubicBezTo>
                      <a:cubicBezTo>
                        <a:pt x="14" y="15"/>
                        <a:pt x="11" y="8"/>
                        <a:pt x="6" y="0"/>
                      </a:cubicBezTo>
                    </a:path>
                  </a:pathLst>
                </a:custGeom>
                <a:noFill/>
                <a:ln w="2222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70" name="文本框 169"/>
            <p:cNvSpPr txBox="1"/>
            <p:nvPr/>
          </p:nvSpPr>
          <p:spPr>
            <a:xfrm>
              <a:off x="10068244" y="5354891"/>
              <a:ext cx="1011787" cy="316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茶吧机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71" name="组合 170"/>
            <p:cNvGrpSpPr/>
            <p:nvPr/>
          </p:nvGrpSpPr>
          <p:grpSpPr>
            <a:xfrm>
              <a:off x="10443280" y="4672008"/>
              <a:ext cx="263719" cy="603691"/>
              <a:chOff x="10011491" y="4914391"/>
              <a:chExt cx="263719" cy="603691"/>
            </a:xfrm>
          </p:grpSpPr>
          <p:grpSp>
            <p:nvGrpSpPr>
              <p:cNvPr id="224" name="组合 223"/>
              <p:cNvGrpSpPr/>
              <p:nvPr/>
            </p:nvGrpSpPr>
            <p:grpSpPr>
              <a:xfrm>
                <a:off x="10165629" y="4930719"/>
                <a:ext cx="109581" cy="114799"/>
                <a:chOff x="5375276" y="2620964"/>
                <a:chExt cx="333375" cy="349250"/>
              </a:xfrm>
            </p:grpSpPr>
            <p:sp>
              <p:nvSpPr>
                <p:cNvPr id="234" name="Freeform 107"/>
                <p:cNvSpPr/>
                <p:nvPr/>
              </p:nvSpPr>
              <p:spPr bwMode="auto">
                <a:xfrm>
                  <a:off x="5375276" y="2689226"/>
                  <a:ext cx="212725" cy="280988"/>
                </a:xfrm>
                <a:custGeom>
                  <a:avLst/>
                  <a:gdLst>
                    <a:gd name="T0" fmla="*/ 121 w 134"/>
                    <a:gd name="T1" fmla="*/ 177 h 177"/>
                    <a:gd name="T2" fmla="*/ 13 w 134"/>
                    <a:gd name="T3" fmla="*/ 177 h 177"/>
                    <a:gd name="T4" fmla="*/ 0 w 134"/>
                    <a:gd name="T5" fmla="*/ 0 h 177"/>
                    <a:gd name="T6" fmla="*/ 134 w 134"/>
                    <a:gd name="T7" fmla="*/ 0 h 177"/>
                    <a:gd name="T8" fmla="*/ 121 w 134"/>
                    <a:gd name="T9" fmla="*/ 177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4" h="177">
                      <a:moveTo>
                        <a:pt x="121" y="177"/>
                      </a:moveTo>
                      <a:lnTo>
                        <a:pt x="13" y="177"/>
                      </a:lnTo>
                      <a:lnTo>
                        <a:pt x="0" y="0"/>
                      </a:lnTo>
                      <a:lnTo>
                        <a:pt x="134" y="0"/>
                      </a:lnTo>
                      <a:lnTo>
                        <a:pt x="121" y="177"/>
                      </a:lnTo>
                      <a:close/>
                    </a:path>
                  </a:pathLst>
                </a:cu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  <p:sp>
              <p:nvSpPr>
                <p:cNvPr id="235" name="Freeform 109"/>
                <p:cNvSpPr/>
                <p:nvPr/>
              </p:nvSpPr>
              <p:spPr bwMode="auto">
                <a:xfrm>
                  <a:off x="5375276" y="2620964"/>
                  <a:ext cx="212725" cy="65088"/>
                </a:xfrm>
                <a:custGeom>
                  <a:avLst/>
                  <a:gdLst>
                    <a:gd name="T0" fmla="*/ 0 w 75"/>
                    <a:gd name="T1" fmla="*/ 23 h 23"/>
                    <a:gd name="T2" fmla="*/ 38 w 75"/>
                    <a:gd name="T3" fmla="*/ 0 h 23"/>
                    <a:gd name="T4" fmla="*/ 75 w 75"/>
                    <a:gd name="T5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5" h="23">
                      <a:moveTo>
                        <a:pt x="0" y="23"/>
                      </a:moveTo>
                      <a:cubicBezTo>
                        <a:pt x="0" y="11"/>
                        <a:pt x="17" y="0"/>
                        <a:pt x="38" y="0"/>
                      </a:cubicBezTo>
                      <a:cubicBezTo>
                        <a:pt x="58" y="0"/>
                        <a:pt x="75" y="11"/>
                        <a:pt x="75" y="23"/>
                      </a:cubicBezTo>
                    </a:path>
                  </a:pathLst>
                </a:cu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  <p:sp>
              <p:nvSpPr>
                <p:cNvPr id="236" name="Freeform 110"/>
                <p:cNvSpPr/>
                <p:nvPr/>
              </p:nvSpPr>
              <p:spPr bwMode="auto">
                <a:xfrm>
                  <a:off x="5588001" y="2720976"/>
                  <a:ext cx="120650" cy="149225"/>
                </a:xfrm>
                <a:custGeom>
                  <a:avLst/>
                  <a:gdLst>
                    <a:gd name="T0" fmla="*/ 0 w 43"/>
                    <a:gd name="T1" fmla="*/ 0 h 53"/>
                    <a:gd name="T2" fmla="*/ 16 w 43"/>
                    <a:gd name="T3" fmla="*/ 0 h 53"/>
                    <a:gd name="T4" fmla="*/ 23 w 43"/>
                    <a:gd name="T5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" h="53">
                      <a:moveTo>
                        <a:pt x="0" y="0"/>
                      </a:move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6" y="0"/>
                        <a:pt x="43" y="3"/>
                        <a:pt x="23" y="53"/>
                      </a:cubicBezTo>
                    </a:path>
                  </a:pathLst>
                </a:cu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  <p:sp>
              <p:nvSpPr>
                <p:cNvPr id="237" name="Line 111"/>
                <p:cNvSpPr>
                  <a:spLocks noChangeShapeType="1"/>
                </p:cNvSpPr>
                <p:nvPr/>
              </p:nvSpPr>
              <p:spPr bwMode="auto">
                <a:xfrm>
                  <a:off x="5446714" y="2763839"/>
                  <a:ext cx="66675" cy="0"/>
                </a:xfrm>
                <a:prstGeom prst="line">
                  <a:avLst/>
                </a:pr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  <p:sp>
              <p:nvSpPr>
                <p:cNvPr id="238" name="Line 112"/>
                <p:cNvSpPr>
                  <a:spLocks noChangeShapeType="1"/>
                </p:cNvSpPr>
                <p:nvPr/>
              </p:nvSpPr>
              <p:spPr bwMode="auto">
                <a:xfrm>
                  <a:off x="5446714" y="2827339"/>
                  <a:ext cx="66675" cy="0"/>
                </a:xfrm>
                <a:prstGeom prst="line">
                  <a:avLst/>
                </a:pr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</p:grpSp>
          <p:grpSp>
            <p:nvGrpSpPr>
              <p:cNvPr id="225" name="组合 224"/>
              <p:cNvGrpSpPr/>
              <p:nvPr/>
            </p:nvGrpSpPr>
            <p:grpSpPr>
              <a:xfrm>
                <a:off x="10011491" y="5062559"/>
                <a:ext cx="256870" cy="455523"/>
                <a:chOff x="8609102" y="5802086"/>
                <a:chExt cx="542119" cy="689976"/>
              </a:xfrm>
            </p:grpSpPr>
            <p:sp>
              <p:nvSpPr>
                <p:cNvPr id="232" name="Freeform 125"/>
                <p:cNvSpPr/>
                <p:nvPr/>
              </p:nvSpPr>
              <p:spPr bwMode="auto">
                <a:xfrm>
                  <a:off x="8609102" y="5802086"/>
                  <a:ext cx="542119" cy="689976"/>
                </a:xfrm>
                <a:custGeom>
                  <a:avLst/>
                  <a:gdLst>
                    <a:gd name="T0" fmla="*/ 173 w 173"/>
                    <a:gd name="T1" fmla="*/ 187 h 207"/>
                    <a:gd name="T2" fmla="*/ 153 w 173"/>
                    <a:gd name="T3" fmla="*/ 207 h 207"/>
                    <a:gd name="T4" fmla="*/ 19 w 173"/>
                    <a:gd name="T5" fmla="*/ 207 h 207"/>
                    <a:gd name="T6" fmla="*/ 0 w 173"/>
                    <a:gd name="T7" fmla="*/ 187 h 207"/>
                    <a:gd name="T8" fmla="*/ 0 w 173"/>
                    <a:gd name="T9" fmla="*/ 19 h 207"/>
                    <a:gd name="T10" fmla="*/ 19 w 173"/>
                    <a:gd name="T11" fmla="*/ 0 h 207"/>
                    <a:gd name="T12" fmla="*/ 153 w 173"/>
                    <a:gd name="T13" fmla="*/ 0 h 207"/>
                    <a:gd name="T14" fmla="*/ 173 w 173"/>
                    <a:gd name="T15" fmla="*/ 19 h 207"/>
                    <a:gd name="T16" fmla="*/ 173 w 173"/>
                    <a:gd name="T17" fmla="*/ 187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3" h="207">
                      <a:moveTo>
                        <a:pt x="173" y="187"/>
                      </a:moveTo>
                      <a:cubicBezTo>
                        <a:pt x="173" y="198"/>
                        <a:pt x="164" y="207"/>
                        <a:pt x="153" y="207"/>
                      </a:cubicBezTo>
                      <a:cubicBezTo>
                        <a:pt x="19" y="207"/>
                        <a:pt x="19" y="207"/>
                        <a:pt x="19" y="207"/>
                      </a:cubicBezTo>
                      <a:cubicBezTo>
                        <a:pt x="8" y="207"/>
                        <a:pt x="0" y="198"/>
                        <a:pt x="0" y="18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9"/>
                        <a:pt x="8" y="0"/>
                        <a:pt x="19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64" y="0"/>
                        <a:pt x="173" y="9"/>
                        <a:pt x="173" y="19"/>
                      </a:cubicBezTo>
                      <a:lnTo>
                        <a:pt x="173" y="187"/>
                      </a:lnTo>
                      <a:close/>
                    </a:path>
                  </a:pathLst>
                </a:custGeom>
                <a:noFill/>
                <a:ln w="15875" cap="sq" cmpd="sng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33" name="Line 128"/>
                <p:cNvSpPr>
                  <a:spLocks noChangeShapeType="1"/>
                </p:cNvSpPr>
                <p:nvPr/>
              </p:nvSpPr>
              <p:spPr bwMode="auto">
                <a:xfrm>
                  <a:off x="8632303" y="5992770"/>
                  <a:ext cx="498734" cy="0"/>
                </a:xfrm>
                <a:prstGeom prst="line">
                  <a:avLst/>
                </a:prstGeom>
                <a:noFill/>
                <a:ln w="15875" cap="sq" cmpd="sng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/>
                </a:p>
              </p:txBody>
            </p:sp>
          </p:grpSp>
          <p:grpSp>
            <p:nvGrpSpPr>
              <p:cNvPr id="226" name="组合 225"/>
              <p:cNvGrpSpPr/>
              <p:nvPr/>
            </p:nvGrpSpPr>
            <p:grpSpPr>
              <a:xfrm flipH="1">
                <a:off x="10011598" y="4914391"/>
                <a:ext cx="132204" cy="129039"/>
                <a:chOff x="2925764" y="1560514"/>
                <a:chExt cx="481012" cy="542925"/>
              </a:xfrm>
            </p:grpSpPr>
            <p:sp>
              <p:nvSpPr>
                <p:cNvPr id="227" name="Freeform 55"/>
                <p:cNvSpPr/>
                <p:nvPr/>
              </p:nvSpPr>
              <p:spPr bwMode="auto">
                <a:xfrm>
                  <a:off x="3027364" y="1703389"/>
                  <a:ext cx="266700" cy="400050"/>
                </a:xfrm>
                <a:custGeom>
                  <a:avLst/>
                  <a:gdLst>
                    <a:gd name="T0" fmla="*/ 157 w 168"/>
                    <a:gd name="T1" fmla="*/ 252 h 252"/>
                    <a:gd name="T2" fmla="*/ 11 w 168"/>
                    <a:gd name="T3" fmla="*/ 252 h 252"/>
                    <a:gd name="T4" fmla="*/ 0 w 168"/>
                    <a:gd name="T5" fmla="*/ 0 h 252"/>
                    <a:gd name="T6" fmla="*/ 168 w 168"/>
                    <a:gd name="T7" fmla="*/ 0 h 252"/>
                    <a:gd name="T8" fmla="*/ 157 w 168"/>
                    <a:gd name="T9" fmla="*/ 252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8" h="252">
                      <a:moveTo>
                        <a:pt x="157" y="252"/>
                      </a:moveTo>
                      <a:lnTo>
                        <a:pt x="11" y="252"/>
                      </a:lnTo>
                      <a:lnTo>
                        <a:pt x="0" y="0"/>
                      </a:lnTo>
                      <a:lnTo>
                        <a:pt x="168" y="0"/>
                      </a:lnTo>
                      <a:lnTo>
                        <a:pt x="157" y="252"/>
                      </a:lnTo>
                      <a:close/>
                    </a:path>
                  </a:pathLst>
                </a:cu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28" name="Freeform 56"/>
                <p:cNvSpPr/>
                <p:nvPr/>
              </p:nvSpPr>
              <p:spPr bwMode="auto">
                <a:xfrm>
                  <a:off x="3027364" y="1598614"/>
                  <a:ext cx="263525" cy="104775"/>
                </a:xfrm>
                <a:custGeom>
                  <a:avLst/>
                  <a:gdLst>
                    <a:gd name="T0" fmla="*/ 47 w 93"/>
                    <a:gd name="T1" fmla="*/ 0 h 37"/>
                    <a:gd name="T2" fmla="*/ 0 w 93"/>
                    <a:gd name="T3" fmla="*/ 37 h 37"/>
                    <a:gd name="T4" fmla="*/ 93 w 93"/>
                    <a:gd name="T5" fmla="*/ 37 h 37"/>
                    <a:gd name="T6" fmla="*/ 47 w 93"/>
                    <a:gd name="T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3" h="37">
                      <a:moveTo>
                        <a:pt x="47" y="0"/>
                      </a:moveTo>
                      <a:cubicBezTo>
                        <a:pt x="22" y="0"/>
                        <a:pt x="3" y="16"/>
                        <a:pt x="0" y="37"/>
                      </a:cubicBezTo>
                      <a:cubicBezTo>
                        <a:pt x="93" y="37"/>
                        <a:pt x="93" y="37"/>
                        <a:pt x="93" y="37"/>
                      </a:cubicBezTo>
                      <a:cubicBezTo>
                        <a:pt x="91" y="16"/>
                        <a:pt x="71" y="0"/>
                        <a:pt x="47" y="0"/>
                      </a:cubicBezTo>
                      <a:close/>
                    </a:path>
                  </a:pathLst>
                </a:cu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29" name="Freeform 57"/>
                <p:cNvSpPr/>
                <p:nvPr/>
              </p:nvSpPr>
              <p:spPr bwMode="auto">
                <a:xfrm>
                  <a:off x="2925764" y="1703389"/>
                  <a:ext cx="112713" cy="271463"/>
                </a:xfrm>
                <a:custGeom>
                  <a:avLst/>
                  <a:gdLst>
                    <a:gd name="T0" fmla="*/ 66 w 71"/>
                    <a:gd name="T1" fmla="*/ 44 h 171"/>
                    <a:gd name="T2" fmla="*/ 36 w 71"/>
                    <a:gd name="T3" fmla="*/ 0 h 171"/>
                    <a:gd name="T4" fmla="*/ 0 w 71"/>
                    <a:gd name="T5" fmla="*/ 0 h 171"/>
                    <a:gd name="T6" fmla="*/ 71 w 71"/>
                    <a:gd name="T7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1" h="171">
                      <a:moveTo>
                        <a:pt x="66" y="44"/>
                      </a:moveTo>
                      <a:lnTo>
                        <a:pt x="36" y="0"/>
                      </a:lnTo>
                      <a:lnTo>
                        <a:pt x="0" y="0"/>
                      </a:lnTo>
                      <a:lnTo>
                        <a:pt x="71" y="171"/>
                      </a:lnTo>
                    </a:path>
                  </a:pathLst>
                </a:cu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30" name="Freeform 58"/>
                <p:cNvSpPr/>
                <p:nvPr/>
              </p:nvSpPr>
              <p:spPr bwMode="auto">
                <a:xfrm>
                  <a:off x="3279776" y="1714501"/>
                  <a:ext cx="127000" cy="293688"/>
                </a:xfrm>
                <a:custGeom>
                  <a:avLst/>
                  <a:gdLst>
                    <a:gd name="T0" fmla="*/ 5 w 45"/>
                    <a:gd name="T1" fmla="*/ 15 h 104"/>
                    <a:gd name="T2" fmla="*/ 34 w 45"/>
                    <a:gd name="T3" fmla="*/ 18 h 104"/>
                    <a:gd name="T4" fmla="*/ 0 w 45"/>
                    <a:gd name="T5" fmla="*/ 104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5" h="104">
                      <a:moveTo>
                        <a:pt x="5" y="15"/>
                      </a:moveTo>
                      <a:cubicBezTo>
                        <a:pt x="5" y="15"/>
                        <a:pt x="23" y="0"/>
                        <a:pt x="34" y="18"/>
                      </a:cubicBezTo>
                      <a:cubicBezTo>
                        <a:pt x="45" y="36"/>
                        <a:pt x="0" y="104"/>
                        <a:pt x="0" y="104"/>
                      </a:cubicBezTo>
                    </a:path>
                  </a:pathLst>
                </a:cu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31" name="Line 59"/>
                <p:cNvSpPr>
                  <a:spLocks noChangeShapeType="1"/>
                </p:cNvSpPr>
                <p:nvPr/>
              </p:nvSpPr>
              <p:spPr bwMode="auto">
                <a:xfrm>
                  <a:off x="3160714" y="1560514"/>
                  <a:ext cx="0" cy="28575"/>
                </a:xfrm>
                <a:prstGeom prst="line">
                  <a:avLst/>
                </a:prstGeom>
                <a:noFill/>
                <a:ln w="12700" cap="sq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72" name="文本框 171"/>
            <p:cNvSpPr txBox="1"/>
            <p:nvPr/>
          </p:nvSpPr>
          <p:spPr>
            <a:xfrm>
              <a:off x="4442239" y="4023143"/>
              <a:ext cx="760848" cy="316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挂式空调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73" name="图片 172"/>
            <p:cNvPicPr>
              <a:picLocks noChangeAspect="1"/>
            </p:cNvPicPr>
            <p:nvPr/>
          </p:nvPicPr>
          <p:blipFill>
            <a:blip r:embed="rId1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3390" y="3123389"/>
              <a:ext cx="841386" cy="841386"/>
            </a:xfrm>
            <a:prstGeom prst="rect">
              <a:avLst/>
            </a:prstGeom>
          </p:spPr>
        </p:pic>
        <p:grpSp>
          <p:nvGrpSpPr>
            <p:cNvPr id="174" name="组合 173"/>
            <p:cNvGrpSpPr/>
            <p:nvPr/>
          </p:nvGrpSpPr>
          <p:grpSpPr>
            <a:xfrm>
              <a:off x="6319412" y="3370868"/>
              <a:ext cx="484121" cy="480700"/>
              <a:chOff x="6220122" y="3508952"/>
              <a:chExt cx="484121" cy="480700"/>
            </a:xfrm>
          </p:grpSpPr>
          <p:sp>
            <p:nvSpPr>
              <p:cNvPr id="220" name="Freeform 133"/>
              <p:cNvSpPr/>
              <p:nvPr/>
            </p:nvSpPr>
            <p:spPr bwMode="auto">
              <a:xfrm rot="5400000">
                <a:off x="6221833" y="3507241"/>
                <a:ext cx="480700" cy="484121"/>
              </a:xfrm>
              <a:custGeom>
                <a:avLst/>
                <a:gdLst>
                  <a:gd name="T0" fmla="*/ 186 w 186"/>
                  <a:gd name="T1" fmla="*/ 115 h 123"/>
                  <a:gd name="T2" fmla="*/ 178 w 186"/>
                  <a:gd name="T3" fmla="*/ 123 h 123"/>
                  <a:gd name="T4" fmla="*/ 8 w 186"/>
                  <a:gd name="T5" fmla="*/ 123 h 123"/>
                  <a:gd name="T6" fmla="*/ 0 w 186"/>
                  <a:gd name="T7" fmla="*/ 115 h 123"/>
                  <a:gd name="T8" fmla="*/ 0 w 186"/>
                  <a:gd name="T9" fmla="*/ 8 h 123"/>
                  <a:gd name="T10" fmla="*/ 8 w 186"/>
                  <a:gd name="T11" fmla="*/ 0 h 123"/>
                  <a:gd name="T12" fmla="*/ 178 w 186"/>
                  <a:gd name="T13" fmla="*/ 0 h 123"/>
                  <a:gd name="T14" fmla="*/ 186 w 186"/>
                  <a:gd name="T15" fmla="*/ 8 h 123"/>
                  <a:gd name="T16" fmla="*/ 186 w 186"/>
                  <a:gd name="T17" fmla="*/ 11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123">
                    <a:moveTo>
                      <a:pt x="186" y="115"/>
                    </a:moveTo>
                    <a:cubicBezTo>
                      <a:pt x="186" y="119"/>
                      <a:pt x="182" y="123"/>
                      <a:pt x="178" y="123"/>
                    </a:cubicBezTo>
                    <a:cubicBezTo>
                      <a:pt x="8" y="123"/>
                      <a:pt x="8" y="123"/>
                      <a:pt x="8" y="123"/>
                    </a:cubicBezTo>
                    <a:cubicBezTo>
                      <a:pt x="4" y="123"/>
                      <a:pt x="0" y="119"/>
                      <a:pt x="0" y="11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2" y="0"/>
                      <a:pt x="186" y="4"/>
                      <a:pt x="186" y="8"/>
                    </a:cubicBezTo>
                    <a:lnTo>
                      <a:pt x="186" y="115"/>
                    </a:lnTo>
                    <a:close/>
                  </a:path>
                </a:pathLst>
              </a:custGeom>
              <a:noFill/>
              <a:ln w="22225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21" name="Oval 134"/>
              <p:cNvSpPr>
                <a:spLocks noChangeArrowheads="1"/>
              </p:cNvSpPr>
              <p:nvPr/>
            </p:nvSpPr>
            <p:spPr bwMode="auto">
              <a:xfrm>
                <a:off x="6339450" y="3655001"/>
                <a:ext cx="257073" cy="259237"/>
              </a:xfrm>
              <a:prstGeom prst="ellipse">
                <a:avLst/>
              </a:prstGeom>
              <a:noFill/>
              <a:ln w="22225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22" name="Oval 33"/>
              <p:cNvSpPr>
                <a:spLocks noChangeArrowheads="1"/>
              </p:cNvSpPr>
              <p:nvPr/>
            </p:nvSpPr>
            <p:spPr bwMode="auto">
              <a:xfrm>
                <a:off x="6597949" y="3542060"/>
                <a:ext cx="58900" cy="61028"/>
              </a:xfrm>
              <a:prstGeom prst="ellipse">
                <a:avLst/>
              </a:prstGeom>
              <a:noFill/>
              <a:ln w="22225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23" name="Oval 33"/>
              <p:cNvSpPr>
                <a:spLocks noChangeArrowheads="1"/>
              </p:cNvSpPr>
              <p:nvPr/>
            </p:nvSpPr>
            <p:spPr bwMode="auto">
              <a:xfrm>
                <a:off x="6502699" y="3545235"/>
                <a:ext cx="58900" cy="61028"/>
              </a:xfrm>
              <a:prstGeom prst="ellipse">
                <a:avLst/>
              </a:prstGeom>
              <a:noFill/>
              <a:ln w="22225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grpSp>
          <p:nvGrpSpPr>
            <p:cNvPr id="175" name="组合 174"/>
            <p:cNvGrpSpPr/>
            <p:nvPr/>
          </p:nvGrpSpPr>
          <p:grpSpPr>
            <a:xfrm>
              <a:off x="7781437" y="3360580"/>
              <a:ext cx="462890" cy="708193"/>
              <a:chOff x="1811944" y="4173815"/>
              <a:chExt cx="1491754" cy="2276469"/>
            </a:xfrm>
          </p:grpSpPr>
          <p:sp>
            <p:nvSpPr>
              <p:cNvPr id="213" name="Freeform 78"/>
              <p:cNvSpPr/>
              <p:nvPr/>
            </p:nvSpPr>
            <p:spPr bwMode="auto">
              <a:xfrm>
                <a:off x="2346644" y="5680263"/>
                <a:ext cx="361949" cy="514349"/>
              </a:xfrm>
              <a:custGeom>
                <a:avLst/>
                <a:gdLst>
                  <a:gd name="T0" fmla="*/ 0 w 127"/>
                  <a:gd name="T1" fmla="*/ 180 h 180"/>
                  <a:gd name="T2" fmla="*/ 17 w 127"/>
                  <a:gd name="T3" fmla="*/ 8 h 180"/>
                  <a:gd name="T4" fmla="*/ 26 w 127"/>
                  <a:gd name="T5" fmla="*/ 0 h 180"/>
                  <a:gd name="T6" fmla="*/ 101 w 127"/>
                  <a:gd name="T7" fmla="*/ 0 h 180"/>
                  <a:gd name="T8" fmla="*/ 110 w 127"/>
                  <a:gd name="T9" fmla="*/ 8 h 180"/>
                  <a:gd name="T10" fmla="*/ 127 w 127"/>
                  <a:gd name="T11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7" h="180">
                    <a:moveTo>
                      <a:pt x="0" y="180"/>
                    </a:moveTo>
                    <a:cubicBezTo>
                      <a:pt x="17" y="8"/>
                      <a:pt x="17" y="8"/>
                      <a:pt x="17" y="8"/>
                    </a:cubicBezTo>
                    <a:cubicBezTo>
                      <a:pt x="17" y="4"/>
                      <a:pt x="21" y="0"/>
                      <a:pt x="26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5" y="0"/>
                      <a:pt x="109" y="4"/>
                      <a:pt x="110" y="8"/>
                    </a:cubicBezTo>
                    <a:cubicBezTo>
                      <a:pt x="127" y="180"/>
                      <a:pt x="127" y="180"/>
                      <a:pt x="127" y="180"/>
                    </a:cubicBezTo>
                  </a:path>
                </a:pathLst>
              </a:custGeom>
              <a:noFill/>
              <a:ln w="22225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14" name="Freeform 129"/>
              <p:cNvSpPr/>
              <p:nvPr/>
            </p:nvSpPr>
            <p:spPr bwMode="auto">
              <a:xfrm>
                <a:off x="1978978" y="6078146"/>
                <a:ext cx="1074124" cy="372138"/>
              </a:xfrm>
              <a:custGeom>
                <a:avLst/>
                <a:gdLst>
                  <a:gd name="T0" fmla="*/ 93 w 141"/>
                  <a:gd name="T1" fmla="*/ 0 h 49"/>
                  <a:gd name="T2" fmla="*/ 141 w 141"/>
                  <a:gd name="T3" fmla="*/ 24 h 49"/>
                  <a:gd name="T4" fmla="*/ 70 w 141"/>
                  <a:gd name="T5" fmla="*/ 49 h 49"/>
                  <a:gd name="T6" fmla="*/ 0 w 141"/>
                  <a:gd name="T7" fmla="*/ 24 h 49"/>
                  <a:gd name="T8" fmla="*/ 49 w 141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49">
                    <a:moveTo>
                      <a:pt x="93" y="0"/>
                    </a:moveTo>
                    <a:cubicBezTo>
                      <a:pt x="121" y="3"/>
                      <a:pt x="141" y="13"/>
                      <a:pt x="141" y="24"/>
                    </a:cubicBezTo>
                    <a:cubicBezTo>
                      <a:pt x="141" y="38"/>
                      <a:pt x="109" y="49"/>
                      <a:pt x="70" y="49"/>
                    </a:cubicBezTo>
                    <a:cubicBezTo>
                      <a:pt x="31" y="49"/>
                      <a:pt x="0" y="38"/>
                      <a:pt x="0" y="24"/>
                    </a:cubicBezTo>
                    <a:cubicBezTo>
                      <a:pt x="0" y="13"/>
                      <a:pt x="20" y="3"/>
                      <a:pt x="49" y="0"/>
                    </a:cubicBezTo>
                  </a:path>
                </a:pathLst>
              </a:custGeom>
              <a:noFill/>
              <a:ln w="22225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15" name="Oval 316"/>
              <p:cNvSpPr>
                <a:spLocks noChangeArrowheads="1"/>
              </p:cNvSpPr>
              <p:nvPr/>
            </p:nvSpPr>
            <p:spPr bwMode="auto">
              <a:xfrm>
                <a:off x="1811944" y="4173815"/>
                <a:ext cx="1491754" cy="1485901"/>
              </a:xfrm>
              <a:prstGeom prst="ellipse">
                <a:avLst/>
              </a:prstGeom>
              <a:noFill/>
              <a:ln w="22225" cap="rnd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16" name="Freeform 338"/>
              <p:cNvSpPr/>
              <p:nvPr/>
            </p:nvSpPr>
            <p:spPr bwMode="auto">
              <a:xfrm rot="16200000">
                <a:off x="2097929" y="4712273"/>
                <a:ext cx="246333" cy="403003"/>
              </a:xfrm>
              <a:custGeom>
                <a:avLst/>
                <a:gdLst>
                  <a:gd name="T0" fmla="*/ 130 w 130"/>
                  <a:gd name="T1" fmla="*/ 65 h 192"/>
                  <a:gd name="T2" fmla="*/ 65 w 130"/>
                  <a:gd name="T3" fmla="*/ 192 h 192"/>
                  <a:gd name="T4" fmla="*/ 0 w 130"/>
                  <a:gd name="T5" fmla="*/ 65 h 192"/>
                  <a:gd name="T6" fmla="*/ 65 w 130"/>
                  <a:gd name="T7" fmla="*/ 0 h 192"/>
                  <a:gd name="T8" fmla="*/ 130 w 130"/>
                  <a:gd name="T9" fmla="*/ 65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92">
                    <a:moveTo>
                      <a:pt x="130" y="65"/>
                    </a:moveTo>
                    <a:cubicBezTo>
                      <a:pt x="130" y="101"/>
                      <a:pt x="65" y="192"/>
                      <a:pt x="65" y="192"/>
                    </a:cubicBezTo>
                    <a:cubicBezTo>
                      <a:pt x="65" y="192"/>
                      <a:pt x="0" y="101"/>
                      <a:pt x="0" y="65"/>
                    </a:cubicBezTo>
                    <a:cubicBezTo>
                      <a:pt x="0" y="29"/>
                      <a:pt x="29" y="0"/>
                      <a:pt x="65" y="0"/>
                    </a:cubicBezTo>
                    <a:cubicBezTo>
                      <a:pt x="101" y="0"/>
                      <a:pt x="130" y="29"/>
                      <a:pt x="130" y="65"/>
                    </a:cubicBezTo>
                    <a:close/>
                  </a:path>
                </a:pathLst>
              </a:custGeom>
              <a:noFill/>
              <a:ln w="22225" cap="flat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17" name="Oval 139"/>
              <p:cNvSpPr>
                <a:spLocks noChangeArrowheads="1"/>
              </p:cNvSpPr>
              <p:nvPr/>
            </p:nvSpPr>
            <p:spPr bwMode="auto">
              <a:xfrm>
                <a:off x="2421156" y="4796418"/>
                <a:ext cx="242471" cy="244475"/>
              </a:xfrm>
              <a:prstGeom prst="ellipse">
                <a:avLst/>
              </a:prstGeom>
              <a:noFill/>
              <a:ln w="22225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18" name="Freeform 338"/>
              <p:cNvSpPr/>
              <p:nvPr/>
            </p:nvSpPr>
            <p:spPr bwMode="auto">
              <a:xfrm rot="8828068">
                <a:off x="2576853" y="5000278"/>
                <a:ext cx="273341" cy="403003"/>
              </a:xfrm>
              <a:custGeom>
                <a:avLst/>
                <a:gdLst>
                  <a:gd name="T0" fmla="*/ 130 w 130"/>
                  <a:gd name="T1" fmla="*/ 65 h 192"/>
                  <a:gd name="T2" fmla="*/ 65 w 130"/>
                  <a:gd name="T3" fmla="*/ 192 h 192"/>
                  <a:gd name="T4" fmla="*/ 0 w 130"/>
                  <a:gd name="T5" fmla="*/ 65 h 192"/>
                  <a:gd name="T6" fmla="*/ 65 w 130"/>
                  <a:gd name="T7" fmla="*/ 0 h 192"/>
                  <a:gd name="T8" fmla="*/ 130 w 130"/>
                  <a:gd name="T9" fmla="*/ 65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92">
                    <a:moveTo>
                      <a:pt x="130" y="65"/>
                    </a:moveTo>
                    <a:cubicBezTo>
                      <a:pt x="130" y="101"/>
                      <a:pt x="65" y="192"/>
                      <a:pt x="65" y="192"/>
                    </a:cubicBezTo>
                    <a:cubicBezTo>
                      <a:pt x="65" y="192"/>
                      <a:pt x="0" y="101"/>
                      <a:pt x="0" y="65"/>
                    </a:cubicBezTo>
                    <a:cubicBezTo>
                      <a:pt x="0" y="29"/>
                      <a:pt x="29" y="0"/>
                      <a:pt x="65" y="0"/>
                    </a:cubicBezTo>
                    <a:cubicBezTo>
                      <a:pt x="101" y="0"/>
                      <a:pt x="130" y="29"/>
                      <a:pt x="130" y="65"/>
                    </a:cubicBezTo>
                    <a:close/>
                  </a:path>
                </a:pathLst>
              </a:custGeom>
              <a:noFill/>
              <a:ln w="22225" cap="flat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19" name="Freeform 338"/>
              <p:cNvSpPr/>
              <p:nvPr/>
            </p:nvSpPr>
            <p:spPr bwMode="auto">
              <a:xfrm rot="1631973" flipH="1">
                <a:off x="2572770" y="4434268"/>
                <a:ext cx="257825" cy="403003"/>
              </a:xfrm>
              <a:custGeom>
                <a:avLst/>
                <a:gdLst>
                  <a:gd name="T0" fmla="*/ 130 w 130"/>
                  <a:gd name="T1" fmla="*/ 65 h 192"/>
                  <a:gd name="T2" fmla="*/ 65 w 130"/>
                  <a:gd name="T3" fmla="*/ 192 h 192"/>
                  <a:gd name="T4" fmla="*/ 0 w 130"/>
                  <a:gd name="T5" fmla="*/ 65 h 192"/>
                  <a:gd name="T6" fmla="*/ 65 w 130"/>
                  <a:gd name="T7" fmla="*/ 0 h 192"/>
                  <a:gd name="T8" fmla="*/ 130 w 130"/>
                  <a:gd name="T9" fmla="*/ 65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92">
                    <a:moveTo>
                      <a:pt x="130" y="65"/>
                    </a:moveTo>
                    <a:cubicBezTo>
                      <a:pt x="130" y="101"/>
                      <a:pt x="65" y="192"/>
                      <a:pt x="65" y="192"/>
                    </a:cubicBezTo>
                    <a:cubicBezTo>
                      <a:pt x="65" y="192"/>
                      <a:pt x="0" y="101"/>
                      <a:pt x="0" y="65"/>
                    </a:cubicBezTo>
                    <a:cubicBezTo>
                      <a:pt x="0" y="29"/>
                      <a:pt x="29" y="0"/>
                      <a:pt x="65" y="0"/>
                    </a:cubicBezTo>
                    <a:cubicBezTo>
                      <a:pt x="101" y="0"/>
                      <a:pt x="130" y="29"/>
                      <a:pt x="130" y="65"/>
                    </a:cubicBezTo>
                    <a:close/>
                  </a:path>
                </a:pathLst>
              </a:custGeom>
              <a:noFill/>
              <a:ln w="22225" cap="flat">
                <a:solidFill>
                  <a:schemeClr val="bg1">
                    <a:lumMod val="50000"/>
                  </a:schemeClr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176" name="文本框 175"/>
            <p:cNvSpPr txBox="1"/>
            <p:nvPr/>
          </p:nvSpPr>
          <p:spPr>
            <a:xfrm>
              <a:off x="7632685" y="4061558"/>
              <a:ext cx="821211" cy="316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电风扇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77" name="组合 176"/>
            <p:cNvGrpSpPr/>
            <p:nvPr/>
          </p:nvGrpSpPr>
          <p:grpSpPr>
            <a:xfrm>
              <a:off x="10426080" y="3479239"/>
              <a:ext cx="696984" cy="425843"/>
              <a:chOff x="10464680" y="3568336"/>
              <a:chExt cx="696984" cy="425843"/>
            </a:xfrm>
          </p:grpSpPr>
          <p:grpSp>
            <p:nvGrpSpPr>
              <p:cNvPr id="203" name="组合 202"/>
              <p:cNvGrpSpPr/>
              <p:nvPr/>
            </p:nvGrpSpPr>
            <p:grpSpPr>
              <a:xfrm>
                <a:off x="10623361" y="3606263"/>
                <a:ext cx="417020" cy="387916"/>
                <a:chOff x="8704263" y="2666016"/>
                <a:chExt cx="531813" cy="494698"/>
              </a:xfrm>
            </p:grpSpPr>
            <p:sp>
              <p:nvSpPr>
                <p:cNvPr id="210" name="Freeform 115"/>
                <p:cNvSpPr/>
                <p:nvPr/>
              </p:nvSpPr>
              <p:spPr bwMode="auto">
                <a:xfrm>
                  <a:off x="8704263" y="2852739"/>
                  <a:ext cx="531813" cy="174625"/>
                </a:xfrm>
                <a:custGeom>
                  <a:avLst/>
                  <a:gdLst>
                    <a:gd name="T0" fmla="*/ 30 w 192"/>
                    <a:gd name="T1" fmla="*/ 63 h 63"/>
                    <a:gd name="T2" fmla="*/ 17 w 192"/>
                    <a:gd name="T3" fmla="*/ 63 h 63"/>
                    <a:gd name="T4" fmla="*/ 0 w 192"/>
                    <a:gd name="T5" fmla="*/ 47 h 63"/>
                    <a:gd name="T6" fmla="*/ 0 w 192"/>
                    <a:gd name="T7" fmla="*/ 45 h 63"/>
                    <a:gd name="T8" fmla="*/ 96 w 192"/>
                    <a:gd name="T9" fmla="*/ 0 h 63"/>
                    <a:gd name="T10" fmla="*/ 192 w 192"/>
                    <a:gd name="T11" fmla="*/ 45 h 63"/>
                    <a:gd name="T12" fmla="*/ 192 w 192"/>
                    <a:gd name="T13" fmla="*/ 47 h 63"/>
                    <a:gd name="T14" fmla="*/ 174 w 192"/>
                    <a:gd name="T15" fmla="*/ 63 h 63"/>
                    <a:gd name="T16" fmla="*/ 161 w 192"/>
                    <a:gd name="T1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2" h="63">
                      <a:moveTo>
                        <a:pt x="30" y="63"/>
                      </a:moveTo>
                      <a:cubicBezTo>
                        <a:pt x="17" y="63"/>
                        <a:pt x="17" y="63"/>
                        <a:pt x="17" y="63"/>
                      </a:cubicBezTo>
                      <a:cubicBezTo>
                        <a:pt x="4" y="63"/>
                        <a:pt x="0" y="56"/>
                        <a:pt x="0" y="47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25"/>
                        <a:pt x="96" y="0"/>
                        <a:pt x="96" y="0"/>
                      </a:cubicBezTo>
                      <a:cubicBezTo>
                        <a:pt x="96" y="0"/>
                        <a:pt x="192" y="26"/>
                        <a:pt x="192" y="45"/>
                      </a:cubicBezTo>
                      <a:cubicBezTo>
                        <a:pt x="192" y="47"/>
                        <a:pt x="192" y="47"/>
                        <a:pt x="192" y="47"/>
                      </a:cubicBezTo>
                      <a:cubicBezTo>
                        <a:pt x="192" y="56"/>
                        <a:pt x="187" y="63"/>
                        <a:pt x="174" y="63"/>
                      </a:cubicBezTo>
                      <a:cubicBezTo>
                        <a:pt x="161" y="63"/>
                        <a:pt x="161" y="63"/>
                        <a:pt x="161" y="63"/>
                      </a:cubicBezTo>
                    </a:path>
                  </a:pathLst>
                </a:custGeom>
                <a:noFill/>
                <a:ln w="19050" cap="flat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11" name="Freeform 116"/>
                <p:cNvSpPr/>
                <p:nvPr/>
              </p:nvSpPr>
              <p:spPr bwMode="auto">
                <a:xfrm>
                  <a:off x="8912589" y="2666016"/>
                  <a:ext cx="110858" cy="173534"/>
                </a:xfrm>
                <a:custGeom>
                  <a:avLst/>
                  <a:gdLst>
                    <a:gd name="T0" fmla="*/ 48 w 48"/>
                    <a:gd name="T1" fmla="*/ 24 h 74"/>
                    <a:gd name="T2" fmla="*/ 24 w 48"/>
                    <a:gd name="T3" fmla="*/ 0 h 74"/>
                    <a:gd name="T4" fmla="*/ 0 w 48"/>
                    <a:gd name="T5" fmla="*/ 24 h 74"/>
                    <a:gd name="T6" fmla="*/ 24 w 48"/>
                    <a:gd name="T7" fmla="*/ 48 h 74"/>
                    <a:gd name="T8" fmla="*/ 24 w 48"/>
                    <a:gd name="T9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74">
                      <a:moveTo>
                        <a:pt x="48" y="24"/>
                      </a:moveTo>
                      <a:cubicBezTo>
                        <a:pt x="48" y="11"/>
                        <a:pt x="37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38"/>
                        <a:pt x="11" y="48"/>
                        <a:pt x="24" y="48"/>
                      </a:cubicBezTo>
                      <a:cubicBezTo>
                        <a:pt x="24" y="74"/>
                        <a:pt x="24" y="74"/>
                        <a:pt x="24" y="74"/>
                      </a:cubicBezTo>
                    </a:path>
                  </a:pathLst>
                </a:custGeom>
                <a:noFill/>
                <a:ln w="19050" cap="rnd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  <p:sp>
              <p:nvSpPr>
                <p:cNvPr id="212" name="Rectangle 117"/>
                <p:cNvSpPr>
                  <a:spLocks noChangeArrowheads="1"/>
                </p:cNvSpPr>
                <p:nvPr/>
              </p:nvSpPr>
              <p:spPr bwMode="auto">
                <a:xfrm>
                  <a:off x="8788401" y="2992439"/>
                  <a:ext cx="365125" cy="168275"/>
                </a:xfrm>
                <a:prstGeom prst="rect">
                  <a:avLst/>
                </a:prstGeom>
                <a:noFill/>
                <a:ln w="19050" cap="flat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/>
                </a:p>
              </p:txBody>
            </p:sp>
          </p:grpSp>
          <p:cxnSp>
            <p:nvCxnSpPr>
              <p:cNvPr id="204" name="直线连接符 203"/>
              <p:cNvCxnSpPr/>
              <p:nvPr/>
            </p:nvCxnSpPr>
            <p:spPr>
              <a:xfrm>
                <a:off x="10464680" y="3568336"/>
                <a:ext cx="696984" cy="0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5" name="椭圆 204"/>
              <p:cNvSpPr/>
              <p:nvPr/>
            </p:nvSpPr>
            <p:spPr>
              <a:xfrm>
                <a:off x="10518126" y="3568336"/>
                <a:ext cx="45719" cy="45719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206" name="椭圆 205"/>
              <p:cNvSpPr/>
              <p:nvPr/>
            </p:nvSpPr>
            <p:spPr>
              <a:xfrm>
                <a:off x="10670526" y="3568336"/>
                <a:ext cx="45719" cy="45719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207" name="椭圆 206"/>
              <p:cNvSpPr/>
              <p:nvPr/>
            </p:nvSpPr>
            <p:spPr>
              <a:xfrm>
                <a:off x="10797131" y="3568336"/>
                <a:ext cx="45719" cy="45719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208" name="椭圆 207"/>
              <p:cNvSpPr/>
              <p:nvPr/>
            </p:nvSpPr>
            <p:spPr>
              <a:xfrm>
                <a:off x="10954219" y="3568336"/>
                <a:ext cx="45719" cy="45719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209" name="椭圆 208"/>
              <p:cNvSpPr/>
              <p:nvPr/>
            </p:nvSpPr>
            <p:spPr>
              <a:xfrm>
                <a:off x="11080824" y="3568336"/>
                <a:ext cx="45719" cy="45719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</p:grpSp>
        <p:sp>
          <p:nvSpPr>
            <p:cNvPr id="178" name="圆角矩形 177"/>
            <p:cNvSpPr/>
            <p:nvPr/>
          </p:nvSpPr>
          <p:spPr>
            <a:xfrm>
              <a:off x="4178776" y="2302829"/>
              <a:ext cx="3061349" cy="4073237"/>
            </a:xfrm>
            <a:prstGeom prst="roundRect">
              <a:avLst/>
            </a:prstGeom>
            <a:noFill/>
            <a:ln w="28575">
              <a:solidFill>
                <a:srgbClr val="20B9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79" name="圆角矩形 178"/>
            <p:cNvSpPr/>
            <p:nvPr/>
          </p:nvSpPr>
          <p:spPr>
            <a:xfrm>
              <a:off x="939023" y="2272145"/>
              <a:ext cx="2909953" cy="4073237"/>
            </a:xfrm>
            <a:prstGeom prst="roundRect">
              <a:avLst/>
            </a:prstGeom>
            <a:noFill/>
            <a:ln w="28575">
              <a:solidFill>
                <a:srgbClr val="20B9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80" name="圆角矩形 179"/>
            <p:cNvSpPr/>
            <p:nvPr/>
          </p:nvSpPr>
          <p:spPr>
            <a:xfrm>
              <a:off x="7569925" y="2272144"/>
              <a:ext cx="3811454" cy="4073237"/>
            </a:xfrm>
            <a:prstGeom prst="roundRect">
              <a:avLst/>
            </a:prstGeom>
            <a:noFill/>
            <a:ln w="28575">
              <a:solidFill>
                <a:srgbClr val="20B9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81" name="圆角矩形 180"/>
            <p:cNvSpPr/>
            <p:nvPr/>
          </p:nvSpPr>
          <p:spPr>
            <a:xfrm>
              <a:off x="1441886" y="4635236"/>
              <a:ext cx="686589" cy="686589"/>
            </a:xfrm>
            <a:prstGeom prst="round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82" name="椭圆 181"/>
            <p:cNvSpPr/>
            <p:nvPr/>
          </p:nvSpPr>
          <p:spPr>
            <a:xfrm>
              <a:off x="1577163" y="4760423"/>
              <a:ext cx="157156" cy="157156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83" name="椭圆 182"/>
            <p:cNvSpPr/>
            <p:nvPr/>
          </p:nvSpPr>
          <p:spPr>
            <a:xfrm>
              <a:off x="1848020" y="4764534"/>
              <a:ext cx="157156" cy="157156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84" name="椭圆 183"/>
            <p:cNvSpPr/>
            <p:nvPr/>
          </p:nvSpPr>
          <p:spPr>
            <a:xfrm>
              <a:off x="1572226" y="5030886"/>
              <a:ext cx="157156" cy="157156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85" name="椭圆 184"/>
            <p:cNvSpPr/>
            <p:nvPr/>
          </p:nvSpPr>
          <p:spPr>
            <a:xfrm>
              <a:off x="1843083" y="5034997"/>
              <a:ext cx="157156" cy="157156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86" name="圆角矩形 185"/>
            <p:cNvSpPr/>
            <p:nvPr/>
          </p:nvSpPr>
          <p:spPr>
            <a:xfrm>
              <a:off x="2509060" y="4640939"/>
              <a:ext cx="686589" cy="686589"/>
            </a:xfrm>
            <a:prstGeom prst="round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87" name="Freeform 125"/>
            <p:cNvSpPr/>
            <p:nvPr/>
          </p:nvSpPr>
          <p:spPr bwMode="auto">
            <a:xfrm>
              <a:off x="4864209" y="4589917"/>
              <a:ext cx="410567" cy="764974"/>
            </a:xfrm>
            <a:custGeom>
              <a:avLst/>
              <a:gdLst>
                <a:gd name="T0" fmla="*/ 173 w 173"/>
                <a:gd name="T1" fmla="*/ 187 h 207"/>
                <a:gd name="T2" fmla="*/ 153 w 173"/>
                <a:gd name="T3" fmla="*/ 207 h 207"/>
                <a:gd name="T4" fmla="*/ 19 w 173"/>
                <a:gd name="T5" fmla="*/ 207 h 207"/>
                <a:gd name="T6" fmla="*/ 0 w 173"/>
                <a:gd name="T7" fmla="*/ 187 h 207"/>
                <a:gd name="T8" fmla="*/ 0 w 173"/>
                <a:gd name="T9" fmla="*/ 19 h 207"/>
                <a:gd name="T10" fmla="*/ 19 w 173"/>
                <a:gd name="T11" fmla="*/ 0 h 207"/>
                <a:gd name="T12" fmla="*/ 153 w 173"/>
                <a:gd name="T13" fmla="*/ 0 h 207"/>
                <a:gd name="T14" fmla="*/ 173 w 173"/>
                <a:gd name="T15" fmla="*/ 19 h 207"/>
                <a:gd name="T16" fmla="*/ 173 w 173"/>
                <a:gd name="T17" fmla="*/ 1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" h="207">
                  <a:moveTo>
                    <a:pt x="173" y="187"/>
                  </a:moveTo>
                  <a:cubicBezTo>
                    <a:pt x="173" y="198"/>
                    <a:pt x="164" y="207"/>
                    <a:pt x="153" y="207"/>
                  </a:cubicBezTo>
                  <a:cubicBezTo>
                    <a:pt x="19" y="207"/>
                    <a:pt x="19" y="207"/>
                    <a:pt x="19" y="207"/>
                  </a:cubicBezTo>
                  <a:cubicBezTo>
                    <a:pt x="8" y="207"/>
                    <a:pt x="0" y="198"/>
                    <a:pt x="0" y="18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64" y="0"/>
                    <a:pt x="173" y="9"/>
                    <a:pt x="173" y="19"/>
                  </a:cubicBezTo>
                  <a:lnTo>
                    <a:pt x="173" y="187"/>
                  </a:lnTo>
                  <a:close/>
                </a:path>
              </a:pathLst>
            </a:custGeom>
            <a:noFill/>
            <a:ln w="22860" cap="rnd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8" name="Line 128"/>
            <p:cNvSpPr>
              <a:spLocks noChangeShapeType="1"/>
            </p:cNvSpPr>
            <p:nvPr/>
          </p:nvSpPr>
          <p:spPr bwMode="auto">
            <a:xfrm flipV="1">
              <a:off x="4874510" y="4817915"/>
              <a:ext cx="396848" cy="1"/>
            </a:xfrm>
            <a:prstGeom prst="line">
              <a:avLst/>
            </a:prstGeom>
            <a:noFill/>
            <a:ln w="22860" cap="rnd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9" name="Line 128"/>
            <p:cNvSpPr>
              <a:spLocks noChangeShapeType="1"/>
            </p:cNvSpPr>
            <p:nvPr/>
          </p:nvSpPr>
          <p:spPr bwMode="auto">
            <a:xfrm flipV="1">
              <a:off x="4870757" y="4770186"/>
              <a:ext cx="396848" cy="1"/>
            </a:xfrm>
            <a:prstGeom prst="line">
              <a:avLst/>
            </a:prstGeom>
            <a:noFill/>
            <a:ln w="22860" cap="rnd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0" name="Line 128"/>
            <p:cNvSpPr>
              <a:spLocks noChangeShapeType="1"/>
            </p:cNvSpPr>
            <p:nvPr/>
          </p:nvSpPr>
          <p:spPr bwMode="auto">
            <a:xfrm flipV="1">
              <a:off x="4874509" y="4725341"/>
              <a:ext cx="396848" cy="1"/>
            </a:xfrm>
            <a:prstGeom prst="line">
              <a:avLst/>
            </a:prstGeom>
            <a:noFill/>
            <a:ln w="22860" cap="rnd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1" name="Line 128"/>
            <p:cNvSpPr>
              <a:spLocks noChangeShapeType="1"/>
            </p:cNvSpPr>
            <p:nvPr/>
          </p:nvSpPr>
          <p:spPr bwMode="auto">
            <a:xfrm flipV="1">
              <a:off x="4874509" y="4678897"/>
              <a:ext cx="396848" cy="1"/>
            </a:xfrm>
            <a:prstGeom prst="line">
              <a:avLst/>
            </a:prstGeom>
            <a:noFill/>
            <a:ln w="22860" cap="rnd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2" name="Line 128"/>
            <p:cNvSpPr>
              <a:spLocks noChangeShapeType="1"/>
            </p:cNvSpPr>
            <p:nvPr/>
          </p:nvSpPr>
          <p:spPr bwMode="auto">
            <a:xfrm flipV="1">
              <a:off x="4874509" y="4634252"/>
              <a:ext cx="396848" cy="1"/>
            </a:xfrm>
            <a:prstGeom prst="line">
              <a:avLst/>
            </a:prstGeom>
            <a:noFill/>
            <a:ln w="22860" cap="rnd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grpSp>
          <p:nvGrpSpPr>
            <p:cNvPr id="193" name="组合 192"/>
            <p:cNvGrpSpPr/>
            <p:nvPr/>
          </p:nvGrpSpPr>
          <p:grpSpPr>
            <a:xfrm>
              <a:off x="8360789" y="4750053"/>
              <a:ext cx="568752" cy="571198"/>
              <a:chOff x="8393447" y="4799040"/>
              <a:chExt cx="568752" cy="571198"/>
            </a:xfrm>
          </p:grpSpPr>
          <p:grpSp>
            <p:nvGrpSpPr>
              <p:cNvPr id="197" name="组合 196"/>
              <p:cNvGrpSpPr/>
              <p:nvPr/>
            </p:nvGrpSpPr>
            <p:grpSpPr>
              <a:xfrm>
                <a:off x="8577352" y="4915122"/>
                <a:ext cx="226931" cy="263378"/>
                <a:chOff x="2871176" y="4969872"/>
                <a:chExt cx="257772" cy="299172"/>
              </a:xfrm>
            </p:grpSpPr>
            <p:sp>
              <p:nvSpPr>
                <p:cNvPr id="200" name="矩形 199"/>
                <p:cNvSpPr/>
                <p:nvPr/>
              </p:nvSpPr>
              <p:spPr>
                <a:xfrm rot="19647053">
                  <a:off x="2871176" y="5134403"/>
                  <a:ext cx="45719" cy="134641"/>
                </a:xfrm>
                <a:prstGeom prst="rect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CN" altLang="en-US"/>
                </a:p>
              </p:txBody>
            </p:sp>
            <p:sp>
              <p:nvSpPr>
                <p:cNvPr id="201" name="矩形 200"/>
                <p:cNvSpPr/>
                <p:nvPr/>
              </p:nvSpPr>
              <p:spPr>
                <a:xfrm rot="1427915">
                  <a:off x="3083229" y="5124672"/>
                  <a:ext cx="45719" cy="134642"/>
                </a:xfrm>
                <a:prstGeom prst="rect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CN" altLang="en-US"/>
                </a:p>
              </p:txBody>
            </p:sp>
            <p:sp>
              <p:nvSpPr>
                <p:cNvPr id="202" name="矩形 201"/>
                <p:cNvSpPr/>
                <p:nvPr/>
              </p:nvSpPr>
              <p:spPr>
                <a:xfrm>
                  <a:off x="2969227" y="4969872"/>
                  <a:ext cx="45719" cy="134643"/>
                </a:xfrm>
                <a:prstGeom prst="rect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CN" altLang="en-US"/>
                </a:p>
              </p:txBody>
            </p:sp>
          </p:grpSp>
          <p:sp>
            <p:nvSpPr>
              <p:cNvPr id="198" name="任意形状 197"/>
              <p:cNvSpPr/>
              <p:nvPr/>
            </p:nvSpPr>
            <p:spPr>
              <a:xfrm>
                <a:off x="8399025" y="4799040"/>
                <a:ext cx="562602" cy="518663"/>
              </a:xfrm>
              <a:custGeom>
                <a:avLst/>
                <a:gdLst>
                  <a:gd name="connsiteX0" fmla="*/ 323229 w 650406"/>
                  <a:gd name="connsiteY0" fmla="*/ 0 h 598438"/>
                  <a:gd name="connsiteX1" fmla="*/ 644679 w 650406"/>
                  <a:gd name="connsiteY1" fmla="*/ 261989 h 598438"/>
                  <a:gd name="connsiteX2" fmla="*/ 650406 w 650406"/>
                  <a:gd name="connsiteY2" fmla="*/ 318801 h 598438"/>
                  <a:gd name="connsiteX3" fmla="*/ 648627 w 650406"/>
                  <a:gd name="connsiteY3" fmla="*/ 336449 h 598438"/>
                  <a:gd name="connsiteX4" fmla="*/ 327177 w 650406"/>
                  <a:gd name="connsiteY4" fmla="*/ 598438 h 598438"/>
                  <a:gd name="connsiteX5" fmla="*/ 5727 w 650406"/>
                  <a:gd name="connsiteY5" fmla="*/ 336449 h 598438"/>
                  <a:gd name="connsiteX6" fmla="*/ 0 w 650406"/>
                  <a:gd name="connsiteY6" fmla="*/ 279637 h 598438"/>
                  <a:gd name="connsiteX7" fmla="*/ 1779 w 650406"/>
                  <a:gd name="connsiteY7" fmla="*/ 261989 h 598438"/>
                  <a:gd name="connsiteX8" fmla="*/ 323229 w 650406"/>
                  <a:gd name="connsiteY8" fmla="*/ 0 h 59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0406" h="598438">
                    <a:moveTo>
                      <a:pt x="323229" y="0"/>
                    </a:moveTo>
                    <a:cubicBezTo>
                      <a:pt x="481790" y="0"/>
                      <a:pt x="614083" y="112473"/>
                      <a:pt x="644679" y="261989"/>
                    </a:cubicBezTo>
                    <a:lnTo>
                      <a:pt x="650406" y="318801"/>
                    </a:lnTo>
                    <a:lnTo>
                      <a:pt x="648627" y="336449"/>
                    </a:lnTo>
                    <a:cubicBezTo>
                      <a:pt x="618031" y="485966"/>
                      <a:pt x="485738" y="598438"/>
                      <a:pt x="327177" y="598438"/>
                    </a:cubicBezTo>
                    <a:cubicBezTo>
                      <a:pt x="168616" y="598438"/>
                      <a:pt x="36323" y="485966"/>
                      <a:pt x="5727" y="336449"/>
                    </a:cubicBezTo>
                    <a:lnTo>
                      <a:pt x="0" y="279637"/>
                    </a:lnTo>
                    <a:lnTo>
                      <a:pt x="1779" y="261989"/>
                    </a:lnTo>
                    <a:cubicBezTo>
                      <a:pt x="32375" y="112473"/>
                      <a:pt x="164668" y="0"/>
                      <a:pt x="323229" y="0"/>
                    </a:cubicBezTo>
                    <a:close/>
                  </a:path>
                </a:pathLst>
              </a:custGeom>
              <a:no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199" name="任意形状 198"/>
              <p:cNvSpPr/>
              <p:nvPr/>
            </p:nvSpPr>
            <p:spPr>
              <a:xfrm>
                <a:off x="8393447" y="5043846"/>
                <a:ext cx="568752" cy="326392"/>
              </a:xfrm>
              <a:custGeom>
                <a:avLst/>
                <a:gdLst>
                  <a:gd name="connsiteX0" fmla="*/ 4887 w 656232"/>
                  <a:gd name="connsiteY0" fmla="*/ 0 h 376595"/>
                  <a:gd name="connsiteX1" fmla="*/ 10614 w 656232"/>
                  <a:gd name="connsiteY1" fmla="*/ 56812 h 376595"/>
                  <a:gd name="connsiteX2" fmla="*/ 332064 w 656232"/>
                  <a:gd name="connsiteY2" fmla="*/ 318801 h 376595"/>
                  <a:gd name="connsiteX3" fmla="*/ 653514 w 656232"/>
                  <a:gd name="connsiteY3" fmla="*/ 56812 h 376595"/>
                  <a:gd name="connsiteX4" fmla="*/ 655293 w 656232"/>
                  <a:gd name="connsiteY4" fmla="*/ 39164 h 376595"/>
                  <a:gd name="connsiteX5" fmla="*/ 656232 w 656232"/>
                  <a:gd name="connsiteY5" fmla="*/ 48479 h 376595"/>
                  <a:gd name="connsiteX6" fmla="*/ 328116 w 656232"/>
                  <a:gd name="connsiteY6" fmla="*/ 376595 h 376595"/>
                  <a:gd name="connsiteX7" fmla="*/ 0 w 656232"/>
                  <a:gd name="connsiteY7" fmla="*/ 48479 h 376595"/>
                  <a:gd name="connsiteX8" fmla="*/ 4887 w 656232"/>
                  <a:gd name="connsiteY8" fmla="*/ 0 h 37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6232" h="376595">
                    <a:moveTo>
                      <a:pt x="4887" y="0"/>
                    </a:moveTo>
                    <a:lnTo>
                      <a:pt x="10614" y="56812"/>
                    </a:lnTo>
                    <a:cubicBezTo>
                      <a:pt x="41210" y="206329"/>
                      <a:pt x="173503" y="318801"/>
                      <a:pt x="332064" y="318801"/>
                    </a:cubicBezTo>
                    <a:cubicBezTo>
                      <a:pt x="490625" y="318801"/>
                      <a:pt x="622918" y="206329"/>
                      <a:pt x="653514" y="56812"/>
                    </a:cubicBezTo>
                    <a:lnTo>
                      <a:pt x="655293" y="39164"/>
                    </a:lnTo>
                    <a:lnTo>
                      <a:pt x="656232" y="48479"/>
                    </a:lnTo>
                    <a:cubicBezTo>
                      <a:pt x="656232" y="229692"/>
                      <a:pt x="509329" y="376595"/>
                      <a:pt x="328116" y="376595"/>
                    </a:cubicBezTo>
                    <a:cubicBezTo>
                      <a:pt x="146903" y="376595"/>
                      <a:pt x="0" y="229692"/>
                      <a:pt x="0" y="48479"/>
                    </a:cubicBezTo>
                    <a:lnTo>
                      <a:pt x="4887" y="0"/>
                    </a:lnTo>
                    <a:close/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/>
              </a:p>
            </p:txBody>
          </p:sp>
        </p:grpSp>
        <p:sp>
          <p:nvSpPr>
            <p:cNvPr id="194" name="矩形 193"/>
            <p:cNvSpPr/>
            <p:nvPr/>
          </p:nvSpPr>
          <p:spPr>
            <a:xfrm rot="19647053">
              <a:off x="2748608" y="4983846"/>
              <a:ext cx="40249" cy="118532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95" name="矩形 194"/>
            <p:cNvSpPr/>
            <p:nvPr/>
          </p:nvSpPr>
          <p:spPr>
            <a:xfrm rot="1752617">
              <a:off x="2922590" y="4984804"/>
              <a:ext cx="40249" cy="118533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96" name="矩形 195"/>
            <p:cNvSpPr/>
            <p:nvPr/>
          </p:nvSpPr>
          <p:spPr>
            <a:xfrm>
              <a:off x="2832230" y="4839001"/>
              <a:ext cx="40249" cy="118534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293" name="标题 1"/>
          <p:cNvSpPr txBox="1"/>
          <p:nvPr/>
        </p:nvSpPr>
        <p:spPr>
          <a:xfrm>
            <a:off x="0" y="389656"/>
            <a:ext cx="12191999" cy="519064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kumimoji="1" sz="2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已实现智能家电全品类覆盖</a:t>
            </a:r>
            <a:endParaRPr lang="zh-CN" altLang="en-US" dirty="0"/>
          </a:p>
        </p:txBody>
      </p:sp>
      <p:pic>
        <p:nvPicPr>
          <p:cNvPr id="147" name="图片 1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148" name="直线连接符 147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-27384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66000">
                <a:srgbClr val="E8F7FB"/>
              </a:gs>
              <a:gs pos="100000">
                <a:srgbClr val="C6DDE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2" name="Picture 3"/>
          <p:cNvPicPr>
            <a:picLocks noChangeAspect="1" noChangeArrowheads="1"/>
          </p:cNvPicPr>
          <p:nvPr/>
        </p:nvPicPr>
        <p:blipFill rotWithShape="1">
          <a:blip r:embed="rId1" cstate="print"/>
          <a:srcRect t="-1" b="-1182"/>
          <a:stretch>
            <a:fillRect/>
          </a:stretch>
        </p:blipFill>
        <p:spPr bwMode="auto">
          <a:xfrm>
            <a:off x="5607546" y="1445176"/>
            <a:ext cx="1122626" cy="1721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矩形 2"/>
          <p:cNvSpPr/>
          <p:nvPr/>
        </p:nvSpPr>
        <p:spPr>
          <a:xfrm>
            <a:off x="2888153" y="3610256"/>
            <a:ext cx="6561412" cy="1751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defRPr/>
            </a:pPr>
            <a:r>
              <a:rPr kumimoji="0" lang="en-US" altLang="zh-CN" sz="8800" b="1" i="0" u="none" strike="noStrike" kern="1200" cap="none" spc="0" normalizeH="0" baseline="0" noProof="0" dirty="0">
                <a:ln>
                  <a:noFill/>
                </a:ln>
                <a:solidFill>
                  <a:srgbClr val="5AADCE">
                    <a:alpha val="8000"/>
                  </a:srgbClr>
                </a:solidFill>
                <a:effectLst/>
                <a:uLnTx/>
                <a:uFillTx/>
                <a:latin typeface="Avenir Black" panose="02000503020000020003" pitchFamily="2" charset="0"/>
                <a:ea typeface="Source Han Sans SC Heavy" panose="020B0500000000000000" pitchFamily="34" charset="-128"/>
                <a:cs typeface="+mn-cs"/>
              </a:rPr>
              <a:t>INTENGINE</a:t>
            </a:r>
            <a:endParaRPr kumimoji="0" lang="zh-CN" altLang="en-US" sz="8800" b="1" i="0" u="none" strike="noStrike" kern="1200" cap="none" spc="0" normalizeH="0" baseline="0" noProof="0" dirty="0">
              <a:ln>
                <a:noFill/>
              </a:ln>
              <a:solidFill>
                <a:srgbClr val="5AADCE">
                  <a:alpha val="8000"/>
                </a:srgbClr>
              </a:solidFill>
              <a:effectLst/>
              <a:uLnTx/>
              <a:uFillTx/>
              <a:latin typeface="Avenir Black" panose="02000503020000020003" pitchFamily="2" charset="0"/>
              <a:ea typeface="Source Han Sans SC Heavy" panose="020B0500000000000000" pitchFamily="34" charset="-128"/>
              <a:cs typeface="+mn-cs"/>
            </a:endParaRPr>
          </a:p>
        </p:txBody>
      </p:sp>
      <p:sp>
        <p:nvSpPr>
          <p:cNvPr id="4" name="TextBox 62"/>
          <p:cNvSpPr txBox="1"/>
          <p:nvPr/>
        </p:nvSpPr>
        <p:spPr>
          <a:xfrm>
            <a:off x="3336784" y="4317888"/>
            <a:ext cx="5664151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A5A9C2"/>
                </a:solidFill>
                <a:effectLst/>
                <a:uLnTx/>
                <a:uFillTx/>
                <a:latin typeface="Source Han Sans SC" panose="020B0500000000000000" pitchFamily="34" charset="-128"/>
                <a:ea typeface="Source Han Sans SC" panose="020B0500000000000000" pitchFamily="34" charset="-128"/>
                <a:cs typeface="华康俪金黑W8" panose="020B0809000000000000" charset="-122"/>
                <a:sym typeface="+mn-ea"/>
              </a:rPr>
              <a:t>AI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5A9C2"/>
                </a:solidFill>
                <a:effectLst/>
                <a:uLnTx/>
                <a:uFillTx/>
                <a:latin typeface="Source Han Sans SC" panose="020B0500000000000000" pitchFamily="34" charset="-128"/>
                <a:ea typeface="Source Han Sans SC" panose="020B0500000000000000" pitchFamily="34" charset="-128"/>
                <a:cs typeface="华康俪金黑W8" panose="020B0809000000000000" charset="-122"/>
                <a:sym typeface="+mn-ea"/>
              </a:rPr>
              <a:t>芯片及整体解决方案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A5A9C2"/>
              </a:solidFill>
              <a:effectLst/>
              <a:uLnTx/>
              <a:uFillTx/>
              <a:latin typeface="Source Han Sans SC" panose="020B0500000000000000" pitchFamily="34" charset="-128"/>
              <a:ea typeface="Source Han Sans SC" panose="020B0500000000000000" pitchFamily="34" charset="-128"/>
              <a:cs typeface="华康俪金黑W8" panose="020B0809000000000000" charset="-122"/>
              <a:sym typeface="+mn-ea"/>
            </a:endParaRPr>
          </a:p>
        </p:txBody>
      </p:sp>
      <p:sp>
        <p:nvSpPr>
          <p:cNvPr id="5" name="TextBox 2"/>
          <p:cNvSpPr txBox="1"/>
          <p:nvPr/>
        </p:nvSpPr>
        <p:spPr>
          <a:xfrm>
            <a:off x="3336784" y="3447536"/>
            <a:ext cx="566415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3600" b="1" dirty="0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方正正粗黑简体" panose="02000000000000000000" charset="-122"/>
                <a:sym typeface="+mn-ea"/>
              </a:rPr>
              <a:t>精诚合作 共赢未来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-3052301" y="-5894213"/>
            <a:ext cx="7243562" cy="15111408"/>
            <a:chOff x="-3052301" y="-5894213"/>
            <a:chExt cx="7243562" cy="15111408"/>
          </a:xfrm>
        </p:grpSpPr>
        <p:sp>
          <p:nvSpPr>
            <p:cNvPr id="7" name="月亮 6"/>
            <p:cNvSpPr/>
            <p:nvPr/>
          </p:nvSpPr>
          <p:spPr>
            <a:xfrm rot="8545416" flipH="1">
              <a:off x="-1459166" y="-70239"/>
              <a:ext cx="4643717" cy="9287434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rgbClr val="5AADCE">
                    <a:alpha val="20000"/>
                  </a:srgbClr>
                </a:gs>
                <a:gs pos="100000">
                  <a:srgbClr val="5AADCE">
                    <a:alpha val="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" name="月亮 7"/>
            <p:cNvSpPr/>
            <p:nvPr/>
          </p:nvSpPr>
          <p:spPr>
            <a:xfrm rot="9671803" flipH="1">
              <a:off x="-3052301" y="-5894213"/>
              <a:ext cx="7243562" cy="14487124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rgbClr val="5AADCE">
                    <a:alpha val="20000"/>
                  </a:srgbClr>
                </a:gs>
                <a:gs pos="100000">
                  <a:srgbClr val="5AADCE">
                    <a:alpha val="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 rot="10800000">
            <a:off x="7948293" y="-2401893"/>
            <a:ext cx="7243562" cy="15111408"/>
            <a:chOff x="-3052301" y="-5894213"/>
            <a:chExt cx="7243562" cy="15111408"/>
          </a:xfrm>
        </p:grpSpPr>
        <p:sp>
          <p:nvSpPr>
            <p:cNvPr id="10" name="月亮 9"/>
            <p:cNvSpPr/>
            <p:nvPr/>
          </p:nvSpPr>
          <p:spPr>
            <a:xfrm rot="8545416" flipH="1">
              <a:off x="-1459166" y="-70239"/>
              <a:ext cx="4643717" cy="9287434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rgbClr val="5AADCE">
                    <a:alpha val="20000"/>
                  </a:srgbClr>
                </a:gs>
                <a:gs pos="100000">
                  <a:srgbClr val="5AADCE">
                    <a:alpha val="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" name="月亮 10"/>
            <p:cNvSpPr/>
            <p:nvPr/>
          </p:nvSpPr>
          <p:spPr>
            <a:xfrm rot="9671803" flipH="1">
              <a:off x="-3052301" y="-5894213"/>
              <a:ext cx="7243562" cy="14487124"/>
            </a:xfrm>
            <a:prstGeom prst="moon">
              <a:avLst>
                <a:gd name="adj" fmla="val 46229"/>
              </a:avLst>
            </a:prstGeom>
            <a:gradFill flip="none" rotWithShape="1">
              <a:gsLst>
                <a:gs pos="0">
                  <a:srgbClr val="5AADCE">
                    <a:alpha val="20000"/>
                  </a:srgbClr>
                </a:gs>
                <a:gs pos="100000">
                  <a:srgbClr val="5AADCE">
                    <a:alpha val="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385500"/>
            <a:ext cx="12192000" cy="523220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概述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839787" y="964084"/>
            <a:ext cx="105124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探境科技以国际视野组建了代表世界水平的研发团队，拥有全链条的研发人才，</a:t>
            </a:r>
            <a:r>
              <a:rPr lang="zh-CN" altLang="zh-CN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为合作伙伴提供终端</a:t>
            </a:r>
            <a:r>
              <a:rPr lang="en-US" altLang="zh-CN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AI</a:t>
            </a:r>
            <a:r>
              <a:rPr lang="zh-CN" altLang="zh-CN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芯片设计及整体方案。 </a:t>
            </a:r>
            <a:r>
              <a:rPr lang="zh-CN" altLang="en-US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探境研发的</a:t>
            </a:r>
            <a:r>
              <a:rPr lang="zh-CN" altLang="zh-CN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嵌入式深度学习语音识别芯片</a:t>
            </a:r>
            <a:r>
              <a:rPr lang="zh-CN" altLang="en-US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可以匹配最新的人工智能算法，拥有出色的抗噪能力和高精度的语音识别能力，探境将通过打造有温度的方案、懂情感的技术，将人工智能赋能身边万物，提升人民大众生活的幸福感。</a:t>
            </a:r>
            <a:endParaRPr lang="en-US" altLang="zh-CN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endParaRPr kumimoji="1" lang="en-US" altLang="zh-CN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r>
              <a:rPr kumimoji="1" lang="zh-CN" altLang="en-US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探境语音系列芯片芯片分为音旋风标准版，及音旋风轻量版、升级版和增强版多个版本。</a:t>
            </a:r>
            <a:endParaRPr kumimoji="1"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grpSp>
        <p:nvGrpSpPr>
          <p:cNvPr id="36" name="组合 35"/>
          <p:cNvGrpSpPr/>
          <p:nvPr/>
        </p:nvGrpSpPr>
        <p:grpSpPr>
          <a:xfrm>
            <a:off x="3713360" y="4766245"/>
            <a:ext cx="624790" cy="616868"/>
            <a:chOff x="761908" y="2708968"/>
            <a:chExt cx="437548" cy="432000"/>
          </a:xfrm>
        </p:grpSpPr>
        <p:sp>
          <p:nvSpPr>
            <p:cNvPr id="37" name="object 32"/>
            <p:cNvSpPr/>
            <p:nvPr/>
          </p:nvSpPr>
          <p:spPr>
            <a:xfrm>
              <a:off x="761908" y="2708968"/>
              <a:ext cx="437548" cy="432000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solidFill>
              <a:srgbClr val="7BCBD5"/>
            </a:solidFill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38" name="object 33"/>
            <p:cNvSpPr/>
            <p:nvPr/>
          </p:nvSpPr>
          <p:spPr>
            <a:xfrm>
              <a:off x="782517" y="2728785"/>
              <a:ext cx="396330" cy="392367"/>
            </a:xfrm>
            <a:custGeom>
              <a:avLst/>
              <a:gdLst/>
              <a:ahLst/>
              <a:cxnLst/>
              <a:rect l="l" t="t" r="r" b="b"/>
              <a:pathLst>
                <a:path w="317500" h="314325">
                  <a:moveTo>
                    <a:pt x="314071" y="302387"/>
                  </a:moveTo>
                  <a:lnTo>
                    <a:pt x="307594" y="302387"/>
                  </a:lnTo>
                  <a:lnTo>
                    <a:pt x="305053" y="304926"/>
                  </a:lnTo>
                  <a:lnTo>
                    <a:pt x="305053" y="311530"/>
                  </a:lnTo>
                  <a:lnTo>
                    <a:pt x="307594" y="313943"/>
                  </a:lnTo>
                  <a:lnTo>
                    <a:pt x="314071" y="313943"/>
                  </a:lnTo>
                  <a:lnTo>
                    <a:pt x="316992" y="311530"/>
                  </a:lnTo>
                  <a:lnTo>
                    <a:pt x="316992" y="304926"/>
                  </a:lnTo>
                  <a:lnTo>
                    <a:pt x="314071" y="302387"/>
                  </a:lnTo>
                  <a:close/>
                </a:path>
                <a:path w="317500" h="314325">
                  <a:moveTo>
                    <a:pt x="290956" y="302387"/>
                  </a:moveTo>
                  <a:lnTo>
                    <a:pt x="284606" y="302387"/>
                  </a:lnTo>
                  <a:lnTo>
                    <a:pt x="281940" y="305053"/>
                  </a:lnTo>
                  <a:lnTo>
                    <a:pt x="281940" y="311403"/>
                  </a:lnTo>
                  <a:lnTo>
                    <a:pt x="284606" y="313943"/>
                  </a:lnTo>
                  <a:lnTo>
                    <a:pt x="290956" y="313943"/>
                  </a:lnTo>
                  <a:lnTo>
                    <a:pt x="293497" y="311403"/>
                  </a:lnTo>
                  <a:lnTo>
                    <a:pt x="293497" y="305053"/>
                  </a:lnTo>
                  <a:lnTo>
                    <a:pt x="290956" y="302387"/>
                  </a:lnTo>
                  <a:close/>
                </a:path>
                <a:path w="317500" h="314325">
                  <a:moveTo>
                    <a:pt x="267462" y="302387"/>
                  </a:moveTo>
                  <a:lnTo>
                    <a:pt x="261112" y="302387"/>
                  </a:lnTo>
                  <a:lnTo>
                    <a:pt x="258445" y="305053"/>
                  </a:lnTo>
                  <a:lnTo>
                    <a:pt x="258445" y="311403"/>
                  </a:lnTo>
                  <a:lnTo>
                    <a:pt x="261112" y="313943"/>
                  </a:lnTo>
                  <a:lnTo>
                    <a:pt x="267462" y="313943"/>
                  </a:lnTo>
                  <a:lnTo>
                    <a:pt x="270128" y="311403"/>
                  </a:lnTo>
                  <a:lnTo>
                    <a:pt x="270128" y="305053"/>
                  </a:lnTo>
                  <a:lnTo>
                    <a:pt x="267462" y="302387"/>
                  </a:lnTo>
                  <a:close/>
                </a:path>
                <a:path w="317500" h="314325">
                  <a:moveTo>
                    <a:pt x="243840" y="302387"/>
                  </a:moveTo>
                  <a:lnTo>
                    <a:pt x="237236" y="302387"/>
                  </a:lnTo>
                  <a:lnTo>
                    <a:pt x="234569" y="305053"/>
                  </a:lnTo>
                  <a:lnTo>
                    <a:pt x="234569" y="311403"/>
                  </a:lnTo>
                  <a:lnTo>
                    <a:pt x="237236" y="313943"/>
                  </a:lnTo>
                  <a:lnTo>
                    <a:pt x="243840" y="313943"/>
                  </a:lnTo>
                  <a:lnTo>
                    <a:pt x="246506" y="311403"/>
                  </a:lnTo>
                  <a:lnTo>
                    <a:pt x="246506" y="305053"/>
                  </a:lnTo>
                  <a:lnTo>
                    <a:pt x="243840" y="302387"/>
                  </a:lnTo>
                  <a:close/>
                </a:path>
                <a:path w="317500" h="314325">
                  <a:moveTo>
                    <a:pt x="220345" y="302387"/>
                  </a:moveTo>
                  <a:lnTo>
                    <a:pt x="213614" y="302387"/>
                  </a:lnTo>
                  <a:lnTo>
                    <a:pt x="210947" y="305053"/>
                  </a:lnTo>
                  <a:lnTo>
                    <a:pt x="210947" y="311403"/>
                  </a:lnTo>
                  <a:lnTo>
                    <a:pt x="213614" y="313943"/>
                  </a:lnTo>
                  <a:lnTo>
                    <a:pt x="220345" y="313943"/>
                  </a:lnTo>
                  <a:lnTo>
                    <a:pt x="223012" y="311403"/>
                  </a:lnTo>
                  <a:lnTo>
                    <a:pt x="223012" y="305053"/>
                  </a:lnTo>
                  <a:lnTo>
                    <a:pt x="220345" y="302387"/>
                  </a:lnTo>
                  <a:close/>
                </a:path>
                <a:path w="317500" h="314325">
                  <a:moveTo>
                    <a:pt x="196850" y="302387"/>
                  </a:moveTo>
                  <a:lnTo>
                    <a:pt x="190373" y="302387"/>
                  </a:lnTo>
                  <a:lnTo>
                    <a:pt x="187833" y="305053"/>
                  </a:lnTo>
                  <a:lnTo>
                    <a:pt x="187833" y="311403"/>
                  </a:lnTo>
                  <a:lnTo>
                    <a:pt x="190373" y="313943"/>
                  </a:lnTo>
                  <a:lnTo>
                    <a:pt x="196850" y="313943"/>
                  </a:lnTo>
                  <a:lnTo>
                    <a:pt x="199390" y="311403"/>
                  </a:lnTo>
                  <a:lnTo>
                    <a:pt x="199390" y="305053"/>
                  </a:lnTo>
                  <a:lnTo>
                    <a:pt x="196850" y="302387"/>
                  </a:lnTo>
                  <a:close/>
                </a:path>
                <a:path w="317500" h="314325">
                  <a:moveTo>
                    <a:pt x="173354" y="302387"/>
                  </a:moveTo>
                  <a:lnTo>
                    <a:pt x="167004" y="302387"/>
                  </a:lnTo>
                  <a:lnTo>
                    <a:pt x="164338" y="305053"/>
                  </a:lnTo>
                  <a:lnTo>
                    <a:pt x="164338" y="311403"/>
                  </a:lnTo>
                  <a:lnTo>
                    <a:pt x="167004" y="313943"/>
                  </a:lnTo>
                  <a:lnTo>
                    <a:pt x="173354" y="313943"/>
                  </a:lnTo>
                  <a:lnTo>
                    <a:pt x="175895" y="311403"/>
                  </a:lnTo>
                  <a:lnTo>
                    <a:pt x="175895" y="305053"/>
                  </a:lnTo>
                  <a:lnTo>
                    <a:pt x="173354" y="302387"/>
                  </a:lnTo>
                  <a:close/>
                </a:path>
                <a:path w="317500" h="314325">
                  <a:moveTo>
                    <a:pt x="150114" y="302387"/>
                  </a:moveTo>
                  <a:lnTo>
                    <a:pt x="143383" y="302387"/>
                  </a:lnTo>
                  <a:lnTo>
                    <a:pt x="140716" y="305053"/>
                  </a:lnTo>
                  <a:lnTo>
                    <a:pt x="140716" y="311403"/>
                  </a:lnTo>
                  <a:lnTo>
                    <a:pt x="143383" y="313943"/>
                  </a:lnTo>
                  <a:lnTo>
                    <a:pt x="150114" y="313943"/>
                  </a:lnTo>
                  <a:lnTo>
                    <a:pt x="152780" y="311403"/>
                  </a:lnTo>
                  <a:lnTo>
                    <a:pt x="152780" y="305053"/>
                  </a:lnTo>
                  <a:lnTo>
                    <a:pt x="150114" y="302387"/>
                  </a:lnTo>
                  <a:close/>
                </a:path>
                <a:path w="317500" h="314325">
                  <a:moveTo>
                    <a:pt x="126619" y="302387"/>
                  </a:moveTo>
                  <a:lnTo>
                    <a:pt x="120015" y="302387"/>
                  </a:lnTo>
                  <a:lnTo>
                    <a:pt x="117348" y="305053"/>
                  </a:lnTo>
                  <a:lnTo>
                    <a:pt x="117348" y="311403"/>
                  </a:lnTo>
                  <a:lnTo>
                    <a:pt x="120015" y="313943"/>
                  </a:lnTo>
                  <a:lnTo>
                    <a:pt x="126619" y="313943"/>
                  </a:lnTo>
                  <a:lnTo>
                    <a:pt x="129286" y="311403"/>
                  </a:lnTo>
                  <a:lnTo>
                    <a:pt x="129286" y="305053"/>
                  </a:lnTo>
                  <a:lnTo>
                    <a:pt x="126619" y="302387"/>
                  </a:lnTo>
                  <a:close/>
                </a:path>
                <a:path w="317500" h="314325">
                  <a:moveTo>
                    <a:pt x="103124" y="302387"/>
                  </a:moveTo>
                  <a:lnTo>
                    <a:pt x="96774" y="302387"/>
                  </a:lnTo>
                  <a:lnTo>
                    <a:pt x="94106" y="305053"/>
                  </a:lnTo>
                  <a:lnTo>
                    <a:pt x="94106" y="311403"/>
                  </a:lnTo>
                  <a:lnTo>
                    <a:pt x="96774" y="313943"/>
                  </a:lnTo>
                  <a:lnTo>
                    <a:pt x="103124" y="313943"/>
                  </a:lnTo>
                  <a:lnTo>
                    <a:pt x="105664" y="311403"/>
                  </a:lnTo>
                  <a:lnTo>
                    <a:pt x="105664" y="305053"/>
                  </a:lnTo>
                  <a:lnTo>
                    <a:pt x="103124" y="302387"/>
                  </a:lnTo>
                  <a:close/>
                </a:path>
                <a:path w="317500" h="314325">
                  <a:moveTo>
                    <a:pt x="79628" y="302387"/>
                  </a:moveTo>
                  <a:lnTo>
                    <a:pt x="73278" y="302387"/>
                  </a:lnTo>
                  <a:lnTo>
                    <a:pt x="70739" y="305053"/>
                  </a:lnTo>
                  <a:lnTo>
                    <a:pt x="70739" y="311403"/>
                  </a:lnTo>
                  <a:lnTo>
                    <a:pt x="73278" y="313943"/>
                  </a:lnTo>
                  <a:lnTo>
                    <a:pt x="79628" y="313943"/>
                  </a:lnTo>
                  <a:lnTo>
                    <a:pt x="82296" y="311403"/>
                  </a:lnTo>
                  <a:lnTo>
                    <a:pt x="82296" y="305053"/>
                  </a:lnTo>
                  <a:lnTo>
                    <a:pt x="79628" y="302387"/>
                  </a:lnTo>
                  <a:close/>
                </a:path>
                <a:path w="317500" h="314325">
                  <a:moveTo>
                    <a:pt x="56006" y="302387"/>
                  </a:moveTo>
                  <a:lnTo>
                    <a:pt x="49656" y="302387"/>
                  </a:lnTo>
                  <a:lnTo>
                    <a:pt x="47117" y="305053"/>
                  </a:lnTo>
                  <a:lnTo>
                    <a:pt x="47117" y="311403"/>
                  </a:lnTo>
                  <a:lnTo>
                    <a:pt x="49656" y="313943"/>
                  </a:lnTo>
                  <a:lnTo>
                    <a:pt x="56006" y="313943"/>
                  </a:lnTo>
                  <a:lnTo>
                    <a:pt x="58674" y="311403"/>
                  </a:lnTo>
                  <a:lnTo>
                    <a:pt x="58674" y="305053"/>
                  </a:lnTo>
                  <a:lnTo>
                    <a:pt x="56006" y="302387"/>
                  </a:lnTo>
                  <a:close/>
                </a:path>
                <a:path w="317500" h="314325">
                  <a:moveTo>
                    <a:pt x="32639" y="302387"/>
                  </a:moveTo>
                  <a:lnTo>
                    <a:pt x="26162" y="302387"/>
                  </a:lnTo>
                  <a:lnTo>
                    <a:pt x="23622" y="305053"/>
                  </a:lnTo>
                  <a:lnTo>
                    <a:pt x="23622" y="311403"/>
                  </a:lnTo>
                  <a:lnTo>
                    <a:pt x="26162" y="313943"/>
                  </a:lnTo>
                  <a:lnTo>
                    <a:pt x="32639" y="313943"/>
                  </a:lnTo>
                  <a:lnTo>
                    <a:pt x="35178" y="311403"/>
                  </a:lnTo>
                  <a:lnTo>
                    <a:pt x="35178" y="305053"/>
                  </a:lnTo>
                  <a:lnTo>
                    <a:pt x="32639" y="302387"/>
                  </a:lnTo>
                  <a:close/>
                </a:path>
                <a:path w="317500" h="314325">
                  <a:moveTo>
                    <a:pt x="9017" y="302387"/>
                  </a:moveTo>
                  <a:lnTo>
                    <a:pt x="2540" y="302387"/>
                  </a:lnTo>
                  <a:lnTo>
                    <a:pt x="0" y="305053"/>
                  </a:lnTo>
                  <a:lnTo>
                    <a:pt x="0" y="311403"/>
                  </a:lnTo>
                  <a:lnTo>
                    <a:pt x="2540" y="313943"/>
                  </a:lnTo>
                  <a:lnTo>
                    <a:pt x="9017" y="313943"/>
                  </a:lnTo>
                  <a:lnTo>
                    <a:pt x="11556" y="311403"/>
                  </a:lnTo>
                  <a:lnTo>
                    <a:pt x="11556" y="305053"/>
                  </a:lnTo>
                  <a:lnTo>
                    <a:pt x="9017" y="302387"/>
                  </a:lnTo>
                  <a:close/>
                </a:path>
                <a:path w="317500" h="314325">
                  <a:moveTo>
                    <a:pt x="314071" y="278891"/>
                  </a:moveTo>
                  <a:lnTo>
                    <a:pt x="307594" y="278891"/>
                  </a:lnTo>
                  <a:lnTo>
                    <a:pt x="305053" y="281813"/>
                  </a:lnTo>
                  <a:lnTo>
                    <a:pt x="305053" y="288036"/>
                  </a:lnTo>
                  <a:lnTo>
                    <a:pt x="307594" y="290449"/>
                  </a:lnTo>
                  <a:lnTo>
                    <a:pt x="314071" y="290449"/>
                  </a:lnTo>
                  <a:lnTo>
                    <a:pt x="316992" y="288036"/>
                  </a:lnTo>
                  <a:lnTo>
                    <a:pt x="316992" y="281813"/>
                  </a:lnTo>
                  <a:lnTo>
                    <a:pt x="314071" y="278891"/>
                  </a:lnTo>
                  <a:close/>
                </a:path>
                <a:path w="317500" h="314325">
                  <a:moveTo>
                    <a:pt x="290956" y="278891"/>
                  </a:moveTo>
                  <a:lnTo>
                    <a:pt x="284606" y="278891"/>
                  </a:lnTo>
                  <a:lnTo>
                    <a:pt x="281940" y="281559"/>
                  </a:lnTo>
                  <a:lnTo>
                    <a:pt x="281940" y="287909"/>
                  </a:lnTo>
                  <a:lnTo>
                    <a:pt x="284606" y="290449"/>
                  </a:lnTo>
                  <a:lnTo>
                    <a:pt x="290956" y="290449"/>
                  </a:lnTo>
                  <a:lnTo>
                    <a:pt x="293497" y="287909"/>
                  </a:lnTo>
                  <a:lnTo>
                    <a:pt x="293497" y="281559"/>
                  </a:lnTo>
                  <a:lnTo>
                    <a:pt x="290956" y="278891"/>
                  </a:lnTo>
                  <a:close/>
                </a:path>
                <a:path w="317500" h="314325">
                  <a:moveTo>
                    <a:pt x="267462" y="278891"/>
                  </a:moveTo>
                  <a:lnTo>
                    <a:pt x="261112" y="278891"/>
                  </a:lnTo>
                  <a:lnTo>
                    <a:pt x="258445" y="281559"/>
                  </a:lnTo>
                  <a:lnTo>
                    <a:pt x="258445" y="287909"/>
                  </a:lnTo>
                  <a:lnTo>
                    <a:pt x="261112" y="290449"/>
                  </a:lnTo>
                  <a:lnTo>
                    <a:pt x="267462" y="290449"/>
                  </a:lnTo>
                  <a:lnTo>
                    <a:pt x="270128" y="287909"/>
                  </a:lnTo>
                  <a:lnTo>
                    <a:pt x="270128" y="281559"/>
                  </a:lnTo>
                  <a:lnTo>
                    <a:pt x="267462" y="278891"/>
                  </a:lnTo>
                  <a:close/>
                </a:path>
                <a:path w="317500" h="314325">
                  <a:moveTo>
                    <a:pt x="243840" y="278891"/>
                  </a:moveTo>
                  <a:lnTo>
                    <a:pt x="237236" y="278891"/>
                  </a:lnTo>
                  <a:lnTo>
                    <a:pt x="234569" y="281559"/>
                  </a:lnTo>
                  <a:lnTo>
                    <a:pt x="234569" y="287909"/>
                  </a:lnTo>
                  <a:lnTo>
                    <a:pt x="237236" y="290449"/>
                  </a:lnTo>
                  <a:lnTo>
                    <a:pt x="243840" y="290449"/>
                  </a:lnTo>
                  <a:lnTo>
                    <a:pt x="246506" y="287909"/>
                  </a:lnTo>
                  <a:lnTo>
                    <a:pt x="246506" y="281559"/>
                  </a:lnTo>
                  <a:lnTo>
                    <a:pt x="243840" y="278891"/>
                  </a:lnTo>
                  <a:close/>
                </a:path>
                <a:path w="317500" h="314325">
                  <a:moveTo>
                    <a:pt x="220345" y="278891"/>
                  </a:moveTo>
                  <a:lnTo>
                    <a:pt x="213614" y="278891"/>
                  </a:lnTo>
                  <a:lnTo>
                    <a:pt x="210947" y="281559"/>
                  </a:lnTo>
                  <a:lnTo>
                    <a:pt x="210947" y="287909"/>
                  </a:lnTo>
                  <a:lnTo>
                    <a:pt x="213614" y="290449"/>
                  </a:lnTo>
                  <a:lnTo>
                    <a:pt x="220345" y="290449"/>
                  </a:lnTo>
                  <a:lnTo>
                    <a:pt x="223012" y="287909"/>
                  </a:lnTo>
                  <a:lnTo>
                    <a:pt x="223012" y="281559"/>
                  </a:lnTo>
                  <a:lnTo>
                    <a:pt x="220345" y="278891"/>
                  </a:lnTo>
                  <a:close/>
                </a:path>
                <a:path w="317500" h="314325">
                  <a:moveTo>
                    <a:pt x="196850" y="278891"/>
                  </a:moveTo>
                  <a:lnTo>
                    <a:pt x="190373" y="278891"/>
                  </a:lnTo>
                  <a:lnTo>
                    <a:pt x="187833" y="281559"/>
                  </a:lnTo>
                  <a:lnTo>
                    <a:pt x="187833" y="287909"/>
                  </a:lnTo>
                  <a:lnTo>
                    <a:pt x="190373" y="290449"/>
                  </a:lnTo>
                  <a:lnTo>
                    <a:pt x="196850" y="290449"/>
                  </a:lnTo>
                  <a:lnTo>
                    <a:pt x="199390" y="287909"/>
                  </a:lnTo>
                  <a:lnTo>
                    <a:pt x="199390" y="281559"/>
                  </a:lnTo>
                  <a:lnTo>
                    <a:pt x="196850" y="278891"/>
                  </a:lnTo>
                  <a:close/>
                </a:path>
                <a:path w="317500" h="314325">
                  <a:moveTo>
                    <a:pt x="173354" y="278891"/>
                  </a:moveTo>
                  <a:lnTo>
                    <a:pt x="167004" y="278891"/>
                  </a:lnTo>
                  <a:lnTo>
                    <a:pt x="164338" y="281559"/>
                  </a:lnTo>
                  <a:lnTo>
                    <a:pt x="164338" y="287909"/>
                  </a:lnTo>
                  <a:lnTo>
                    <a:pt x="167004" y="290449"/>
                  </a:lnTo>
                  <a:lnTo>
                    <a:pt x="173354" y="290449"/>
                  </a:lnTo>
                  <a:lnTo>
                    <a:pt x="175895" y="287909"/>
                  </a:lnTo>
                  <a:lnTo>
                    <a:pt x="175895" y="281559"/>
                  </a:lnTo>
                  <a:lnTo>
                    <a:pt x="173354" y="278891"/>
                  </a:lnTo>
                  <a:close/>
                </a:path>
                <a:path w="317500" h="314325">
                  <a:moveTo>
                    <a:pt x="150114" y="278891"/>
                  </a:moveTo>
                  <a:lnTo>
                    <a:pt x="143383" y="278891"/>
                  </a:lnTo>
                  <a:lnTo>
                    <a:pt x="140716" y="281559"/>
                  </a:lnTo>
                  <a:lnTo>
                    <a:pt x="140716" y="287909"/>
                  </a:lnTo>
                  <a:lnTo>
                    <a:pt x="143383" y="290449"/>
                  </a:lnTo>
                  <a:lnTo>
                    <a:pt x="150114" y="290449"/>
                  </a:lnTo>
                  <a:lnTo>
                    <a:pt x="152780" y="287909"/>
                  </a:lnTo>
                  <a:lnTo>
                    <a:pt x="152780" y="281559"/>
                  </a:lnTo>
                  <a:lnTo>
                    <a:pt x="150114" y="278891"/>
                  </a:lnTo>
                  <a:close/>
                </a:path>
                <a:path w="317500" h="314325">
                  <a:moveTo>
                    <a:pt x="126619" y="278891"/>
                  </a:moveTo>
                  <a:lnTo>
                    <a:pt x="120015" y="278891"/>
                  </a:lnTo>
                  <a:lnTo>
                    <a:pt x="117348" y="281559"/>
                  </a:lnTo>
                  <a:lnTo>
                    <a:pt x="117348" y="287909"/>
                  </a:lnTo>
                  <a:lnTo>
                    <a:pt x="120015" y="290449"/>
                  </a:lnTo>
                  <a:lnTo>
                    <a:pt x="126619" y="290449"/>
                  </a:lnTo>
                  <a:lnTo>
                    <a:pt x="129286" y="287909"/>
                  </a:lnTo>
                  <a:lnTo>
                    <a:pt x="129286" y="281559"/>
                  </a:lnTo>
                  <a:lnTo>
                    <a:pt x="126619" y="278891"/>
                  </a:lnTo>
                  <a:close/>
                </a:path>
                <a:path w="317500" h="314325">
                  <a:moveTo>
                    <a:pt x="103124" y="278891"/>
                  </a:moveTo>
                  <a:lnTo>
                    <a:pt x="96774" y="278891"/>
                  </a:lnTo>
                  <a:lnTo>
                    <a:pt x="94106" y="281559"/>
                  </a:lnTo>
                  <a:lnTo>
                    <a:pt x="94106" y="287909"/>
                  </a:lnTo>
                  <a:lnTo>
                    <a:pt x="96774" y="290449"/>
                  </a:lnTo>
                  <a:lnTo>
                    <a:pt x="103124" y="290449"/>
                  </a:lnTo>
                  <a:lnTo>
                    <a:pt x="105664" y="287909"/>
                  </a:lnTo>
                  <a:lnTo>
                    <a:pt x="105664" y="281559"/>
                  </a:lnTo>
                  <a:lnTo>
                    <a:pt x="103124" y="278891"/>
                  </a:lnTo>
                  <a:close/>
                </a:path>
                <a:path w="317500" h="314325">
                  <a:moveTo>
                    <a:pt x="79628" y="278891"/>
                  </a:moveTo>
                  <a:lnTo>
                    <a:pt x="73278" y="278891"/>
                  </a:lnTo>
                  <a:lnTo>
                    <a:pt x="70739" y="281559"/>
                  </a:lnTo>
                  <a:lnTo>
                    <a:pt x="70739" y="287909"/>
                  </a:lnTo>
                  <a:lnTo>
                    <a:pt x="73278" y="290449"/>
                  </a:lnTo>
                  <a:lnTo>
                    <a:pt x="79628" y="290449"/>
                  </a:lnTo>
                  <a:lnTo>
                    <a:pt x="82296" y="287909"/>
                  </a:lnTo>
                  <a:lnTo>
                    <a:pt x="82296" y="281559"/>
                  </a:lnTo>
                  <a:lnTo>
                    <a:pt x="79628" y="278891"/>
                  </a:lnTo>
                  <a:close/>
                </a:path>
                <a:path w="317500" h="314325">
                  <a:moveTo>
                    <a:pt x="56006" y="278891"/>
                  </a:moveTo>
                  <a:lnTo>
                    <a:pt x="49656" y="278891"/>
                  </a:lnTo>
                  <a:lnTo>
                    <a:pt x="47117" y="281559"/>
                  </a:lnTo>
                  <a:lnTo>
                    <a:pt x="47117" y="287909"/>
                  </a:lnTo>
                  <a:lnTo>
                    <a:pt x="49656" y="290449"/>
                  </a:lnTo>
                  <a:lnTo>
                    <a:pt x="56006" y="290449"/>
                  </a:lnTo>
                  <a:lnTo>
                    <a:pt x="58674" y="287909"/>
                  </a:lnTo>
                  <a:lnTo>
                    <a:pt x="58674" y="281559"/>
                  </a:lnTo>
                  <a:lnTo>
                    <a:pt x="56006" y="278891"/>
                  </a:lnTo>
                  <a:close/>
                </a:path>
                <a:path w="317500" h="314325">
                  <a:moveTo>
                    <a:pt x="32639" y="278891"/>
                  </a:moveTo>
                  <a:lnTo>
                    <a:pt x="26162" y="278891"/>
                  </a:lnTo>
                  <a:lnTo>
                    <a:pt x="23622" y="281559"/>
                  </a:lnTo>
                  <a:lnTo>
                    <a:pt x="23622" y="287909"/>
                  </a:lnTo>
                  <a:lnTo>
                    <a:pt x="26162" y="290449"/>
                  </a:lnTo>
                  <a:lnTo>
                    <a:pt x="32639" y="290449"/>
                  </a:lnTo>
                  <a:lnTo>
                    <a:pt x="35178" y="287909"/>
                  </a:lnTo>
                  <a:lnTo>
                    <a:pt x="35178" y="281559"/>
                  </a:lnTo>
                  <a:lnTo>
                    <a:pt x="32639" y="278891"/>
                  </a:lnTo>
                  <a:close/>
                </a:path>
                <a:path w="317500" h="314325">
                  <a:moveTo>
                    <a:pt x="9017" y="278891"/>
                  </a:moveTo>
                  <a:lnTo>
                    <a:pt x="2540" y="278891"/>
                  </a:lnTo>
                  <a:lnTo>
                    <a:pt x="0" y="281559"/>
                  </a:lnTo>
                  <a:lnTo>
                    <a:pt x="0" y="287909"/>
                  </a:lnTo>
                  <a:lnTo>
                    <a:pt x="2540" y="290449"/>
                  </a:lnTo>
                  <a:lnTo>
                    <a:pt x="9017" y="290449"/>
                  </a:lnTo>
                  <a:lnTo>
                    <a:pt x="11556" y="287909"/>
                  </a:lnTo>
                  <a:lnTo>
                    <a:pt x="11556" y="281559"/>
                  </a:lnTo>
                  <a:lnTo>
                    <a:pt x="9017" y="278891"/>
                  </a:lnTo>
                  <a:close/>
                </a:path>
                <a:path w="317500" h="314325">
                  <a:moveTo>
                    <a:pt x="314071" y="255650"/>
                  </a:moveTo>
                  <a:lnTo>
                    <a:pt x="307594" y="255650"/>
                  </a:lnTo>
                  <a:lnTo>
                    <a:pt x="305053" y="258445"/>
                  </a:lnTo>
                  <a:lnTo>
                    <a:pt x="305053" y="264540"/>
                  </a:lnTo>
                  <a:lnTo>
                    <a:pt x="307594" y="267462"/>
                  </a:lnTo>
                  <a:lnTo>
                    <a:pt x="314071" y="267462"/>
                  </a:lnTo>
                  <a:lnTo>
                    <a:pt x="316992" y="264540"/>
                  </a:lnTo>
                  <a:lnTo>
                    <a:pt x="316992" y="258445"/>
                  </a:lnTo>
                  <a:lnTo>
                    <a:pt x="314071" y="255650"/>
                  </a:lnTo>
                  <a:close/>
                </a:path>
                <a:path w="317500" h="314325">
                  <a:moveTo>
                    <a:pt x="290956" y="255650"/>
                  </a:moveTo>
                  <a:lnTo>
                    <a:pt x="284606" y="255650"/>
                  </a:lnTo>
                  <a:lnTo>
                    <a:pt x="281940" y="258190"/>
                  </a:lnTo>
                  <a:lnTo>
                    <a:pt x="281940" y="264795"/>
                  </a:lnTo>
                  <a:lnTo>
                    <a:pt x="284606" y="267462"/>
                  </a:lnTo>
                  <a:lnTo>
                    <a:pt x="290956" y="267462"/>
                  </a:lnTo>
                  <a:lnTo>
                    <a:pt x="293497" y="264795"/>
                  </a:lnTo>
                  <a:lnTo>
                    <a:pt x="293497" y="258190"/>
                  </a:lnTo>
                  <a:lnTo>
                    <a:pt x="290956" y="255650"/>
                  </a:lnTo>
                  <a:close/>
                </a:path>
                <a:path w="317500" h="314325">
                  <a:moveTo>
                    <a:pt x="32639" y="255650"/>
                  </a:moveTo>
                  <a:lnTo>
                    <a:pt x="26162" y="255650"/>
                  </a:lnTo>
                  <a:lnTo>
                    <a:pt x="23622" y="258190"/>
                  </a:lnTo>
                  <a:lnTo>
                    <a:pt x="23622" y="264795"/>
                  </a:lnTo>
                  <a:lnTo>
                    <a:pt x="26162" y="267462"/>
                  </a:lnTo>
                  <a:lnTo>
                    <a:pt x="32639" y="267462"/>
                  </a:lnTo>
                  <a:lnTo>
                    <a:pt x="35178" y="264795"/>
                  </a:lnTo>
                  <a:lnTo>
                    <a:pt x="35178" y="258190"/>
                  </a:lnTo>
                  <a:lnTo>
                    <a:pt x="32639" y="255650"/>
                  </a:lnTo>
                  <a:close/>
                </a:path>
                <a:path w="317500" h="314325">
                  <a:moveTo>
                    <a:pt x="9017" y="255650"/>
                  </a:moveTo>
                  <a:lnTo>
                    <a:pt x="2540" y="255650"/>
                  </a:lnTo>
                  <a:lnTo>
                    <a:pt x="0" y="258190"/>
                  </a:lnTo>
                  <a:lnTo>
                    <a:pt x="0" y="264795"/>
                  </a:lnTo>
                  <a:lnTo>
                    <a:pt x="2540" y="267462"/>
                  </a:lnTo>
                  <a:lnTo>
                    <a:pt x="9017" y="267462"/>
                  </a:lnTo>
                  <a:lnTo>
                    <a:pt x="11556" y="264795"/>
                  </a:lnTo>
                  <a:lnTo>
                    <a:pt x="11556" y="258190"/>
                  </a:lnTo>
                  <a:lnTo>
                    <a:pt x="9017" y="255650"/>
                  </a:lnTo>
                  <a:close/>
                </a:path>
                <a:path w="317500" h="314325">
                  <a:moveTo>
                    <a:pt x="314071" y="232537"/>
                  </a:moveTo>
                  <a:lnTo>
                    <a:pt x="307594" y="232537"/>
                  </a:lnTo>
                  <a:lnTo>
                    <a:pt x="305053" y="235076"/>
                  </a:lnTo>
                  <a:lnTo>
                    <a:pt x="305053" y="241680"/>
                  </a:lnTo>
                  <a:lnTo>
                    <a:pt x="307594" y="244093"/>
                  </a:lnTo>
                  <a:lnTo>
                    <a:pt x="314071" y="244093"/>
                  </a:lnTo>
                  <a:lnTo>
                    <a:pt x="316992" y="241680"/>
                  </a:lnTo>
                  <a:lnTo>
                    <a:pt x="316992" y="235076"/>
                  </a:lnTo>
                  <a:lnTo>
                    <a:pt x="314071" y="232537"/>
                  </a:lnTo>
                  <a:close/>
                </a:path>
                <a:path w="317500" h="314325">
                  <a:moveTo>
                    <a:pt x="290956" y="232537"/>
                  </a:moveTo>
                  <a:lnTo>
                    <a:pt x="284606" y="232537"/>
                  </a:lnTo>
                  <a:lnTo>
                    <a:pt x="281940" y="235203"/>
                  </a:lnTo>
                  <a:lnTo>
                    <a:pt x="281940" y="241553"/>
                  </a:lnTo>
                  <a:lnTo>
                    <a:pt x="284606" y="244093"/>
                  </a:lnTo>
                  <a:lnTo>
                    <a:pt x="290956" y="244093"/>
                  </a:lnTo>
                  <a:lnTo>
                    <a:pt x="293497" y="241553"/>
                  </a:lnTo>
                  <a:lnTo>
                    <a:pt x="293497" y="235203"/>
                  </a:lnTo>
                  <a:lnTo>
                    <a:pt x="290956" y="232537"/>
                  </a:lnTo>
                  <a:close/>
                </a:path>
                <a:path w="317500" h="314325">
                  <a:moveTo>
                    <a:pt x="32639" y="232537"/>
                  </a:moveTo>
                  <a:lnTo>
                    <a:pt x="26162" y="232537"/>
                  </a:lnTo>
                  <a:lnTo>
                    <a:pt x="23622" y="235203"/>
                  </a:lnTo>
                  <a:lnTo>
                    <a:pt x="23622" y="241553"/>
                  </a:lnTo>
                  <a:lnTo>
                    <a:pt x="26162" y="244093"/>
                  </a:lnTo>
                  <a:lnTo>
                    <a:pt x="32639" y="244093"/>
                  </a:lnTo>
                  <a:lnTo>
                    <a:pt x="35178" y="241553"/>
                  </a:lnTo>
                  <a:lnTo>
                    <a:pt x="35178" y="235203"/>
                  </a:lnTo>
                  <a:lnTo>
                    <a:pt x="32639" y="232537"/>
                  </a:lnTo>
                  <a:close/>
                </a:path>
                <a:path w="317500" h="314325">
                  <a:moveTo>
                    <a:pt x="9017" y="232537"/>
                  </a:moveTo>
                  <a:lnTo>
                    <a:pt x="2540" y="232537"/>
                  </a:lnTo>
                  <a:lnTo>
                    <a:pt x="0" y="235203"/>
                  </a:lnTo>
                  <a:lnTo>
                    <a:pt x="0" y="241553"/>
                  </a:lnTo>
                  <a:lnTo>
                    <a:pt x="2540" y="244093"/>
                  </a:lnTo>
                  <a:lnTo>
                    <a:pt x="9017" y="244093"/>
                  </a:lnTo>
                  <a:lnTo>
                    <a:pt x="11556" y="241553"/>
                  </a:lnTo>
                  <a:lnTo>
                    <a:pt x="11556" y="235203"/>
                  </a:lnTo>
                  <a:lnTo>
                    <a:pt x="9017" y="232537"/>
                  </a:lnTo>
                  <a:close/>
                </a:path>
                <a:path w="317500" h="314325">
                  <a:moveTo>
                    <a:pt x="314071" y="209041"/>
                  </a:moveTo>
                  <a:lnTo>
                    <a:pt x="307594" y="209041"/>
                  </a:lnTo>
                  <a:lnTo>
                    <a:pt x="305053" y="211582"/>
                  </a:lnTo>
                  <a:lnTo>
                    <a:pt x="305053" y="218186"/>
                  </a:lnTo>
                  <a:lnTo>
                    <a:pt x="307594" y="220599"/>
                  </a:lnTo>
                  <a:lnTo>
                    <a:pt x="314071" y="220599"/>
                  </a:lnTo>
                  <a:lnTo>
                    <a:pt x="316992" y="218186"/>
                  </a:lnTo>
                  <a:lnTo>
                    <a:pt x="316992" y="211582"/>
                  </a:lnTo>
                  <a:lnTo>
                    <a:pt x="314071" y="209041"/>
                  </a:lnTo>
                  <a:close/>
                </a:path>
                <a:path w="317500" h="314325">
                  <a:moveTo>
                    <a:pt x="290956" y="209041"/>
                  </a:moveTo>
                  <a:lnTo>
                    <a:pt x="284606" y="209041"/>
                  </a:lnTo>
                  <a:lnTo>
                    <a:pt x="281940" y="211709"/>
                  </a:lnTo>
                  <a:lnTo>
                    <a:pt x="281940" y="218059"/>
                  </a:lnTo>
                  <a:lnTo>
                    <a:pt x="284606" y="220599"/>
                  </a:lnTo>
                  <a:lnTo>
                    <a:pt x="290956" y="220599"/>
                  </a:lnTo>
                  <a:lnTo>
                    <a:pt x="293497" y="218059"/>
                  </a:lnTo>
                  <a:lnTo>
                    <a:pt x="293497" y="211709"/>
                  </a:lnTo>
                  <a:lnTo>
                    <a:pt x="290956" y="209041"/>
                  </a:lnTo>
                  <a:close/>
                </a:path>
                <a:path w="317500" h="314325">
                  <a:moveTo>
                    <a:pt x="32639" y="209041"/>
                  </a:moveTo>
                  <a:lnTo>
                    <a:pt x="26162" y="209041"/>
                  </a:lnTo>
                  <a:lnTo>
                    <a:pt x="23622" y="211709"/>
                  </a:lnTo>
                  <a:lnTo>
                    <a:pt x="23622" y="218059"/>
                  </a:lnTo>
                  <a:lnTo>
                    <a:pt x="26162" y="220599"/>
                  </a:lnTo>
                  <a:lnTo>
                    <a:pt x="32639" y="220599"/>
                  </a:lnTo>
                  <a:lnTo>
                    <a:pt x="35178" y="218059"/>
                  </a:lnTo>
                  <a:lnTo>
                    <a:pt x="35178" y="211709"/>
                  </a:lnTo>
                  <a:lnTo>
                    <a:pt x="32639" y="209041"/>
                  </a:lnTo>
                  <a:close/>
                </a:path>
                <a:path w="317500" h="314325">
                  <a:moveTo>
                    <a:pt x="9017" y="209041"/>
                  </a:moveTo>
                  <a:lnTo>
                    <a:pt x="2540" y="209041"/>
                  </a:lnTo>
                  <a:lnTo>
                    <a:pt x="0" y="211709"/>
                  </a:lnTo>
                  <a:lnTo>
                    <a:pt x="0" y="218059"/>
                  </a:lnTo>
                  <a:lnTo>
                    <a:pt x="2540" y="220599"/>
                  </a:lnTo>
                  <a:lnTo>
                    <a:pt x="9017" y="220599"/>
                  </a:lnTo>
                  <a:lnTo>
                    <a:pt x="11556" y="218059"/>
                  </a:lnTo>
                  <a:lnTo>
                    <a:pt x="11556" y="211709"/>
                  </a:lnTo>
                  <a:lnTo>
                    <a:pt x="9017" y="209041"/>
                  </a:lnTo>
                  <a:close/>
                </a:path>
                <a:path w="317500" h="314325">
                  <a:moveTo>
                    <a:pt x="314071" y="185800"/>
                  </a:moveTo>
                  <a:lnTo>
                    <a:pt x="307594" y="185800"/>
                  </a:lnTo>
                  <a:lnTo>
                    <a:pt x="305053" y="188595"/>
                  </a:lnTo>
                  <a:lnTo>
                    <a:pt x="305053" y="195072"/>
                  </a:lnTo>
                  <a:lnTo>
                    <a:pt x="307594" y="197612"/>
                  </a:lnTo>
                  <a:lnTo>
                    <a:pt x="314071" y="197612"/>
                  </a:lnTo>
                  <a:lnTo>
                    <a:pt x="316992" y="195072"/>
                  </a:lnTo>
                  <a:lnTo>
                    <a:pt x="316992" y="188595"/>
                  </a:lnTo>
                  <a:lnTo>
                    <a:pt x="314071" y="185800"/>
                  </a:lnTo>
                  <a:close/>
                </a:path>
                <a:path w="317500" h="314325">
                  <a:moveTo>
                    <a:pt x="290702" y="185800"/>
                  </a:moveTo>
                  <a:lnTo>
                    <a:pt x="284479" y="185800"/>
                  </a:lnTo>
                  <a:lnTo>
                    <a:pt x="281940" y="188595"/>
                  </a:lnTo>
                  <a:lnTo>
                    <a:pt x="281940" y="195072"/>
                  </a:lnTo>
                  <a:lnTo>
                    <a:pt x="284479" y="197612"/>
                  </a:lnTo>
                  <a:lnTo>
                    <a:pt x="290702" y="197612"/>
                  </a:lnTo>
                  <a:lnTo>
                    <a:pt x="293497" y="195072"/>
                  </a:lnTo>
                  <a:lnTo>
                    <a:pt x="293497" y="188595"/>
                  </a:lnTo>
                  <a:lnTo>
                    <a:pt x="290702" y="185800"/>
                  </a:lnTo>
                  <a:close/>
                </a:path>
                <a:path w="317500" h="314325">
                  <a:moveTo>
                    <a:pt x="32766" y="185800"/>
                  </a:moveTo>
                  <a:lnTo>
                    <a:pt x="26543" y="185800"/>
                  </a:lnTo>
                  <a:lnTo>
                    <a:pt x="23622" y="188595"/>
                  </a:lnTo>
                  <a:lnTo>
                    <a:pt x="23622" y="195072"/>
                  </a:lnTo>
                  <a:lnTo>
                    <a:pt x="26543" y="197612"/>
                  </a:lnTo>
                  <a:lnTo>
                    <a:pt x="32766" y="197612"/>
                  </a:lnTo>
                  <a:lnTo>
                    <a:pt x="35178" y="195072"/>
                  </a:lnTo>
                  <a:lnTo>
                    <a:pt x="35178" y="188595"/>
                  </a:lnTo>
                  <a:lnTo>
                    <a:pt x="32766" y="185800"/>
                  </a:lnTo>
                  <a:close/>
                </a:path>
                <a:path w="317500" h="314325">
                  <a:moveTo>
                    <a:pt x="9144" y="185800"/>
                  </a:moveTo>
                  <a:lnTo>
                    <a:pt x="2921" y="185800"/>
                  </a:lnTo>
                  <a:lnTo>
                    <a:pt x="0" y="188595"/>
                  </a:lnTo>
                  <a:lnTo>
                    <a:pt x="0" y="195072"/>
                  </a:lnTo>
                  <a:lnTo>
                    <a:pt x="2921" y="197612"/>
                  </a:lnTo>
                  <a:lnTo>
                    <a:pt x="9144" y="197612"/>
                  </a:lnTo>
                  <a:lnTo>
                    <a:pt x="11556" y="195072"/>
                  </a:lnTo>
                  <a:lnTo>
                    <a:pt x="11556" y="188595"/>
                  </a:lnTo>
                  <a:lnTo>
                    <a:pt x="9144" y="185800"/>
                  </a:lnTo>
                  <a:close/>
                </a:path>
                <a:path w="317500" h="314325">
                  <a:moveTo>
                    <a:pt x="314071" y="162687"/>
                  </a:moveTo>
                  <a:lnTo>
                    <a:pt x="307594" y="162687"/>
                  </a:lnTo>
                  <a:lnTo>
                    <a:pt x="305053" y="165608"/>
                  </a:lnTo>
                  <a:lnTo>
                    <a:pt x="305053" y="171830"/>
                  </a:lnTo>
                  <a:lnTo>
                    <a:pt x="307594" y="174243"/>
                  </a:lnTo>
                  <a:lnTo>
                    <a:pt x="314071" y="174243"/>
                  </a:lnTo>
                  <a:lnTo>
                    <a:pt x="316992" y="171830"/>
                  </a:lnTo>
                  <a:lnTo>
                    <a:pt x="316992" y="165608"/>
                  </a:lnTo>
                  <a:lnTo>
                    <a:pt x="314071" y="162687"/>
                  </a:lnTo>
                  <a:close/>
                </a:path>
                <a:path w="317500" h="314325">
                  <a:moveTo>
                    <a:pt x="290956" y="162687"/>
                  </a:moveTo>
                  <a:lnTo>
                    <a:pt x="284606" y="162687"/>
                  </a:lnTo>
                  <a:lnTo>
                    <a:pt x="281940" y="165353"/>
                  </a:lnTo>
                  <a:lnTo>
                    <a:pt x="281940" y="171703"/>
                  </a:lnTo>
                  <a:lnTo>
                    <a:pt x="284606" y="174243"/>
                  </a:lnTo>
                  <a:lnTo>
                    <a:pt x="290956" y="174243"/>
                  </a:lnTo>
                  <a:lnTo>
                    <a:pt x="293497" y="171703"/>
                  </a:lnTo>
                  <a:lnTo>
                    <a:pt x="293497" y="165353"/>
                  </a:lnTo>
                  <a:lnTo>
                    <a:pt x="290956" y="162687"/>
                  </a:lnTo>
                  <a:close/>
                </a:path>
                <a:path w="317500" h="314325">
                  <a:moveTo>
                    <a:pt x="32639" y="162687"/>
                  </a:moveTo>
                  <a:lnTo>
                    <a:pt x="26162" y="162687"/>
                  </a:lnTo>
                  <a:lnTo>
                    <a:pt x="23622" y="165353"/>
                  </a:lnTo>
                  <a:lnTo>
                    <a:pt x="23622" y="171703"/>
                  </a:lnTo>
                  <a:lnTo>
                    <a:pt x="26162" y="174243"/>
                  </a:lnTo>
                  <a:lnTo>
                    <a:pt x="32639" y="174243"/>
                  </a:lnTo>
                  <a:lnTo>
                    <a:pt x="35178" y="171703"/>
                  </a:lnTo>
                  <a:lnTo>
                    <a:pt x="35178" y="165353"/>
                  </a:lnTo>
                  <a:lnTo>
                    <a:pt x="32639" y="162687"/>
                  </a:lnTo>
                  <a:close/>
                </a:path>
                <a:path w="317500" h="314325">
                  <a:moveTo>
                    <a:pt x="9017" y="162687"/>
                  </a:moveTo>
                  <a:lnTo>
                    <a:pt x="2540" y="162687"/>
                  </a:lnTo>
                  <a:lnTo>
                    <a:pt x="0" y="165353"/>
                  </a:lnTo>
                  <a:lnTo>
                    <a:pt x="0" y="171703"/>
                  </a:lnTo>
                  <a:lnTo>
                    <a:pt x="2540" y="174243"/>
                  </a:lnTo>
                  <a:lnTo>
                    <a:pt x="9017" y="174243"/>
                  </a:lnTo>
                  <a:lnTo>
                    <a:pt x="11556" y="171703"/>
                  </a:lnTo>
                  <a:lnTo>
                    <a:pt x="11556" y="165353"/>
                  </a:lnTo>
                  <a:lnTo>
                    <a:pt x="9017" y="162687"/>
                  </a:lnTo>
                  <a:close/>
                </a:path>
                <a:path w="317500" h="314325">
                  <a:moveTo>
                    <a:pt x="314071" y="139700"/>
                  </a:moveTo>
                  <a:lnTo>
                    <a:pt x="307594" y="139700"/>
                  </a:lnTo>
                  <a:lnTo>
                    <a:pt x="305053" y="142112"/>
                  </a:lnTo>
                  <a:lnTo>
                    <a:pt x="305053" y="148336"/>
                  </a:lnTo>
                  <a:lnTo>
                    <a:pt x="307594" y="151257"/>
                  </a:lnTo>
                  <a:lnTo>
                    <a:pt x="314071" y="151257"/>
                  </a:lnTo>
                  <a:lnTo>
                    <a:pt x="316992" y="148336"/>
                  </a:lnTo>
                  <a:lnTo>
                    <a:pt x="316992" y="142112"/>
                  </a:lnTo>
                  <a:lnTo>
                    <a:pt x="314071" y="139700"/>
                  </a:lnTo>
                  <a:close/>
                </a:path>
                <a:path w="317500" h="314325">
                  <a:moveTo>
                    <a:pt x="290956" y="139700"/>
                  </a:moveTo>
                  <a:lnTo>
                    <a:pt x="284606" y="139700"/>
                  </a:lnTo>
                  <a:lnTo>
                    <a:pt x="281940" y="142239"/>
                  </a:lnTo>
                  <a:lnTo>
                    <a:pt x="281940" y="148589"/>
                  </a:lnTo>
                  <a:lnTo>
                    <a:pt x="284606" y="151257"/>
                  </a:lnTo>
                  <a:lnTo>
                    <a:pt x="290956" y="151257"/>
                  </a:lnTo>
                  <a:lnTo>
                    <a:pt x="293497" y="148589"/>
                  </a:lnTo>
                  <a:lnTo>
                    <a:pt x="293497" y="142239"/>
                  </a:lnTo>
                  <a:lnTo>
                    <a:pt x="290956" y="139700"/>
                  </a:lnTo>
                  <a:close/>
                </a:path>
                <a:path w="317500" h="314325">
                  <a:moveTo>
                    <a:pt x="32639" y="139700"/>
                  </a:moveTo>
                  <a:lnTo>
                    <a:pt x="26162" y="139700"/>
                  </a:lnTo>
                  <a:lnTo>
                    <a:pt x="23622" y="142239"/>
                  </a:lnTo>
                  <a:lnTo>
                    <a:pt x="23622" y="148589"/>
                  </a:lnTo>
                  <a:lnTo>
                    <a:pt x="26162" y="151257"/>
                  </a:lnTo>
                  <a:lnTo>
                    <a:pt x="32639" y="151257"/>
                  </a:lnTo>
                  <a:lnTo>
                    <a:pt x="35178" y="148589"/>
                  </a:lnTo>
                  <a:lnTo>
                    <a:pt x="35178" y="142239"/>
                  </a:lnTo>
                  <a:lnTo>
                    <a:pt x="32639" y="139700"/>
                  </a:lnTo>
                  <a:close/>
                </a:path>
                <a:path w="317500" h="314325">
                  <a:moveTo>
                    <a:pt x="9017" y="139700"/>
                  </a:moveTo>
                  <a:lnTo>
                    <a:pt x="2540" y="139700"/>
                  </a:lnTo>
                  <a:lnTo>
                    <a:pt x="0" y="142239"/>
                  </a:lnTo>
                  <a:lnTo>
                    <a:pt x="0" y="148589"/>
                  </a:lnTo>
                  <a:lnTo>
                    <a:pt x="2540" y="151257"/>
                  </a:lnTo>
                  <a:lnTo>
                    <a:pt x="9017" y="151257"/>
                  </a:lnTo>
                  <a:lnTo>
                    <a:pt x="11556" y="148589"/>
                  </a:lnTo>
                  <a:lnTo>
                    <a:pt x="11556" y="142239"/>
                  </a:lnTo>
                  <a:lnTo>
                    <a:pt x="9017" y="139700"/>
                  </a:lnTo>
                  <a:close/>
                </a:path>
                <a:path w="317500" h="314325">
                  <a:moveTo>
                    <a:pt x="314071" y="116204"/>
                  </a:moveTo>
                  <a:lnTo>
                    <a:pt x="307594" y="116204"/>
                  </a:lnTo>
                  <a:lnTo>
                    <a:pt x="305053" y="118617"/>
                  </a:lnTo>
                  <a:lnTo>
                    <a:pt x="305053" y="125222"/>
                  </a:lnTo>
                  <a:lnTo>
                    <a:pt x="307594" y="127762"/>
                  </a:lnTo>
                  <a:lnTo>
                    <a:pt x="314071" y="127762"/>
                  </a:lnTo>
                  <a:lnTo>
                    <a:pt x="316992" y="125222"/>
                  </a:lnTo>
                  <a:lnTo>
                    <a:pt x="316992" y="118617"/>
                  </a:lnTo>
                  <a:lnTo>
                    <a:pt x="314071" y="116204"/>
                  </a:lnTo>
                  <a:close/>
                </a:path>
                <a:path w="317500" h="314325">
                  <a:moveTo>
                    <a:pt x="290956" y="116204"/>
                  </a:moveTo>
                  <a:lnTo>
                    <a:pt x="284606" y="116204"/>
                  </a:lnTo>
                  <a:lnTo>
                    <a:pt x="281940" y="118745"/>
                  </a:lnTo>
                  <a:lnTo>
                    <a:pt x="281940" y="125095"/>
                  </a:lnTo>
                  <a:lnTo>
                    <a:pt x="284606" y="127762"/>
                  </a:lnTo>
                  <a:lnTo>
                    <a:pt x="290956" y="127762"/>
                  </a:lnTo>
                  <a:lnTo>
                    <a:pt x="293497" y="125095"/>
                  </a:lnTo>
                  <a:lnTo>
                    <a:pt x="293497" y="118745"/>
                  </a:lnTo>
                  <a:lnTo>
                    <a:pt x="290956" y="116204"/>
                  </a:lnTo>
                  <a:close/>
                </a:path>
                <a:path w="317500" h="314325">
                  <a:moveTo>
                    <a:pt x="32639" y="116204"/>
                  </a:moveTo>
                  <a:lnTo>
                    <a:pt x="26162" y="116204"/>
                  </a:lnTo>
                  <a:lnTo>
                    <a:pt x="23622" y="118745"/>
                  </a:lnTo>
                  <a:lnTo>
                    <a:pt x="23622" y="125095"/>
                  </a:lnTo>
                  <a:lnTo>
                    <a:pt x="26162" y="127762"/>
                  </a:lnTo>
                  <a:lnTo>
                    <a:pt x="32639" y="127762"/>
                  </a:lnTo>
                  <a:lnTo>
                    <a:pt x="35178" y="125095"/>
                  </a:lnTo>
                  <a:lnTo>
                    <a:pt x="35178" y="118745"/>
                  </a:lnTo>
                  <a:lnTo>
                    <a:pt x="32639" y="116204"/>
                  </a:lnTo>
                  <a:close/>
                </a:path>
                <a:path w="317500" h="314325">
                  <a:moveTo>
                    <a:pt x="9017" y="116204"/>
                  </a:moveTo>
                  <a:lnTo>
                    <a:pt x="2540" y="116204"/>
                  </a:lnTo>
                  <a:lnTo>
                    <a:pt x="0" y="118745"/>
                  </a:lnTo>
                  <a:lnTo>
                    <a:pt x="0" y="125095"/>
                  </a:lnTo>
                  <a:lnTo>
                    <a:pt x="2540" y="127762"/>
                  </a:lnTo>
                  <a:lnTo>
                    <a:pt x="9017" y="127762"/>
                  </a:lnTo>
                  <a:lnTo>
                    <a:pt x="11556" y="125095"/>
                  </a:lnTo>
                  <a:lnTo>
                    <a:pt x="11556" y="118745"/>
                  </a:lnTo>
                  <a:lnTo>
                    <a:pt x="9017" y="116204"/>
                  </a:lnTo>
                  <a:close/>
                </a:path>
                <a:path w="317500" h="314325">
                  <a:moveTo>
                    <a:pt x="314071" y="92837"/>
                  </a:moveTo>
                  <a:lnTo>
                    <a:pt x="307594" y="92837"/>
                  </a:lnTo>
                  <a:lnTo>
                    <a:pt x="305053" y="95376"/>
                  </a:lnTo>
                  <a:lnTo>
                    <a:pt x="305053" y="102235"/>
                  </a:lnTo>
                  <a:lnTo>
                    <a:pt x="307594" y="104648"/>
                  </a:lnTo>
                  <a:lnTo>
                    <a:pt x="314071" y="104648"/>
                  </a:lnTo>
                  <a:lnTo>
                    <a:pt x="316992" y="102235"/>
                  </a:lnTo>
                  <a:lnTo>
                    <a:pt x="316992" y="95376"/>
                  </a:lnTo>
                  <a:lnTo>
                    <a:pt x="314071" y="92837"/>
                  </a:lnTo>
                  <a:close/>
                </a:path>
                <a:path w="317500" h="314325">
                  <a:moveTo>
                    <a:pt x="290956" y="92837"/>
                  </a:moveTo>
                  <a:lnTo>
                    <a:pt x="284606" y="92837"/>
                  </a:lnTo>
                  <a:lnTo>
                    <a:pt x="281940" y="95503"/>
                  </a:lnTo>
                  <a:lnTo>
                    <a:pt x="281940" y="102108"/>
                  </a:lnTo>
                  <a:lnTo>
                    <a:pt x="284606" y="104648"/>
                  </a:lnTo>
                  <a:lnTo>
                    <a:pt x="290956" y="104648"/>
                  </a:lnTo>
                  <a:lnTo>
                    <a:pt x="293497" y="102108"/>
                  </a:lnTo>
                  <a:lnTo>
                    <a:pt x="293497" y="95503"/>
                  </a:lnTo>
                  <a:lnTo>
                    <a:pt x="290956" y="92837"/>
                  </a:lnTo>
                  <a:close/>
                </a:path>
                <a:path w="317500" h="314325">
                  <a:moveTo>
                    <a:pt x="32639" y="92837"/>
                  </a:moveTo>
                  <a:lnTo>
                    <a:pt x="26162" y="92837"/>
                  </a:lnTo>
                  <a:lnTo>
                    <a:pt x="23622" y="95503"/>
                  </a:lnTo>
                  <a:lnTo>
                    <a:pt x="23622" y="102108"/>
                  </a:lnTo>
                  <a:lnTo>
                    <a:pt x="26162" y="104648"/>
                  </a:lnTo>
                  <a:lnTo>
                    <a:pt x="32639" y="104648"/>
                  </a:lnTo>
                  <a:lnTo>
                    <a:pt x="35178" y="102108"/>
                  </a:lnTo>
                  <a:lnTo>
                    <a:pt x="35178" y="95503"/>
                  </a:lnTo>
                  <a:lnTo>
                    <a:pt x="32639" y="92837"/>
                  </a:lnTo>
                  <a:close/>
                </a:path>
                <a:path w="317500" h="314325">
                  <a:moveTo>
                    <a:pt x="9017" y="92837"/>
                  </a:moveTo>
                  <a:lnTo>
                    <a:pt x="2540" y="92837"/>
                  </a:lnTo>
                  <a:lnTo>
                    <a:pt x="0" y="95503"/>
                  </a:lnTo>
                  <a:lnTo>
                    <a:pt x="0" y="102108"/>
                  </a:lnTo>
                  <a:lnTo>
                    <a:pt x="2540" y="104648"/>
                  </a:lnTo>
                  <a:lnTo>
                    <a:pt x="9017" y="104648"/>
                  </a:lnTo>
                  <a:lnTo>
                    <a:pt x="11556" y="102108"/>
                  </a:lnTo>
                  <a:lnTo>
                    <a:pt x="11556" y="95503"/>
                  </a:lnTo>
                  <a:lnTo>
                    <a:pt x="9017" y="92837"/>
                  </a:lnTo>
                  <a:close/>
                </a:path>
                <a:path w="317500" h="314325">
                  <a:moveTo>
                    <a:pt x="314071" y="69850"/>
                  </a:moveTo>
                  <a:lnTo>
                    <a:pt x="307594" y="69850"/>
                  </a:lnTo>
                  <a:lnTo>
                    <a:pt x="305053" y="72262"/>
                  </a:lnTo>
                  <a:lnTo>
                    <a:pt x="305053" y="78866"/>
                  </a:lnTo>
                  <a:lnTo>
                    <a:pt x="307594" y="81407"/>
                  </a:lnTo>
                  <a:lnTo>
                    <a:pt x="314071" y="81407"/>
                  </a:lnTo>
                  <a:lnTo>
                    <a:pt x="316992" y="78866"/>
                  </a:lnTo>
                  <a:lnTo>
                    <a:pt x="316992" y="72262"/>
                  </a:lnTo>
                  <a:lnTo>
                    <a:pt x="314071" y="69850"/>
                  </a:lnTo>
                  <a:close/>
                </a:path>
                <a:path w="317500" h="314325">
                  <a:moveTo>
                    <a:pt x="290956" y="69850"/>
                  </a:moveTo>
                  <a:lnTo>
                    <a:pt x="284606" y="69850"/>
                  </a:lnTo>
                  <a:lnTo>
                    <a:pt x="281940" y="72389"/>
                  </a:lnTo>
                  <a:lnTo>
                    <a:pt x="281940" y="78739"/>
                  </a:lnTo>
                  <a:lnTo>
                    <a:pt x="284606" y="81407"/>
                  </a:lnTo>
                  <a:lnTo>
                    <a:pt x="290956" y="81407"/>
                  </a:lnTo>
                  <a:lnTo>
                    <a:pt x="293497" y="78739"/>
                  </a:lnTo>
                  <a:lnTo>
                    <a:pt x="293497" y="72389"/>
                  </a:lnTo>
                  <a:lnTo>
                    <a:pt x="290956" y="69850"/>
                  </a:lnTo>
                  <a:close/>
                </a:path>
                <a:path w="317500" h="314325">
                  <a:moveTo>
                    <a:pt x="32639" y="69850"/>
                  </a:moveTo>
                  <a:lnTo>
                    <a:pt x="26162" y="69850"/>
                  </a:lnTo>
                  <a:lnTo>
                    <a:pt x="23622" y="72389"/>
                  </a:lnTo>
                  <a:lnTo>
                    <a:pt x="23622" y="78739"/>
                  </a:lnTo>
                  <a:lnTo>
                    <a:pt x="26162" y="81407"/>
                  </a:lnTo>
                  <a:lnTo>
                    <a:pt x="32639" y="81407"/>
                  </a:lnTo>
                  <a:lnTo>
                    <a:pt x="35178" y="78739"/>
                  </a:lnTo>
                  <a:lnTo>
                    <a:pt x="35178" y="72389"/>
                  </a:lnTo>
                  <a:lnTo>
                    <a:pt x="32639" y="69850"/>
                  </a:lnTo>
                  <a:close/>
                </a:path>
                <a:path w="317500" h="314325">
                  <a:moveTo>
                    <a:pt x="9017" y="69850"/>
                  </a:moveTo>
                  <a:lnTo>
                    <a:pt x="2540" y="69850"/>
                  </a:lnTo>
                  <a:lnTo>
                    <a:pt x="0" y="72389"/>
                  </a:lnTo>
                  <a:lnTo>
                    <a:pt x="0" y="78739"/>
                  </a:lnTo>
                  <a:lnTo>
                    <a:pt x="2540" y="81407"/>
                  </a:lnTo>
                  <a:lnTo>
                    <a:pt x="9017" y="81407"/>
                  </a:lnTo>
                  <a:lnTo>
                    <a:pt x="11556" y="78739"/>
                  </a:lnTo>
                  <a:lnTo>
                    <a:pt x="11556" y="72389"/>
                  </a:lnTo>
                  <a:lnTo>
                    <a:pt x="9017" y="69850"/>
                  </a:lnTo>
                  <a:close/>
                </a:path>
                <a:path w="317500" h="314325">
                  <a:moveTo>
                    <a:pt x="314071" y="46354"/>
                  </a:moveTo>
                  <a:lnTo>
                    <a:pt x="307594" y="46354"/>
                  </a:lnTo>
                  <a:lnTo>
                    <a:pt x="305053" y="49275"/>
                  </a:lnTo>
                  <a:lnTo>
                    <a:pt x="305053" y="55372"/>
                  </a:lnTo>
                  <a:lnTo>
                    <a:pt x="307594" y="57912"/>
                  </a:lnTo>
                  <a:lnTo>
                    <a:pt x="314071" y="57912"/>
                  </a:lnTo>
                  <a:lnTo>
                    <a:pt x="316992" y="55372"/>
                  </a:lnTo>
                  <a:lnTo>
                    <a:pt x="316992" y="49275"/>
                  </a:lnTo>
                  <a:lnTo>
                    <a:pt x="314071" y="46354"/>
                  </a:lnTo>
                  <a:close/>
                </a:path>
                <a:path w="317500" h="314325">
                  <a:moveTo>
                    <a:pt x="290956" y="46354"/>
                  </a:moveTo>
                  <a:lnTo>
                    <a:pt x="284606" y="46354"/>
                  </a:lnTo>
                  <a:lnTo>
                    <a:pt x="281940" y="48895"/>
                  </a:lnTo>
                  <a:lnTo>
                    <a:pt x="281940" y="55245"/>
                  </a:lnTo>
                  <a:lnTo>
                    <a:pt x="284606" y="57912"/>
                  </a:lnTo>
                  <a:lnTo>
                    <a:pt x="290956" y="57912"/>
                  </a:lnTo>
                  <a:lnTo>
                    <a:pt x="293497" y="55245"/>
                  </a:lnTo>
                  <a:lnTo>
                    <a:pt x="293497" y="48895"/>
                  </a:lnTo>
                  <a:lnTo>
                    <a:pt x="290956" y="46354"/>
                  </a:lnTo>
                  <a:close/>
                </a:path>
                <a:path w="317500" h="314325">
                  <a:moveTo>
                    <a:pt x="32639" y="46354"/>
                  </a:moveTo>
                  <a:lnTo>
                    <a:pt x="26162" y="46354"/>
                  </a:lnTo>
                  <a:lnTo>
                    <a:pt x="23622" y="48895"/>
                  </a:lnTo>
                  <a:lnTo>
                    <a:pt x="23622" y="55245"/>
                  </a:lnTo>
                  <a:lnTo>
                    <a:pt x="26162" y="57912"/>
                  </a:lnTo>
                  <a:lnTo>
                    <a:pt x="32639" y="57912"/>
                  </a:lnTo>
                  <a:lnTo>
                    <a:pt x="35178" y="55245"/>
                  </a:lnTo>
                  <a:lnTo>
                    <a:pt x="35178" y="48895"/>
                  </a:lnTo>
                  <a:lnTo>
                    <a:pt x="32639" y="46354"/>
                  </a:lnTo>
                  <a:close/>
                </a:path>
                <a:path w="317500" h="314325">
                  <a:moveTo>
                    <a:pt x="9017" y="46354"/>
                  </a:moveTo>
                  <a:lnTo>
                    <a:pt x="2540" y="46354"/>
                  </a:lnTo>
                  <a:lnTo>
                    <a:pt x="0" y="48895"/>
                  </a:lnTo>
                  <a:lnTo>
                    <a:pt x="0" y="55245"/>
                  </a:lnTo>
                  <a:lnTo>
                    <a:pt x="2540" y="57912"/>
                  </a:lnTo>
                  <a:lnTo>
                    <a:pt x="9017" y="57912"/>
                  </a:lnTo>
                  <a:lnTo>
                    <a:pt x="11556" y="55245"/>
                  </a:lnTo>
                  <a:lnTo>
                    <a:pt x="11556" y="48895"/>
                  </a:lnTo>
                  <a:lnTo>
                    <a:pt x="9017" y="46354"/>
                  </a:lnTo>
                  <a:close/>
                </a:path>
                <a:path w="317500" h="314325">
                  <a:moveTo>
                    <a:pt x="314071" y="23367"/>
                  </a:moveTo>
                  <a:lnTo>
                    <a:pt x="307594" y="23367"/>
                  </a:lnTo>
                  <a:lnTo>
                    <a:pt x="305053" y="25780"/>
                  </a:lnTo>
                  <a:lnTo>
                    <a:pt x="305053" y="32003"/>
                  </a:lnTo>
                  <a:lnTo>
                    <a:pt x="307594" y="34798"/>
                  </a:lnTo>
                  <a:lnTo>
                    <a:pt x="314071" y="34798"/>
                  </a:lnTo>
                  <a:lnTo>
                    <a:pt x="316992" y="32003"/>
                  </a:lnTo>
                  <a:lnTo>
                    <a:pt x="316992" y="25780"/>
                  </a:lnTo>
                  <a:lnTo>
                    <a:pt x="314071" y="23367"/>
                  </a:lnTo>
                  <a:close/>
                </a:path>
                <a:path w="317500" h="314325">
                  <a:moveTo>
                    <a:pt x="290956" y="23367"/>
                  </a:moveTo>
                  <a:lnTo>
                    <a:pt x="284606" y="23367"/>
                  </a:lnTo>
                  <a:lnTo>
                    <a:pt x="281940" y="25908"/>
                  </a:lnTo>
                  <a:lnTo>
                    <a:pt x="281940" y="32258"/>
                  </a:lnTo>
                  <a:lnTo>
                    <a:pt x="284606" y="34798"/>
                  </a:lnTo>
                  <a:lnTo>
                    <a:pt x="290956" y="34798"/>
                  </a:lnTo>
                  <a:lnTo>
                    <a:pt x="293497" y="32258"/>
                  </a:lnTo>
                  <a:lnTo>
                    <a:pt x="293497" y="25908"/>
                  </a:lnTo>
                  <a:lnTo>
                    <a:pt x="290956" y="23367"/>
                  </a:lnTo>
                  <a:close/>
                </a:path>
                <a:path w="317500" h="314325">
                  <a:moveTo>
                    <a:pt x="267462" y="23367"/>
                  </a:moveTo>
                  <a:lnTo>
                    <a:pt x="261112" y="23367"/>
                  </a:lnTo>
                  <a:lnTo>
                    <a:pt x="258445" y="25908"/>
                  </a:lnTo>
                  <a:lnTo>
                    <a:pt x="258445" y="32258"/>
                  </a:lnTo>
                  <a:lnTo>
                    <a:pt x="261112" y="34798"/>
                  </a:lnTo>
                  <a:lnTo>
                    <a:pt x="267462" y="34798"/>
                  </a:lnTo>
                  <a:lnTo>
                    <a:pt x="270128" y="32258"/>
                  </a:lnTo>
                  <a:lnTo>
                    <a:pt x="270128" y="25908"/>
                  </a:lnTo>
                  <a:lnTo>
                    <a:pt x="267462" y="23367"/>
                  </a:lnTo>
                  <a:close/>
                </a:path>
                <a:path w="317500" h="314325">
                  <a:moveTo>
                    <a:pt x="243840" y="23367"/>
                  </a:moveTo>
                  <a:lnTo>
                    <a:pt x="237236" y="23367"/>
                  </a:lnTo>
                  <a:lnTo>
                    <a:pt x="234569" y="25908"/>
                  </a:lnTo>
                  <a:lnTo>
                    <a:pt x="234569" y="32258"/>
                  </a:lnTo>
                  <a:lnTo>
                    <a:pt x="237236" y="34798"/>
                  </a:lnTo>
                  <a:lnTo>
                    <a:pt x="243840" y="34798"/>
                  </a:lnTo>
                  <a:lnTo>
                    <a:pt x="246506" y="32258"/>
                  </a:lnTo>
                  <a:lnTo>
                    <a:pt x="246506" y="25908"/>
                  </a:lnTo>
                  <a:lnTo>
                    <a:pt x="243840" y="23367"/>
                  </a:lnTo>
                  <a:close/>
                </a:path>
                <a:path w="317500" h="314325">
                  <a:moveTo>
                    <a:pt x="220345" y="23367"/>
                  </a:moveTo>
                  <a:lnTo>
                    <a:pt x="213614" y="23367"/>
                  </a:lnTo>
                  <a:lnTo>
                    <a:pt x="210947" y="25908"/>
                  </a:lnTo>
                  <a:lnTo>
                    <a:pt x="210947" y="32258"/>
                  </a:lnTo>
                  <a:lnTo>
                    <a:pt x="213614" y="34798"/>
                  </a:lnTo>
                  <a:lnTo>
                    <a:pt x="220345" y="34798"/>
                  </a:lnTo>
                  <a:lnTo>
                    <a:pt x="223012" y="32258"/>
                  </a:lnTo>
                  <a:lnTo>
                    <a:pt x="223012" y="25908"/>
                  </a:lnTo>
                  <a:lnTo>
                    <a:pt x="220345" y="23367"/>
                  </a:lnTo>
                  <a:close/>
                </a:path>
                <a:path w="317500" h="314325">
                  <a:moveTo>
                    <a:pt x="196850" y="23367"/>
                  </a:moveTo>
                  <a:lnTo>
                    <a:pt x="190373" y="23367"/>
                  </a:lnTo>
                  <a:lnTo>
                    <a:pt x="187833" y="25908"/>
                  </a:lnTo>
                  <a:lnTo>
                    <a:pt x="187833" y="32258"/>
                  </a:lnTo>
                  <a:lnTo>
                    <a:pt x="190373" y="34798"/>
                  </a:lnTo>
                  <a:lnTo>
                    <a:pt x="196850" y="34798"/>
                  </a:lnTo>
                  <a:lnTo>
                    <a:pt x="199390" y="32258"/>
                  </a:lnTo>
                  <a:lnTo>
                    <a:pt x="199390" y="25908"/>
                  </a:lnTo>
                  <a:lnTo>
                    <a:pt x="196850" y="23367"/>
                  </a:lnTo>
                  <a:close/>
                </a:path>
                <a:path w="317500" h="314325">
                  <a:moveTo>
                    <a:pt x="173354" y="23367"/>
                  </a:moveTo>
                  <a:lnTo>
                    <a:pt x="167004" y="23367"/>
                  </a:lnTo>
                  <a:lnTo>
                    <a:pt x="164338" y="25908"/>
                  </a:lnTo>
                  <a:lnTo>
                    <a:pt x="164338" y="32258"/>
                  </a:lnTo>
                  <a:lnTo>
                    <a:pt x="167004" y="34798"/>
                  </a:lnTo>
                  <a:lnTo>
                    <a:pt x="173354" y="34798"/>
                  </a:lnTo>
                  <a:lnTo>
                    <a:pt x="175895" y="32258"/>
                  </a:lnTo>
                  <a:lnTo>
                    <a:pt x="175895" y="25908"/>
                  </a:lnTo>
                  <a:lnTo>
                    <a:pt x="173354" y="23367"/>
                  </a:lnTo>
                  <a:close/>
                </a:path>
                <a:path w="317500" h="314325">
                  <a:moveTo>
                    <a:pt x="150114" y="23367"/>
                  </a:moveTo>
                  <a:lnTo>
                    <a:pt x="143383" y="23367"/>
                  </a:lnTo>
                  <a:lnTo>
                    <a:pt x="140716" y="25908"/>
                  </a:lnTo>
                  <a:lnTo>
                    <a:pt x="140716" y="32258"/>
                  </a:lnTo>
                  <a:lnTo>
                    <a:pt x="143383" y="34798"/>
                  </a:lnTo>
                  <a:lnTo>
                    <a:pt x="150114" y="34798"/>
                  </a:lnTo>
                  <a:lnTo>
                    <a:pt x="152780" y="32258"/>
                  </a:lnTo>
                  <a:lnTo>
                    <a:pt x="152780" y="25908"/>
                  </a:lnTo>
                  <a:lnTo>
                    <a:pt x="150114" y="23367"/>
                  </a:lnTo>
                  <a:close/>
                </a:path>
                <a:path w="317500" h="314325">
                  <a:moveTo>
                    <a:pt x="126619" y="23367"/>
                  </a:moveTo>
                  <a:lnTo>
                    <a:pt x="120015" y="23367"/>
                  </a:lnTo>
                  <a:lnTo>
                    <a:pt x="117348" y="25908"/>
                  </a:lnTo>
                  <a:lnTo>
                    <a:pt x="117348" y="32258"/>
                  </a:lnTo>
                  <a:lnTo>
                    <a:pt x="120015" y="34798"/>
                  </a:lnTo>
                  <a:lnTo>
                    <a:pt x="126619" y="34798"/>
                  </a:lnTo>
                  <a:lnTo>
                    <a:pt x="129286" y="32258"/>
                  </a:lnTo>
                  <a:lnTo>
                    <a:pt x="129286" y="25908"/>
                  </a:lnTo>
                  <a:lnTo>
                    <a:pt x="126619" y="23367"/>
                  </a:lnTo>
                  <a:close/>
                </a:path>
                <a:path w="317500" h="314325">
                  <a:moveTo>
                    <a:pt x="103124" y="23367"/>
                  </a:moveTo>
                  <a:lnTo>
                    <a:pt x="96774" y="23367"/>
                  </a:lnTo>
                  <a:lnTo>
                    <a:pt x="94106" y="25908"/>
                  </a:lnTo>
                  <a:lnTo>
                    <a:pt x="94106" y="32258"/>
                  </a:lnTo>
                  <a:lnTo>
                    <a:pt x="96774" y="34798"/>
                  </a:lnTo>
                  <a:lnTo>
                    <a:pt x="103124" y="34798"/>
                  </a:lnTo>
                  <a:lnTo>
                    <a:pt x="105664" y="32258"/>
                  </a:lnTo>
                  <a:lnTo>
                    <a:pt x="105664" y="25908"/>
                  </a:lnTo>
                  <a:lnTo>
                    <a:pt x="103124" y="23367"/>
                  </a:lnTo>
                  <a:close/>
                </a:path>
                <a:path w="317500" h="314325">
                  <a:moveTo>
                    <a:pt x="79628" y="23367"/>
                  </a:moveTo>
                  <a:lnTo>
                    <a:pt x="73278" y="23367"/>
                  </a:lnTo>
                  <a:lnTo>
                    <a:pt x="70739" y="25908"/>
                  </a:lnTo>
                  <a:lnTo>
                    <a:pt x="70739" y="32258"/>
                  </a:lnTo>
                  <a:lnTo>
                    <a:pt x="73278" y="34798"/>
                  </a:lnTo>
                  <a:lnTo>
                    <a:pt x="79628" y="34798"/>
                  </a:lnTo>
                  <a:lnTo>
                    <a:pt x="82296" y="32258"/>
                  </a:lnTo>
                  <a:lnTo>
                    <a:pt x="82296" y="25908"/>
                  </a:lnTo>
                  <a:lnTo>
                    <a:pt x="79628" y="23367"/>
                  </a:lnTo>
                  <a:close/>
                </a:path>
                <a:path w="317500" h="314325">
                  <a:moveTo>
                    <a:pt x="56006" y="23367"/>
                  </a:moveTo>
                  <a:lnTo>
                    <a:pt x="49656" y="23367"/>
                  </a:lnTo>
                  <a:lnTo>
                    <a:pt x="47117" y="25908"/>
                  </a:lnTo>
                  <a:lnTo>
                    <a:pt x="47117" y="32258"/>
                  </a:lnTo>
                  <a:lnTo>
                    <a:pt x="49656" y="34798"/>
                  </a:lnTo>
                  <a:lnTo>
                    <a:pt x="56006" y="34798"/>
                  </a:lnTo>
                  <a:lnTo>
                    <a:pt x="58674" y="32258"/>
                  </a:lnTo>
                  <a:lnTo>
                    <a:pt x="58674" y="25908"/>
                  </a:lnTo>
                  <a:lnTo>
                    <a:pt x="56006" y="23367"/>
                  </a:lnTo>
                  <a:close/>
                </a:path>
                <a:path w="317500" h="314325">
                  <a:moveTo>
                    <a:pt x="32639" y="23367"/>
                  </a:moveTo>
                  <a:lnTo>
                    <a:pt x="26162" y="23367"/>
                  </a:lnTo>
                  <a:lnTo>
                    <a:pt x="23622" y="25908"/>
                  </a:lnTo>
                  <a:lnTo>
                    <a:pt x="23622" y="32258"/>
                  </a:lnTo>
                  <a:lnTo>
                    <a:pt x="26162" y="34798"/>
                  </a:lnTo>
                  <a:lnTo>
                    <a:pt x="32639" y="34798"/>
                  </a:lnTo>
                  <a:lnTo>
                    <a:pt x="35178" y="32258"/>
                  </a:lnTo>
                  <a:lnTo>
                    <a:pt x="35178" y="25908"/>
                  </a:lnTo>
                  <a:lnTo>
                    <a:pt x="32639" y="23367"/>
                  </a:lnTo>
                  <a:close/>
                </a:path>
                <a:path w="317500" h="314325">
                  <a:moveTo>
                    <a:pt x="9017" y="23367"/>
                  </a:moveTo>
                  <a:lnTo>
                    <a:pt x="2540" y="23367"/>
                  </a:lnTo>
                  <a:lnTo>
                    <a:pt x="0" y="25908"/>
                  </a:lnTo>
                  <a:lnTo>
                    <a:pt x="0" y="32258"/>
                  </a:lnTo>
                  <a:lnTo>
                    <a:pt x="2540" y="34798"/>
                  </a:lnTo>
                  <a:lnTo>
                    <a:pt x="9017" y="34798"/>
                  </a:lnTo>
                  <a:lnTo>
                    <a:pt x="11556" y="32258"/>
                  </a:lnTo>
                  <a:lnTo>
                    <a:pt x="11556" y="25908"/>
                  </a:lnTo>
                  <a:lnTo>
                    <a:pt x="9017" y="23367"/>
                  </a:lnTo>
                  <a:close/>
                </a:path>
                <a:path w="317500" h="314325">
                  <a:moveTo>
                    <a:pt x="314071" y="0"/>
                  </a:moveTo>
                  <a:lnTo>
                    <a:pt x="307594" y="0"/>
                  </a:lnTo>
                  <a:lnTo>
                    <a:pt x="305053" y="2412"/>
                  </a:lnTo>
                  <a:lnTo>
                    <a:pt x="305053" y="9016"/>
                  </a:lnTo>
                  <a:lnTo>
                    <a:pt x="307594" y="11811"/>
                  </a:lnTo>
                  <a:lnTo>
                    <a:pt x="314071" y="11811"/>
                  </a:lnTo>
                  <a:lnTo>
                    <a:pt x="316992" y="9016"/>
                  </a:lnTo>
                  <a:lnTo>
                    <a:pt x="316992" y="2412"/>
                  </a:lnTo>
                  <a:lnTo>
                    <a:pt x="314071" y="0"/>
                  </a:lnTo>
                  <a:close/>
                </a:path>
                <a:path w="317500" h="314325">
                  <a:moveTo>
                    <a:pt x="290702" y="0"/>
                  </a:moveTo>
                  <a:lnTo>
                    <a:pt x="284479" y="0"/>
                  </a:lnTo>
                  <a:lnTo>
                    <a:pt x="281940" y="2412"/>
                  </a:lnTo>
                  <a:lnTo>
                    <a:pt x="281940" y="9016"/>
                  </a:lnTo>
                  <a:lnTo>
                    <a:pt x="284479" y="11811"/>
                  </a:lnTo>
                  <a:lnTo>
                    <a:pt x="290702" y="11811"/>
                  </a:lnTo>
                  <a:lnTo>
                    <a:pt x="293497" y="9016"/>
                  </a:lnTo>
                  <a:lnTo>
                    <a:pt x="293497" y="2412"/>
                  </a:lnTo>
                  <a:lnTo>
                    <a:pt x="290702" y="0"/>
                  </a:lnTo>
                  <a:close/>
                </a:path>
                <a:path w="317500" h="314325">
                  <a:moveTo>
                    <a:pt x="267208" y="0"/>
                  </a:moveTo>
                  <a:lnTo>
                    <a:pt x="260985" y="0"/>
                  </a:lnTo>
                  <a:lnTo>
                    <a:pt x="258445" y="2412"/>
                  </a:lnTo>
                  <a:lnTo>
                    <a:pt x="258445" y="9016"/>
                  </a:lnTo>
                  <a:lnTo>
                    <a:pt x="260985" y="11811"/>
                  </a:lnTo>
                  <a:lnTo>
                    <a:pt x="267208" y="11811"/>
                  </a:lnTo>
                  <a:lnTo>
                    <a:pt x="270128" y="9016"/>
                  </a:lnTo>
                  <a:lnTo>
                    <a:pt x="270128" y="2412"/>
                  </a:lnTo>
                  <a:lnTo>
                    <a:pt x="267208" y="0"/>
                  </a:lnTo>
                  <a:close/>
                </a:path>
                <a:path w="317500" h="314325">
                  <a:moveTo>
                    <a:pt x="243586" y="0"/>
                  </a:moveTo>
                  <a:lnTo>
                    <a:pt x="237490" y="0"/>
                  </a:lnTo>
                  <a:lnTo>
                    <a:pt x="234569" y="2412"/>
                  </a:lnTo>
                  <a:lnTo>
                    <a:pt x="234569" y="9016"/>
                  </a:lnTo>
                  <a:lnTo>
                    <a:pt x="237490" y="11811"/>
                  </a:lnTo>
                  <a:lnTo>
                    <a:pt x="243586" y="11811"/>
                  </a:lnTo>
                  <a:lnTo>
                    <a:pt x="246506" y="9016"/>
                  </a:lnTo>
                  <a:lnTo>
                    <a:pt x="246506" y="2412"/>
                  </a:lnTo>
                  <a:lnTo>
                    <a:pt x="243586" y="0"/>
                  </a:lnTo>
                  <a:close/>
                </a:path>
                <a:path w="317500" h="314325">
                  <a:moveTo>
                    <a:pt x="220472" y="0"/>
                  </a:moveTo>
                  <a:lnTo>
                    <a:pt x="213868" y="0"/>
                  </a:lnTo>
                  <a:lnTo>
                    <a:pt x="210947" y="2412"/>
                  </a:lnTo>
                  <a:lnTo>
                    <a:pt x="210947" y="9016"/>
                  </a:lnTo>
                  <a:lnTo>
                    <a:pt x="213868" y="11811"/>
                  </a:lnTo>
                  <a:lnTo>
                    <a:pt x="220472" y="11811"/>
                  </a:lnTo>
                  <a:lnTo>
                    <a:pt x="223012" y="9016"/>
                  </a:lnTo>
                  <a:lnTo>
                    <a:pt x="223012" y="2412"/>
                  </a:lnTo>
                  <a:lnTo>
                    <a:pt x="220472" y="0"/>
                  </a:lnTo>
                  <a:close/>
                </a:path>
                <a:path w="317500" h="314325">
                  <a:moveTo>
                    <a:pt x="196850" y="0"/>
                  </a:moveTo>
                  <a:lnTo>
                    <a:pt x="190246" y="0"/>
                  </a:lnTo>
                  <a:lnTo>
                    <a:pt x="187833" y="2412"/>
                  </a:lnTo>
                  <a:lnTo>
                    <a:pt x="187833" y="9016"/>
                  </a:lnTo>
                  <a:lnTo>
                    <a:pt x="190246" y="11811"/>
                  </a:lnTo>
                  <a:lnTo>
                    <a:pt x="196850" y="11811"/>
                  </a:lnTo>
                  <a:lnTo>
                    <a:pt x="199390" y="9016"/>
                  </a:lnTo>
                  <a:lnTo>
                    <a:pt x="199390" y="2412"/>
                  </a:lnTo>
                  <a:lnTo>
                    <a:pt x="196850" y="0"/>
                  </a:lnTo>
                  <a:close/>
                </a:path>
                <a:path w="317500" h="314325">
                  <a:moveTo>
                    <a:pt x="173481" y="0"/>
                  </a:moveTo>
                  <a:lnTo>
                    <a:pt x="166877" y="0"/>
                  </a:lnTo>
                  <a:lnTo>
                    <a:pt x="164338" y="2412"/>
                  </a:lnTo>
                  <a:lnTo>
                    <a:pt x="164338" y="9016"/>
                  </a:lnTo>
                  <a:lnTo>
                    <a:pt x="166877" y="11811"/>
                  </a:lnTo>
                  <a:lnTo>
                    <a:pt x="173481" y="11811"/>
                  </a:lnTo>
                  <a:lnTo>
                    <a:pt x="175895" y="9016"/>
                  </a:lnTo>
                  <a:lnTo>
                    <a:pt x="175895" y="2412"/>
                  </a:lnTo>
                  <a:lnTo>
                    <a:pt x="173481" y="0"/>
                  </a:lnTo>
                  <a:close/>
                </a:path>
                <a:path w="317500" h="314325">
                  <a:moveTo>
                    <a:pt x="150241" y="0"/>
                  </a:moveTo>
                  <a:lnTo>
                    <a:pt x="143255" y="0"/>
                  </a:lnTo>
                  <a:lnTo>
                    <a:pt x="140716" y="2412"/>
                  </a:lnTo>
                  <a:lnTo>
                    <a:pt x="140716" y="9016"/>
                  </a:lnTo>
                  <a:lnTo>
                    <a:pt x="143255" y="11811"/>
                  </a:lnTo>
                  <a:lnTo>
                    <a:pt x="150241" y="11811"/>
                  </a:lnTo>
                  <a:lnTo>
                    <a:pt x="152780" y="9016"/>
                  </a:lnTo>
                  <a:lnTo>
                    <a:pt x="152780" y="2412"/>
                  </a:lnTo>
                  <a:lnTo>
                    <a:pt x="150241" y="0"/>
                  </a:lnTo>
                  <a:close/>
                </a:path>
                <a:path w="317500" h="314325">
                  <a:moveTo>
                    <a:pt x="126873" y="0"/>
                  </a:moveTo>
                  <a:lnTo>
                    <a:pt x="119761" y="0"/>
                  </a:lnTo>
                  <a:lnTo>
                    <a:pt x="117348" y="2412"/>
                  </a:lnTo>
                  <a:lnTo>
                    <a:pt x="117348" y="9016"/>
                  </a:lnTo>
                  <a:lnTo>
                    <a:pt x="119761" y="11811"/>
                  </a:lnTo>
                  <a:lnTo>
                    <a:pt x="126873" y="11811"/>
                  </a:lnTo>
                  <a:lnTo>
                    <a:pt x="129286" y="9016"/>
                  </a:lnTo>
                  <a:lnTo>
                    <a:pt x="129286" y="2412"/>
                  </a:lnTo>
                  <a:lnTo>
                    <a:pt x="126873" y="0"/>
                  </a:lnTo>
                  <a:close/>
                </a:path>
                <a:path w="317500" h="314325">
                  <a:moveTo>
                    <a:pt x="102870" y="0"/>
                  </a:moveTo>
                  <a:lnTo>
                    <a:pt x="96647" y="0"/>
                  </a:lnTo>
                  <a:lnTo>
                    <a:pt x="94106" y="2412"/>
                  </a:lnTo>
                  <a:lnTo>
                    <a:pt x="94106" y="9016"/>
                  </a:lnTo>
                  <a:lnTo>
                    <a:pt x="96647" y="11811"/>
                  </a:lnTo>
                  <a:lnTo>
                    <a:pt x="102870" y="11811"/>
                  </a:lnTo>
                  <a:lnTo>
                    <a:pt x="105664" y="9016"/>
                  </a:lnTo>
                  <a:lnTo>
                    <a:pt x="105664" y="2412"/>
                  </a:lnTo>
                  <a:lnTo>
                    <a:pt x="102870" y="0"/>
                  </a:lnTo>
                  <a:close/>
                </a:path>
                <a:path w="317500" h="314325">
                  <a:moveTo>
                    <a:pt x="79375" y="0"/>
                  </a:moveTo>
                  <a:lnTo>
                    <a:pt x="73151" y="0"/>
                  </a:lnTo>
                  <a:lnTo>
                    <a:pt x="70739" y="2412"/>
                  </a:lnTo>
                  <a:lnTo>
                    <a:pt x="70739" y="9016"/>
                  </a:lnTo>
                  <a:lnTo>
                    <a:pt x="73151" y="11811"/>
                  </a:lnTo>
                  <a:lnTo>
                    <a:pt x="79375" y="11811"/>
                  </a:lnTo>
                  <a:lnTo>
                    <a:pt x="82296" y="9016"/>
                  </a:lnTo>
                  <a:lnTo>
                    <a:pt x="82296" y="2412"/>
                  </a:lnTo>
                  <a:lnTo>
                    <a:pt x="79375" y="0"/>
                  </a:lnTo>
                  <a:close/>
                </a:path>
                <a:path w="317500" h="314325">
                  <a:moveTo>
                    <a:pt x="56134" y="0"/>
                  </a:moveTo>
                  <a:lnTo>
                    <a:pt x="49529" y="0"/>
                  </a:lnTo>
                  <a:lnTo>
                    <a:pt x="47117" y="2412"/>
                  </a:lnTo>
                  <a:lnTo>
                    <a:pt x="47117" y="9016"/>
                  </a:lnTo>
                  <a:lnTo>
                    <a:pt x="49529" y="11811"/>
                  </a:lnTo>
                  <a:lnTo>
                    <a:pt x="56134" y="11811"/>
                  </a:lnTo>
                  <a:lnTo>
                    <a:pt x="58674" y="9016"/>
                  </a:lnTo>
                  <a:lnTo>
                    <a:pt x="58674" y="2412"/>
                  </a:lnTo>
                  <a:lnTo>
                    <a:pt x="56134" y="0"/>
                  </a:lnTo>
                  <a:close/>
                </a:path>
                <a:path w="317500" h="314325">
                  <a:moveTo>
                    <a:pt x="32766" y="0"/>
                  </a:moveTo>
                  <a:lnTo>
                    <a:pt x="26543" y="0"/>
                  </a:lnTo>
                  <a:lnTo>
                    <a:pt x="23622" y="2412"/>
                  </a:lnTo>
                  <a:lnTo>
                    <a:pt x="23622" y="9016"/>
                  </a:lnTo>
                  <a:lnTo>
                    <a:pt x="26543" y="11811"/>
                  </a:lnTo>
                  <a:lnTo>
                    <a:pt x="32766" y="11811"/>
                  </a:lnTo>
                  <a:lnTo>
                    <a:pt x="35178" y="9016"/>
                  </a:lnTo>
                  <a:lnTo>
                    <a:pt x="35178" y="2412"/>
                  </a:lnTo>
                  <a:lnTo>
                    <a:pt x="32766" y="0"/>
                  </a:lnTo>
                  <a:close/>
                </a:path>
                <a:path w="317500" h="314325">
                  <a:moveTo>
                    <a:pt x="9144" y="0"/>
                  </a:moveTo>
                  <a:lnTo>
                    <a:pt x="2921" y="0"/>
                  </a:lnTo>
                  <a:lnTo>
                    <a:pt x="0" y="2412"/>
                  </a:lnTo>
                  <a:lnTo>
                    <a:pt x="0" y="9016"/>
                  </a:lnTo>
                  <a:lnTo>
                    <a:pt x="2921" y="11811"/>
                  </a:lnTo>
                  <a:lnTo>
                    <a:pt x="9144" y="11811"/>
                  </a:lnTo>
                  <a:lnTo>
                    <a:pt x="11556" y="9016"/>
                  </a:lnTo>
                  <a:lnTo>
                    <a:pt x="11556" y="241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9" name="组合 38"/>
          <p:cNvGrpSpPr>
            <a:grpSpLocks noChangeAspect="1"/>
          </p:cNvGrpSpPr>
          <p:nvPr/>
        </p:nvGrpSpPr>
        <p:grpSpPr>
          <a:xfrm>
            <a:off x="6085383" y="4766245"/>
            <a:ext cx="624790" cy="616868"/>
            <a:chOff x="8269007" y="2787537"/>
            <a:chExt cx="350520" cy="346075"/>
          </a:xfrm>
        </p:grpSpPr>
        <p:sp>
          <p:nvSpPr>
            <p:cNvPr id="40" name="object 32"/>
            <p:cNvSpPr/>
            <p:nvPr/>
          </p:nvSpPr>
          <p:spPr>
            <a:xfrm>
              <a:off x="8269007" y="2787537"/>
              <a:ext cx="350520" cy="346075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solidFill>
              <a:srgbClr val="0386C1"/>
            </a:solidFill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1" name="object 33"/>
            <p:cNvSpPr/>
            <p:nvPr/>
          </p:nvSpPr>
          <p:spPr>
            <a:xfrm>
              <a:off x="8285517" y="2800998"/>
              <a:ext cx="317500" cy="314325"/>
            </a:xfrm>
            <a:custGeom>
              <a:avLst/>
              <a:gdLst/>
              <a:ahLst/>
              <a:cxnLst/>
              <a:rect l="l" t="t" r="r" b="b"/>
              <a:pathLst>
                <a:path w="317500" h="314325">
                  <a:moveTo>
                    <a:pt x="314071" y="302387"/>
                  </a:moveTo>
                  <a:lnTo>
                    <a:pt x="307594" y="302387"/>
                  </a:lnTo>
                  <a:lnTo>
                    <a:pt x="305053" y="304926"/>
                  </a:lnTo>
                  <a:lnTo>
                    <a:pt x="305053" y="311530"/>
                  </a:lnTo>
                  <a:lnTo>
                    <a:pt x="307594" y="313943"/>
                  </a:lnTo>
                  <a:lnTo>
                    <a:pt x="314071" y="313943"/>
                  </a:lnTo>
                  <a:lnTo>
                    <a:pt x="316992" y="311530"/>
                  </a:lnTo>
                  <a:lnTo>
                    <a:pt x="316992" y="304926"/>
                  </a:lnTo>
                  <a:lnTo>
                    <a:pt x="314071" y="302387"/>
                  </a:lnTo>
                  <a:close/>
                </a:path>
                <a:path w="317500" h="314325">
                  <a:moveTo>
                    <a:pt x="290956" y="302387"/>
                  </a:moveTo>
                  <a:lnTo>
                    <a:pt x="284606" y="302387"/>
                  </a:lnTo>
                  <a:lnTo>
                    <a:pt x="281940" y="305053"/>
                  </a:lnTo>
                  <a:lnTo>
                    <a:pt x="281940" y="311403"/>
                  </a:lnTo>
                  <a:lnTo>
                    <a:pt x="284606" y="313943"/>
                  </a:lnTo>
                  <a:lnTo>
                    <a:pt x="290956" y="313943"/>
                  </a:lnTo>
                  <a:lnTo>
                    <a:pt x="293497" y="311403"/>
                  </a:lnTo>
                  <a:lnTo>
                    <a:pt x="293497" y="305053"/>
                  </a:lnTo>
                  <a:lnTo>
                    <a:pt x="290956" y="302387"/>
                  </a:lnTo>
                  <a:close/>
                </a:path>
                <a:path w="317500" h="314325">
                  <a:moveTo>
                    <a:pt x="267462" y="302387"/>
                  </a:moveTo>
                  <a:lnTo>
                    <a:pt x="261112" y="302387"/>
                  </a:lnTo>
                  <a:lnTo>
                    <a:pt x="258445" y="305053"/>
                  </a:lnTo>
                  <a:lnTo>
                    <a:pt x="258445" y="311403"/>
                  </a:lnTo>
                  <a:lnTo>
                    <a:pt x="261112" y="313943"/>
                  </a:lnTo>
                  <a:lnTo>
                    <a:pt x="267462" y="313943"/>
                  </a:lnTo>
                  <a:lnTo>
                    <a:pt x="270128" y="311403"/>
                  </a:lnTo>
                  <a:lnTo>
                    <a:pt x="270128" y="305053"/>
                  </a:lnTo>
                  <a:lnTo>
                    <a:pt x="267462" y="302387"/>
                  </a:lnTo>
                  <a:close/>
                </a:path>
                <a:path w="317500" h="314325">
                  <a:moveTo>
                    <a:pt x="243840" y="302387"/>
                  </a:moveTo>
                  <a:lnTo>
                    <a:pt x="237236" y="302387"/>
                  </a:lnTo>
                  <a:lnTo>
                    <a:pt x="234569" y="305053"/>
                  </a:lnTo>
                  <a:lnTo>
                    <a:pt x="234569" y="311403"/>
                  </a:lnTo>
                  <a:lnTo>
                    <a:pt x="237236" y="313943"/>
                  </a:lnTo>
                  <a:lnTo>
                    <a:pt x="243840" y="313943"/>
                  </a:lnTo>
                  <a:lnTo>
                    <a:pt x="246506" y="311403"/>
                  </a:lnTo>
                  <a:lnTo>
                    <a:pt x="246506" y="305053"/>
                  </a:lnTo>
                  <a:lnTo>
                    <a:pt x="243840" y="302387"/>
                  </a:lnTo>
                  <a:close/>
                </a:path>
                <a:path w="317500" h="314325">
                  <a:moveTo>
                    <a:pt x="220345" y="302387"/>
                  </a:moveTo>
                  <a:lnTo>
                    <a:pt x="213614" y="302387"/>
                  </a:lnTo>
                  <a:lnTo>
                    <a:pt x="210947" y="305053"/>
                  </a:lnTo>
                  <a:lnTo>
                    <a:pt x="210947" y="311403"/>
                  </a:lnTo>
                  <a:lnTo>
                    <a:pt x="213614" y="313943"/>
                  </a:lnTo>
                  <a:lnTo>
                    <a:pt x="220345" y="313943"/>
                  </a:lnTo>
                  <a:lnTo>
                    <a:pt x="223012" y="311403"/>
                  </a:lnTo>
                  <a:lnTo>
                    <a:pt x="223012" y="305053"/>
                  </a:lnTo>
                  <a:lnTo>
                    <a:pt x="220345" y="302387"/>
                  </a:lnTo>
                  <a:close/>
                </a:path>
                <a:path w="317500" h="314325">
                  <a:moveTo>
                    <a:pt x="196850" y="302387"/>
                  </a:moveTo>
                  <a:lnTo>
                    <a:pt x="190373" y="302387"/>
                  </a:lnTo>
                  <a:lnTo>
                    <a:pt x="187833" y="305053"/>
                  </a:lnTo>
                  <a:lnTo>
                    <a:pt x="187833" y="311403"/>
                  </a:lnTo>
                  <a:lnTo>
                    <a:pt x="190373" y="313943"/>
                  </a:lnTo>
                  <a:lnTo>
                    <a:pt x="196850" y="313943"/>
                  </a:lnTo>
                  <a:lnTo>
                    <a:pt x="199390" y="311403"/>
                  </a:lnTo>
                  <a:lnTo>
                    <a:pt x="199390" y="305053"/>
                  </a:lnTo>
                  <a:lnTo>
                    <a:pt x="196850" y="302387"/>
                  </a:lnTo>
                  <a:close/>
                </a:path>
                <a:path w="317500" h="314325">
                  <a:moveTo>
                    <a:pt x="173354" y="302387"/>
                  </a:moveTo>
                  <a:lnTo>
                    <a:pt x="167004" y="302387"/>
                  </a:lnTo>
                  <a:lnTo>
                    <a:pt x="164338" y="305053"/>
                  </a:lnTo>
                  <a:lnTo>
                    <a:pt x="164338" y="311403"/>
                  </a:lnTo>
                  <a:lnTo>
                    <a:pt x="167004" y="313943"/>
                  </a:lnTo>
                  <a:lnTo>
                    <a:pt x="173354" y="313943"/>
                  </a:lnTo>
                  <a:lnTo>
                    <a:pt x="175895" y="311403"/>
                  </a:lnTo>
                  <a:lnTo>
                    <a:pt x="175895" y="305053"/>
                  </a:lnTo>
                  <a:lnTo>
                    <a:pt x="173354" y="302387"/>
                  </a:lnTo>
                  <a:close/>
                </a:path>
                <a:path w="317500" h="314325">
                  <a:moveTo>
                    <a:pt x="150114" y="302387"/>
                  </a:moveTo>
                  <a:lnTo>
                    <a:pt x="143383" y="302387"/>
                  </a:lnTo>
                  <a:lnTo>
                    <a:pt x="140716" y="305053"/>
                  </a:lnTo>
                  <a:lnTo>
                    <a:pt x="140716" y="311403"/>
                  </a:lnTo>
                  <a:lnTo>
                    <a:pt x="143383" y="313943"/>
                  </a:lnTo>
                  <a:lnTo>
                    <a:pt x="150114" y="313943"/>
                  </a:lnTo>
                  <a:lnTo>
                    <a:pt x="152780" y="311403"/>
                  </a:lnTo>
                  <a:lnTo>
                    <a:pt x="152780" y="305053"/>
                  </a:lnTo>
                  <a:lnTo>
                    <a:pt x="150114" y="302387"/>
                  </a:lnTo>
                  <a:close/>
                </a:path>
                <a:path w="317500" h="314325">
                  <a:moveTo>
                    <a:pt x="126619" y="302387"/>
                  </a:moveTo>
                  <a:lnTo>
                    <a:pt x="120015" y="302387"/>
                  </a:lnTo>
                  <a:lnTo>
                    <a:pt x="117348" y="305053"/>
                  </a:lnTo>
                  <a:lnTo>
                    <a:pt x="117348" y="311403"/>
                  </a:lnTo>
                  <a:lnTo>
                    <a:pt x="120015" y="313943"/>
                  </a:lnTo>
                  <a:lnTo>
                    <a:pt x="126619" y="313943"/>
                  </a:lnTo>
                  <a:lnTo>
                    <a:pt x="129286" y="311403"/>
                  </a:lnTo>
                  <a:lnTo>
                    <a:pt x="129286" y="305053"/>
                  </a:lnTo>
                  <a:lnTo>
                    <a:pt x="126619" y="302387"/>
                  </a:lnTo>
                  <a:close/>
                </a:path>
                <a:path w="317500" h="314325">
                  <a:moveTo>
                    <a:pt x="103124" y="302387"/>
                  </a:moveTo>
                  <a:lnTo>
                    <a:pt x="96774" y="302387"/>
                  </a:lnTo>
                  <a:lnTo>
                    <a:pt x="94106" y="305053"/>
                  </a:lnTo>
                  <a:lnTo>
                    <a:pt x="94106" y="311403"/>
                  </a:lnTo>
                  <a:lnTo>
                    <a:pt x="96774" y="313943"/>
                  </a:lnTo>
                  <a:lnTo>
                    <a:pt x="103124" y="313943"/>
                  </a:lnTo>
                  <a:lnTo>
                    <a:pt x="105664" y="311403"/>
                  </a:lnTo>
                  <a:lnTo>
                    <a:pt x="105664" y="305053"/>
                  </a:lnTo>
                  <a:lnTo>
                    <a:pt x="103124" y="302387"/>
                  </a:lnTo>
                  <a:close/>
                </a:path>
                <a:path w="317500" h="314325">
                  <a:moveTo>
                    <a:pt x="79628" y="302387"/>
                  </a:moveTo>
                  <a:lnTo>
                    <a:pt x="73278" y="302387"/>
                  </a:lnTo>
                  <a:lnTo>
                    <a:pt x="70739" y="305053"/>
                  </a:lnTo>
                  <a:lnTo>
                    <a:pt x="70739" y="311403"/>
                  </a:lnTo>
                  <a:lnTo>
                    <a:pt x="73278" y="313943"/>
                  </a:lnTo>
                  <a:lnTo>
                    <a:pt x="79628" y="313943"/>
                  </a:lnTo>
                  <a:lnTo>
                    <a:pt x="82296" y="311403"/>
                  </a:lnTo>
                  <a:lnTo>
                    <a:pt x="82296" y="305053"/>
                  </a:lnTo>
                  <a:lnTo>
                    <a:pt x="79628" y="302387"/>
                  </a:lnTo>
                  <a:close/>
                </a:path>
                <a:path w="317500" h="314325">
                  <a:moveTo>
                    <a:pt x="56006" y="302387"/>
                  </a:moveTo>
                  <a:lnTo>
                    <a:pt x="49656" y="302387"/>
                  </a:lnTo>
                  <a:lnTo>
                    <a:pt x="47117" y="305053"/>
                  </a:lnTo>
                  <a:lnTo>
                    <a:pt x="47117" y="311403"/>
                  </a:lnTo>
                  <a:lnTo>
                    <a:pt x="49656" y="313943"/>
                  </a:lnTo>
                  <a:lnTo>
                    <a:pt x="56006" y="313943"/>
                  </a:lnTo>
                  <a:lnTo>
                    <a:pt x="58674" y="311403"/>
                  </a:lnTo>
                  <a:lnTo>
                    <a:pt x="58674" y="305053"/>
                  </a:lnTo>
                  <a:lnTo>
                    <a:pt x="56006" y="302387"/>
                  </a:lnTo>
                  <a:close/>
                </a:path>
                <a:path w="317500" h="314325">
                  <a:moveTo>
                    <a:pt x="32639" y="302387"/>
                  </a:moveTo>
                  <a:lnTo>
                    <a:pt x="26162" y="302387"/>
                  </a:lnTo>
                  <a:lnTo>
                    <a:pt x="23622" y="305053"/>
                  </a:lnTo>
                  <a:lnTo>
                    <a:pt x="23622" y="311403"/>
                  </a:lnTo>
                  <a:lnTo>
                    <a:pt x="26162" y="313943"/>
                  </a:lnTo>
                  <a:lnTo>
                    <a:pt x="32639" y="313943"/>
                  </a:lnTo>
                  <a:lnTo>
                    <a:pt x="35178" y="311403"/>
                  </a:lnTo>
                  <a:lnTo>
                    <a:pt x="35178" y="305053"/>
                  </a:lnTo>
                  <a:lnTo>
                    <a:pt x="32639" y="302387"/>
                  </a:lnTo>
                  <a:close/>
                </a:path>
                <a:path w="317500" h="314325">
                  <a:moveTo>
                    <a:pt x="9017" y="302387"/>
                  </a:moveTo>
                  <a:lnTo>
                    <a:pt x="2540" y="302387"/>
                  </a:lnTo>
                  <a:lnTo>
                    <a:pt x="0" y="305053"/>
                  </a:lnTo>
                  <a:lnTo>
                    <a:pt x="0" y="311403"/>
                  </a:lnTo>
                  <a:lnTo>
                    <a:pt x="2540" y="313943"/>
                  </a:lnTo>
                  <a:lnTo>
                    <a:pt x="9017" y="313943"/>
                  </a:lnTo>
                  <a:lnTo>
                    <a:pt x="11556" y="311403"/>
                  </a:lnTo>
                  <a:lnTo>
                    <a:pt x="11556" y="305053"/>
                  </a:lnTo>
                  <a:lnTo>
                    <a:pt x="9017" y="302387"/>
                  </a:lnTo>
                  <a:close/>
                </a:path>
                <a:path w="317500" h="314325">
                  <a:moveTo>
                    <a:pt x="314071" y="278891"/>
                  </a:moveTo>
                  <a:lnTo>
                    <a:pt x="307594" y="278891"/>
                  </a:lnTo>
                  <a:lnTo>
                    <a:pt x="305053" y="281813"/>
                  </a:lnTo>
                  <a:lnTo>
                    <a:pt x="305053" y="288036"/>
                  </a:lnTo>
                  <a:lnTo>
                    <a:pt x="307594" y="290449"/>
                  </a:lnTo>
                  <a:lnTo>
                    <a:pt x="314071" y="290449"/>
                  </a:lnTo>
                  <a:lnTo>
                    <a:pt x="316992" y="288036"/>
                  </a:lnTo>
                  <a:lnTo>
                    <a:pt x="316992" y="281813"/>
                  </a:lnTo>
                  <a:lnTo>
                    <a:pt x="314071" y="278891"/>
                  </a:lnTo>
                  <a:close/>
                </a:path>
                <a:path w="317500" h="314325">
                  <a:moveTo>
                    <a:pt x="290956" y="278891"/>
                  </a:moveTo>
                  <a:lnTo>
                    <a:pt x="284606" y="278891"/>
                  </a:lnTo>
                  <a:lnTo>
                    <a:pt x="281940" y="281559"/>
                  </a:lnTo>
                  <a:lnTo>
                    <a:pt x="281940" y="287909"/>
                  </a:lnTo>
                  <a:lnTo>
                    <a:pt x="284606" y="290449"/>
                  </a:lnTo>
                  <a:lnTo>
                    <a:pt x="290956" y="290449"/>
                  </a:lnTo>
                  <a:lnTo>
                    <a:pt x="293497" y="287909"/>
                  </a:lnTo>
                  <a:lnTo>
                    <a:pt x="293497" y="281559"/>
                  </a:lnTo>
                  <a:lnTo>
                    <a:pt x="290956" y="278891"/>
                  </a:lnTo>
                  <a:close/>
                </a:path>
                <a:path w="317500" h="314325">
                  <a:moveTo>
                    <a:pt x="267462" y="278891"/>
                  </a:moveTo>
                  <a:lnTo>
                    <a:pt x="261112" y="278891"/>
                  </a:lnTo>
                  <a:lnTo>
                    <a:pt x="258445" y="281559"/>
                  </a:lnTo>
                  <a:lnTo>
                    <a:pt x="258445" y="287909"/>
                  </a:lnTo>
                  <a:lnTo>
                    <a:pt x="261112" y="290449"/>
                  </a:lnTo>
                  <a:lnTo>
                    <a:pt x="267462" y="290449"/>
                  </a:lnTo>
                  <a:lnTo>
                    <a:pt x="270128" y="287909"/>
                  </a:lnTo>
                  <a:lnTo>
                    <a:pt x="270128" y="281559"/>
                  </a:lnTo>
                  <a:lnTo>
                    <a:pt x="267462" y="278891"/>
                  </a:lnTo>
                  <a:close/>
                </a:path>
                <a:path w="317500" h="314325">
                  <a:moveTo>
                    <a:pt x="243840" y="278891"/>
                  </a:moveTo>
                  <a:lnTo>
                    <a:pt x="237236" y="278891"/>
                  </a:lnTo>
                  <a:lnTo>
                    <a:pt x="234569" y="281559"/>
                  </a:lnTo>
                  <a:lnTo>
                    <a:pt x="234569" y="287909"/>
                  </a:lnTo>
                  <a:lnTo>
                    <a:pt x="237236" y="290449"/>
                  </a:lnTo>
                  <a:lnTo>
                    <a:pt x="243840" y="290449"/>
                  </a:lnTo>
                  <a:lnTo>
                    <a:pt x="246506" y="287909"/>
                  </a:lnTo>
                  <a:lnTo>
                    <a:pt x="246506" y="281559"/>
                  </a:lnTo>
                  <a:lnTo>
                    <a:pt x="243840" y="278891"/>
                  </a:lnTo>
                  <a:close/>
                </a:path>
                <a:path w="317500" h="314325">
                  <a:moveTo>
                    <a:pt x="220345" y="278891"/>
                  </a:moveTo>
                  <a:lnTo>
                    <a:pt x="213614" y="278891"/>
                  </a:lnTo>
                  <a:lnTo>
                    <a:pt x="210947" y="281559"/>
                  </a:lnTo>
                  <a:lnTo>
                    <a:pt x="210947" y="287909"/>
                  </a:lnTo>
                  <a:lnTo>
                    <a:pt x="213614" y="290449"/>
                  </a:lnTo>
                  <a:lnTo>
                    <a:pt x="220345" y="290449"/>
                  </a:lnTo>
                  <a:lnTo>
                    <a:pt x="223012" y="287909"/>
                  </a:lnTo>
                  <a:lnTo>
                    <a:pt x="223012" y="281559"/>
                  </a:lnTo>
                  <a:lnTo>
                    <a:pt x="220345" y="278891"/>
                  </a:lnTo>
                  <a:close/>
                </a:path>
                <a:path w="317500" h="314325">
                  <a:moveTo>
                    <a:pt x="196850" y="278891"/>
                  </a:moveTo>
                  <a:lnTo>
                    <a:pt x="190373" y="278891"/>
                  </a:lnTo>
                  <a:lnTo>
                    <a:pt x="187833" y="281559"/>
                  </a:lnTo>
                  <a:lnTo>
                    <a:pt x="187833" y="287909"/>
                  </a:lnTo>
                  <a:lnTo>
                    <a:pt x="190373" y="290449"/>
                  </a:lnTo>
                  <a:lnTo>
                    <a:pt x="196850" y="290449"/>
                  </a:lnTo>
                  <a:lnTo>
                    <a:pt x="199390" y="287909"/>
                  </a:lnTo>
                  <a:lnTo>
                    <a:pt x="199390" y="281559"/>
                  </a:lnTo>
                  <a:lnTo>
                    <a:pt x="196850" y="278891"/>
                  </a:lnTo>
                  <a:close/>
                </a:path>
                <a:path w="317500" h="314325">
                  <a:moveTo>
                    <a:pt x="173354" y="278891"/>
                  </a:moveTo>
                  <a:lnTo>
                    <a:pt x="167004" y="278891"/>
                  </a:lnTo>
                  <a:lnTo>
                    <a:pt x="164338" y="281559"/>
                  </a:lnTo>
                  <a:lnTo>
                    <a:pt x="164338" y="287909"/>
                  </a:lnTo>
                  <a:lnTo>
                    <a:pt x="167004" y="290449"/>
                  </a:lnTo>
                  <a:lnTo>
                    <a:pt x="173354" y="290449"/>
                  </a:lnTo>
                  <a:lnTo>
                    <a:pt x="175895" y="287909"/>
                  </a:lnTo>
                  <a:lnTo>
                    <a:pt x="175895" y="281559"/>
                  </a:lnTo>
                  <a:lnTo>
                    <a:pt x="173354" y="278891"/>
                  </a:lnTo>
                  <a:close/>
                </a:path>
                <a:path w="317500" h="314325">
                  <a:moveTo>
                    <a:pt x="150114" y="278891"/>
                  </a:moveTo>
                  <a:lnTo>
                    <a:pt x="143383" y="278891"/>
                  </a:lnTo>
                  <a:lnTo>
                    <a:pt x="140716" y="281559"/>
                  </a:lnTo>
                  <a:lnTo>
                    <a:pt x="140716" y="287909"/>
                  </a:lnTo>
                  <a:lnTo>
                    <a:pt x="143383" y="290449"/>
                  </a:lnTo>
                  <a:lnTo>
                    <a:pt x="150114" y="290449"/>
                  </a:lnTo>
                  <a:lnTo>
                    <a:pt x="152780" y="287909"/>
                  </a:lnTo>
                  <a:lnTo>
                    <a:pt x="152780" y="281559"/>
                  </a:lnTo>
                  <a:lnTo>
                    <a:pt x="150114" y="278891"/>
                  </a:lnTo>
                  <a:close/>
                </a:path>
                <a:path w="317500" h="314325">
                  <a:moveTo>
                    <a:pt x="126619" y="278891"/>
                  </a:moveTo>
                  <a:lnTo>
                    <a:pt x="120015" y="278891"/>
                  </a:lnTo>
                  <a:lnTo>
                    <a:pt x="117348" y="281559"/>
                  </a:lnTo>
                  <a:lnTo>
                    <a:pt x="117348" y="287909"/>
                  </a:lnTo>
                  <a:lnTo>
                    <a:pt x="120015" y="290449"/>
                  </a:lnTo>
                  <a:lnTo>
                    <a:pt x="126619" y="290449"/>
                  </a:lnTo>
                  <a:lnTo>
                    <a:pt x="129286" y="287909"/>
                  </a:lnTo>
                  <a:lnTo>
                    <a:pt x="129286" y="281559"/>
                  </a:lnTo>
                  <a:lnTo>
                    <a:pt x="126619" y="278891"/>
                  </a:lnTo>
                  <a:close/>
                </a:path>
                <a:path w="317500" h="314325">
                  <a:moveTo>
                    <a:pt x="103124" y="278891"/>
                  </a:moveTo>
                  <a:lnTo>
                    <a:pt x="96774" y="278891"/>
                  </a:lnTo>
                  <a:lnTo>
                    <a:pt x="94106" y="281559"/>
                  </a:lnTo>
                  <a:lnTo>
                    <a:pt x="94106" y="287909"/>
                  </a:lnTo>
                  <a:lnTo>
                    <a:pt x="96774" y="290449"/>
                  </a:lnTo>
                  <a:lnTo>
                    <a:pt x="103124" y="290449"/>
                  </a:lnTo>
                  <a:lnTo>
                    <a:pt x="105664" y="287909"/>
                  </a:lnTo>
                  <a:lnTo>
                    <a:pt x="105664" y="281559"/>
                  </a:lnTo>
                  <a:lnTo>
                    <a:pt x="103124" y="278891"/>
                  </a:lnTo>
                  <a:close/>
                </a:path>
                <a:path w="317500" h="314325">
                  <a:moveTo>
                    <a:pt x="79628" y="278891"/>
                  </a:moveTo>
                  <a:lnTo>
                    <a:pt x="73278" y="278891"/>
                  </a:lnTo>
                  <a:lnTo>
                    <a:pt x="70739" y="281559"/>
                  </a:lnTo>
                  <a:lnTo>
                    <a:pt x="70739" y="287909"/>
                  </a:lnTo>
                  <a:lnTo>
                    <a:pt x="73278" y="290449"/>
                  </a:lnTo>
                  <a:lnTo>
                    <a:pt x="79628" y="290449"/>
                  </a:lnTo>
                  <a:lnTo>
                    <a:pt x="82296" y="287909"/>
                  </a:lnTo>
                  <a:lnTo>
                    <a:pt x="82296" y="281559"/>
                  </a:lnTo>
                  <a:lnTo>
                    <a:pt x="79628" y="278891"/>
                  </a:lnTo>
                  <a:close/>
                </a:path>
                <a:path w="317500" h="314325">
                  <a:moveTo>
                    <a:pt x="56006" y="278891"/>
                  </a:moveTo>
                  <a:lnTo>
                    <a:pt x="49656" y="278891"/>
                  </a:lnTo>
                  <a:lnTo>
                    <a:pt x="47117" y="281559"/>
                  </a:lnTo>
                  <a:lnTo>
                    <a:pt x="47117" y="287909"/>
                  </a:lnTo>
                  <a:lnTo>
                    <a:pt x="49656" y="290449"/>
                  </a:lnTo>
                  <a:lnTo>
                    <a:pt x="56006" y="290449"/>
                  </a:lnTo>
                  <a:lnTo>
                    <a:pt x="58674" y="287909"/>
                  </a:lnTo>
                  <a:lnTo>
                    <a:pt x="58674" y="281559"/>
                  </a:lnTo>
                  <a:lnTo>
                    <a:pt x="56006" y="278891"/>
                  </a:lnTo>
                  <a:close/>
                </a:path>
                <a:path w="317500" h="314325">
                  <a:moveTo>
                    <a:pt x="32639" y="278891"/>
                  </a:moveTo>
                  <a:lnTo>
                    <a:pt x="26162" y="278891"/>
                  </a:lnTo>
                  <a:lnTo>
                    <a:pt x="23622" y="281559"/>
                  </a:lnTo>
                  <a:lnTo>
                    <a:pt x="23622" y="287909"/>
                  </a:lnTo>
                  <a:lnTo>
                    <a:pt x="26162" y="290449"/>
                  </a:lnTo>
                  <a:lnTo>
                    <a:pt x="32639" y="290449"/>
                  </a:lnTo>
                  <a:lnTo>
                    <a:pt x="35178" y="287909"/>
                  </a:lnTo>
                  <a:lnTo>
                    <a:pt x="35178" y="281559"/>
                  </a:lnTo>
                  <a:lnTo>
                    <a:pt x="32639" y="278891"/>
                  </a:lnTo>
                  <a:close/>
                </a:path>
                <a:path w="317500" h="314325">
                  <a:moveTo>
                    <a:pt x="9017" y="278891"/>
                  </a:moveTo>
                  <a:lnTo>
                    <a:pt x="2540" y="278891"/>
                  </a:lnTo>
                  <a:lnTo>
                    <a:pt x="0" y="281559"/>
                  </a:lnTo>
                  <a:lnTo>
                    <a:pt x="0" y="287909"/>
                  </a:lnTo>
                  <a:lnTo>
                    <a:pt x="2540" y="290449"/>
                  </a:lnTo>
                  <a:lnTo>
                    <a:pt x="9017" y="290449"/>
                  </a:lnTo>
                  <a:lnTo>
                    <a:pt x="11556" y="287909"/>
                  </a:lnTo>
                  <a:lnTo>
                    <a:pt x="11556" y="281559"/>
                  </a:lnTo>
                  <a:lnTo>
                    <a:pt x="9017" y="278891"/>
                  </a:lnTo>
                  <a:close/>
                </a:path>
                <a:path w="317500" h="314325">
                  <a:moveTo>
                    <a:pt x="314071" y="255650"/>
                  </a:moveTo>
                  <a:lnTo>
                    <a:pt x="307594" y="255650"/>
                  </a:lnTo>
                  <a:lnTo>
                    <a:pt x="305053" y="258445"/>
                  </a:lnTo>
                  <a:lnTo>
                    <a:pt x="305053" y="264540"/>
                  </a:lnTo>
                  <a:lnTo>
                    <a:pt x="307594" y="267462"/>
                  </a:lnTo>
                  <a:lnTo>
                    <a:pt x="314071" y="267462"/>
                  </a:lnTo>
                  <a:lnTo>
                    <a:pt x="316992" y="264540"/>
                  </a:lnTo>
                  <a:lnTo>
                    <a:pt x="316992" y="258445"/>
                  </a:lnTo>
                  <a:lnTo>
                    <a:pt x="314071" y="255650"/>
                  </a:lnTo>
                  <a:close/>
                </a:path>
                <a:path w="317500" h="314325">
                  <a:moveTo>
                    <a:pt x="290956" y="255650"/>
                  </a:moveTo>
                  <a:lnTo>
                    <a:pt x="284606" y="255650"/>
                  </a:lnTo>
                  <a:lnTo>
                    <a:pt x="281940" y="258190"/>
                  </a:lnTo>
                  <a:lnTo>
                    <a:pt x="281940" y="264795"/>
                  </a:lnTo>
                  <a:lnTo>
                    <a:pt x="284606" y="267462"/>
                  </a:lnTo>
                  <a:lnTo>
                    <a:pt x="290956" y="267462"/>
                  </a:lnTo>
                  <a:lnTo>
                    <a:pt x="293497" y="264795"/>
                  </a:lnTo>
                  <a:lnTo>
                    <a:pt x="293497" y="258190"/>
                  </a:lnTo>
                  <a:lnTo>
                    <a:pt x="290956" y="255650"/>
                  </a:lnTo>
                  <a:close/>
                </a:path>
                <a:path w="317500" h="314325">
                  <a:moveTo>
                    <a:pt x="32639" y="255650"/>
                  </a:moveTo>
                  <a:lnTo>
                    <a:pt x="26162" y="255650"/>
                  </a:lnTo>
                  <a:lnTo>
                    <a:pt x="23622" y="258190"/>
                  </a:lnTo>
                  <a:lnTo>
                    <a:pt x="23622" y="264795"/>
                  </a:lnTo>
                  <a:lnTo>
                    <a:pt x="26162" y="267462"/>
                  </a:lnTo>
                  <a:lnTo>
                    <a:pt x="32639" y="267462"/>
                  </a:lnTo>
                  <a:lnTo>
                    <a:pt x="35178" y="264795"/>
                  </a:lnTo>
                  <a:lnTo>
                    <a:pt x="35178" y="258190"/>
                  </a:lnTo>
                  <a:lnTo>
                    <a:pt x="32639" y="255650"/>
                  </a:lnTo>
                  <a:close/>
                </a:path>
                <a:path w="317500" h="314325">
                  <a:moveTo>
                    <a:pt x="9017" y="255650"/>
                  </a:moveTo>
                  <a:lnTo>
                    <a:pt x="2540" y="255650"/>
                  </a:lnTo>
                  <a:lnTo>
                    <a:pt x="0" y="258190"/>
                  </a:lnTo>
                  <a:lnTo>
                    <a:pt x="0" y="264795"/>
                  </a:lnTo>
                  <a:lnTo>
                    <a:pt x="2540" y="267462"/>
                  </a:lnTo>
                  <a:lnTo>
                    <a:pt x="9017" y="267462"/>
                  </a:lnTo>
                  <a:lnTo>
                    <a:pt x="11556" y="264795"/>
                  </a:lnTo>
                  <a:lnTo>
                    <a:pt x="11556" y="258190"/>
                  </a:lnTo>
                  <a:lnTo>
                    <a:pt x="9017" y="255650"/>
                  </a:lnTo>
                  <a:close/>
                </a:path>
                <a:path w="317500" h="314325">
                  <a:moveTo>
                    <a:pt x="314071" y="232537"/>
                  </a:moveTo>
                  <a:lnTo>
                    <a:pt x="307594" y="232537"/>
                  </a:lnTo>
                  <a:lnTo>
                    <a:pt x="305053" y="235076"/>
                  </a:lnTo>
                  <a:lnTo>
                    <a:pt x="305053" y="241680"/>
                  </a:lnTo>
                  <a:lnTo>
                    <a:pt x="307594" y="244093"/>
                  </a:lnTo>
                  <a:lnTo>
                    <a:pt x="314071" y="244093"/>
                  </a:lnTo>
                  <a:lnTo>
                    <a:pt x="316992" y="241680"/>
                  </a:lnTo>
                  <a:lnTo>
                    <a:pt x="316992" y="235076"/>
                  </a:lnTo>
                  <a:lnTo>
                    <a:pt x="314071" y="232537"/>
                  </a:lnTo>
                  <a:close/>
                </a:path>
                <a:path w="317500" h="314325">
                  <a:moveTo>
                    <a:pt x="290956" y="232537"/>
                  </a:moveTo>
                  <a:lnTo>
                    <a:pt x="284606" y="232537"/>
                  </a:lnTo>
                  <a:lnTo>
                    <a:pt x="281940" y="235203"/>
                  </a:lnTo>
                  <a:lnTo>
                    <a:pt x="281940" y="241553"/>
                  </a:lnTo>
                  <a:lnTo>
                    <a:pt x="284606" y="244093"/>
                  </a:lnTo>
                  <a:lnTo>
                    <a:pt x="290956" y="244093"/>
                  </a:lnTo>
                  <a:lnTo>
                    <a:pt x="293497" y="241553"/>
                  </a:lnTo>
                  <a:lnTo>
                    <a:pt x="293497" y="235203"/>
                  </a:lnTo>
                  <a:lnTo>
                    <a:pt x="290956" y="232537"/>
                  </a:lnTo>
                  <a:close/>
                </a:path>
                <a:path w="317500" h="314325">
                  <a:moveTo>
                    <a:pt x="32639" y="232537"/>
                  </a:moveTo>
                  <a:lnTo>
                    <a:pt x="26162" y="232537"/>
                  </a:lnTo>
                  <a:lnTo>
                    <a:pt x="23622" y="235203"/>
                  </a:lnTo>
                  <a:lnTo>
                    <a:pt x="23622" y="241553"/>
                  </a:lnTo>
                  <a:lnTo>
                    <a:pt x="26162" y="244093"/>
                  </a:lnTo>
                  <a:lnTo>
                    <a:pt x="32639" y="244093"/>
                  </a:lnTo>
                  <a:lnTo>
                    <a:pt x="35178" y="241553"/>
                  </a:lnTo>
                  <a:lnTo>
                    <a:pt x="35178" y="235203"/>
                  </a:lnTo>
                  <a:lnTo>
                    <a:pt x="32639" y="232537"/>
                  </a:lnTo>
                  <a:close/>
                </a:path>
                <a:path w="317500" h="314325">
                  <a:moveTo>
                    <a:pt x="9017" y="232537"/>
                  </a:moveTo>
                  <a:lnTo>
                    <a:pt x="2540" y="232537"/>
                  </a:lnTo>
                  <a:lnTo>
                    <a:pt x="0" y="235203"/>
                  </a:lnTo>
                  <a:lnTo>
                    <a:pt x="0" y="241553"/>
                  </a:lnTo>
                  <a:lnTo>
                    <a:pt x="2540" y="244093"/>
                  </a:lnTo>
                  <a:lnTo>
                    <a:pt x="9017" y="244093"/>
                  </a:lnTo>
                  <a:lnTo>
                    <a:pt x="11556" y="241553"/>
                  </a:lnTo>
                  <a:lnTo>
                    <a:pt x="11556" y="235203"/>
                  </a:lnTo>
                  <a:lnTo>
                    <a:pt x="9017" y="232537"/>
                  </a:lnTo>
                  <a:close/>
                </a:path>
                <a:path w="317500" h="314325">
                  <a:moveTo>
                    <a:pt x="314071" y="209041"/>
                  </a:moveTo>
                  <a:lnTo>
                    <a:pt x="307594" y="209041"/>
                  </a:lnTo>
                  <a:lnTo>
                    <a:pt x="305053" y="211582"/>
                  </a:lnTo>
                  <a:lnTo>
                    <a:pt x="305053" y="218186"/>
                  </a:lnTo>
                  <a:lnTo>
                    <a:pt x="307594" y="220599"/>
                  </a:lnTo>
                  <a:lnTo>
                    <a:pt x="314071" y="220599"/>
                  </a:lnTo>
                  <a:lnTo>
                    <a:pt x="316992" y="218186"/>
                  </a:lnTo>
                  <a:lnTo>
                    <a:pt x="316992" y="211582"/>
                  </a:lnTo>
                  <a:lnTo>
                    <a:pt x="314071" y="209041"/>
                  </a:lnTo>
                  <a:close/>
                </a:path>
                <a:path w="317500" h="314325">
                  <a:moveTo>
                    <a:pt x="290956" y="209041"/>
                  </a:moveTo>
                  <a:lnTo>
                    <a:pt x="284606" y="209041"/>
                  </a:lnTo>
                  <a:lnTo>
                    <a:pt x="281940" y="211709"/>
                  </a:lnTo>
                  <a:lnTo>
                    <a:pt x="281940" y="218059"/>
                  </a:lnTo>
                  <a:lnTo>
                    <a:pt x="284606" y="220599"/>
                  </a:lnTo>
                  <a:lnTo>
                    <a:pt x="290956" y="220599"/>
                  </a:lnTo>
                  <a:lnTo>
                    <a:pt x="293497" y="218059"/>
                  </a:lnTo>
                  <a:lnTo>
                    <a:pt x="293497" y="211709"/>
                  </a:lnTo>
                  <a:lnTo>
                    <a:pt x="290956" y="209041"/>
                  </a:lnTo>
                  <a:close/>
                </a:path>
                <a:path w="317500" h="314325">
                  <a:moveTo>
                    <a:pt x="32639" y="209041"/>
                  </a:moveTo>
                  <a:lnTo>
                    <a:pt x="26162" y="209041"/>
                  </a:lnTo>
                  <a:lnTo>
                    <a:pt x="23622" y="211709"/>
                  </a:lnTo>
                  <a:lnTo>
                    <a:pt x="23622" y="218059"/>
                  </a:lnTo>
                  <a:lnTo>
                    <a:pt x="26162" y="220599"/>
                  </a:lnTo>
                  <a:lnTo>
                    <a:pt x="32639" y="220599"/>
                  </a:lnTo>
                  <a:lnTo>
                    <a:pt x="35178" y="218059"/>
                  </a:lnTo>
                  <a:lnTo>
                    <a:pt x="35178" y="211709"/>
                  </a:lnTo>
                  <a:lnTo>
                    <a:pt x="32639" y="209041"/>
                  </a:lnTo>
                  <a:close/>
                </a:path>
                <a:path w="317500" h="314325">
                  <a:moveTo>
                    <a:pt x="9017" y="209041"/>
                  </a:moveTo>
                  <a:lnTo>
                    <a:pt x="2540" y="209041"/>
                  </a:lnTo>
                  <a:lnTo>
                    <a:pt x="0" y="211709"/>
                  </a:lnTo>
                  <a:lnTo>
                    <a:pt x="0" y="218059"/>
                  </a:lnTo>
                  <a:lnTo>
                    <a:pt x="2540" y="220599"/>
                  </a:lnTo>
                  <a:lnTo>
                    <a:pt x="9017" y="220599"/>
                  </a:lnTo>
                  <a:lnTo>
                    <a:pt x="11556" y="218059"/>
                  </a:lnTo>
                  <a:lnTo>
                    <a:pt x="11556" y="211709"/>
                  </a:lnTo>
                  <a:lnTo>
                    <a:pt x="9017" y="209041"/>
                  </a:lnTo>
                  <a:close/>
                </a:path>
                <a:path w="317500" h="314325">
                  <a:moveTo>
                    <a:pt x="314071" y="185800"/>
                  </a:moveTo>
                  <a:lnTo>
                    <a:pt x="307594" y="185800"/>
                  </a:lnTo>
                  <a:lnTo>
                    <a:pt x="305053" y="188595"/>
                  </a:lnTo>
                  <a:lnTo>
                    <a:pt x="305053" y="195072"/>
                  </a:lnTo>
                  <a:lnTo>
                    <a:pt x="307594" y="197612"/>
                  </a:lnTo>
                  <a:lnTo>
                    <a:pt x="314071" y="197612"/>
                  </a:lnTo>
                  <a:lnTo>
                    <a:pt x="316992" y="195072"/>
                  </a:lnTo>
                  <a:lnTo>
                    <a:pt x="316992" y="188595"/>
                  </a:lnTo>
                  <a:lnTo>
                    <a:pt x="314071" y="185800"/>
                  </a:lnTo>
                  <a:close/>
                </a:path>
                <a:path w="317500" h="314325">
                  <a:moveTo>
                    <a:pt x="290702" y="185800"/>
                  </a:moveTo>
                  <a:lnTo>
                    <a:pt x="284479" y="185800"/>
                  </a:lnTo>
                  <a:lnTo>
                    <a:pt x="281940" y="188595"/>
                  </a:lnTo>
                  <a:lnTo>
                    <a:pt x="281940" y="195072"/>
                  </a:lnTo>
                  <a:lnTo>
                    <a:pt x="284479" y="197612"/>
                  </a:lnTo>
                  <a:lnTo>
                    <a:pt x="290702" y="197612"/>
                  </a:lnTo>
                  <a:lnTo>
                    <a:pt x="293497" y="195072"/>
                  </a:lnTo>
                  <a:lnTo>
                    <a:pt x="293497" y="188595"/>
                  </a:lnTo>
                  <a:lnTo>
                    <a:pt x="290702" y="185800"/>
                  </a:lnTo>
                  <a:close/>
                </a:path>
                <a:path w="317500" h="314325">
                  <a:moveTo>
                    <a:pt x="32766" y="185800"/>
                  </a:moveTo>
                  <a:lnTo>
                    <a:pt x="26543" y="185800"/>
                  </a:lnTo>
                  <a:lnTo>
                    <a:pt x="23622" y="188595"/>
                  </a:lnTo>
                  <a:lnTo>
                    <a:pt x="23622" y="195072"/>
                  </a:lnTo>
                  <a:lnTo>
                    <a:pt x="26543" y="197612"/>
                  </a:lnTo>
                  <a:lnTo>
                    <a:pt x="32766" y="197612"/>
                  </a:lnTo>
                  <a:lnTo>
                    <a:pt x="35178" y="195072"/>
                  </a:lnTo>
                  <a:lnTo>
                    <a:pt x="35178" y="188595"/>
                  </a:lnTo>
                  <a:lnTo>
                    <a:pt x="32766" y="185800"/>
                  </a:lnTo>
                  <a:close/>
                </a:path>
                <a:path w="317500" h="314325">
                  <a:moveTo>
                    <a:pt x="9144" y="185800"/>
                  </a:moveTo>
                  <a:lnTo>
                    <a:pt x="2921" y="185800"/>
                  </a:lnTo>
                  <a:lnTo>
                    <a:pt x="0" y="188595"/>
                  </a:lnTo>
                  <a:lnTo>
                    <a:pt x="0" y="195072"/>
                  </a:lnTo>
                  <a:lnTo>
                    <a:pt x="2921" y="197612"/>
                  </a:lnTo>
                  <a:lnTo>
                    <a:pt x="9144" y="197612"/>
                  </a:lnTo>
                  <a:lnTo>
                    <a:pt x="11556" y="195072"/>
                  </a:lnTo>
                  <a:lnTo>
                    <a:pt x="11556" y="188595"/>
                  </a:lnTo>
                  <a:lnTo>
                    <a:pt x="9144" y="185800"/>
                  </a:lnTo>
                  <a:close/>
                </a:path>
                <a:path w="317500" h="314325">
                  <a:moveTo>
                    <a:pt x="314071" y="162687"/>
                  </a:moveTo>
                  <a:lnTo>
                    <a:pt x="307594" y="162687"/>
                  </a:lnTo>
                  <a:lnTo>
                    <a:pt x="305053" y="165608"/>
                  </a:lnTo>
                  <a:lnTo>
                    <a:pt x="305053" y="171830"/>
                  </a:lnTo>
                  <a:lnTo>
                    <a:pt x="307594" y="174243"/>
                  </a:lnTo>
                  <a:lnTo>
                    <a:pt x="314071" y="174243"/>
                  </a:lnTo>
                  <a:lnTo>
                    <a:pt x="316992" y="171830"/>
                  </a:lnTo>
                  <a:lnTo>
                    <a:pt x="316992" y="165608"/>
                  </a:lnTo>
                  <a:lnTo>
                    <a:pt x="314071" y="162687"/>
                  </a:lnTo>
                  <a:close/>
                </a:path>
                <a:path w="317500" h="314325">
                  <a:moveTo>
                    <a:pt x="290956" y="162687"/>
                  </a:moveTo>
                  <a:lnTo>
                    <a:pt x="284606" y="162687"/>
                  </a:lnTo>
                  <a:lnTo>
                    <a:pt x="281940" y="165353"/>
                  </a:lnTo>
                  <a:lnTo>
                    <a:pt x="281940" y="171703"/>
                  </a:lnTo>
                  <a:lnTo>
                    <a:pt x="284606" y="174243"/>
                  </a:lnTo>
                  <a:lnTo>
                    <a:pt x="290956" y="174243"/>
                  </a:lnTo>
                  <a:lnTo>
                    <a:pt x="293497" y="171703"/>
                  </a:lnTo>
                  <a:lnTo>
                    <a:pt x="293497" y="165353"/>
                  </a:lnTo>
                  <a:lnTo>
                    <a:pt x="290956" y="162687"/>
                  </a:lnTo>
                  <a:close/>
                </a:path>
                <a:path w="317500" h="314325">
                  <a:moveTo>
                    <a:pt x="32639" y="162687"/>
                  </a:moveTo>
                  <a:lnTo>
                    <a:pt x="26162" y="162687"/>
                  </a:lnTo>
                  <a:lnTo>
                    <a:pt x="23622" y="165353"/>
                  </a:lnTo>
                  <a:lnTo>
                    <a:pt x="23622" y="171703"/>
                  </a:lnTo>
                  <a:lnTo>
                    <a:pt x="26162" y="174243"/>
                  </a:lnTo>
                  <a:lnTo>
                    <a:pt x="32639" y="174243"/>
                  </a:lnTo>
                  <a:lnTo>
                    <a:pt x="35178" y="171703"/>
                  </a:lnTo>
                  <a:lnTo>
                    <a:pt x="35178" y="165353"/>
                  </a:lnTo>
                  <a:lnTo>
                    <a:pt x="32639" y="162687"/>
                  </a:lnTo>
                  <a:close/>
                </a:path>
                <a:path w="317500" h="314325">
                  <a:moveTo>
                    <a:pt x="9017" y="162687"/>
                  </a:moveTo>
                  <a:lnTo>
                    <a:pt x="2540" y="162687"/>
                  </a:lnTo>
                  <a:lnTo>
                    <a:pt x="0" y="165353"/>
                  </a:lnTo>
                  <a:lnTo>
                    <a:pt x="0" y="171703"/>
                  </a:lnTo>
                  <a:lnTo>
                    <a:pt x="2540" y="174243"/>
                  </a:lnTo>
                  <a:lnTo>
                    <a:pt x="9017" y="174243"/>
                  </a:lnTo>
                  <a:lnTo>
                    <a:pt x="11556" y="171703"/>
                  </a:lnTo>
                  <a:lnTo>
                    <a:pt x="11556" y="165353"/>
                  </a:lnTo>
                  <a:lnTo>
                    <a:pt x="9017" y="162687"/>
                  </a:lnTo>
                  <a:close/>
                </a:path>
                <a:path w="317500" h="314325">
                  <a:moveTo>
                    <a:pt x="314071" y="139700"/>
                  </a:moveTo>
                  <a:lnTo>
                    <a:pt x="307594" y="139700"/>
                  </a:lnTo>
                  <a:lnTo>
                    <a:pt x="305053" y="142112"/>
                  </a:lnTo>
                  <a:lnTo>
                    <a:pt x="305053" y="148336"/>
                  </a:lnTo>
                  <a:lnTo>
                    <a:pt x="307594" y="151257"/>
                  </a:lnTo>
                  <a:lnTo>
                    <a:pt x="314071" y="151257"/>
                  </a:lnTo>
                  <a:lnTo>
                    <a:pt x="316992" y="148336"/>
                  </a:lnTo>
                  <a:lnTo>
                    <a:pt x="316992" y="142112"/>
                  </a:lnTo>
                  <a:lnTo>
                    <a:pt x="314071" y="139700"/>
                  </a:lnTo>
                  <a:close/>
                </a:path>
                <a:path w="317500" h="314325">
                  <a:moveTo>
                    <a:pt x="290956" y="139700"/>
                  </a:moveTo>
                  <a:lnTo>
                    <a:pt x="284606" y="139700"/>
                  </a:lnTo>
                  <a:lnTo>
                    <a:pt x="281940" y="142239"/>
                  </a:lnTo>
                  <a:lnTo>
                    <a:pt x="281940" y="148589"/>
                  </a:lnTo>
                  <a:lnTo>
                    <a:pt x="284606" y="151257"/>
                  </a:lnTo>
                  <a:lnTo>
                    <a:pt x="290956" y="151257"/>
                  </a:lnTo>
                  <a:lnTo>
                    <a:pt x="293497" y="148589"/>
                  </a:lnTo>
                  <a:lnTo>
                    <a:pt x="293497" y="142239"/>
                  </a:lnTo>
                  <a:lnTo>
                    <a:pt x="290956" y="139700"/>
                  </a:lnTo>
                  <a:close/>
                </a:path>
                <a:path w="317500" h="314325">
                  <a:moveTo>
                    <a:pt x="32639" y="139700"/>
                  </a:moveTo>
                  <a:lnTo>
                    <a:pt x="26162" y="139700"/>
                  </a:lnTo>
                  <a:lnTo>
                    <a:pt x="23622" y="142239"/>
                  </a:lnTo>
                  <a:lnTo>
                    <a:pt x="23622" y="148589"/>
                  </a:lnTo>
                  <a:lnTo>
                    <a:pt x="26162" y="151257"/>
                  </a:lnTo>
                  <a:lnTo>
                    <a:pt x="32639" y="151257"/>
                  </a:lnTo>
                  <a:lnTo>
                    <a:pt x="35178" y="148589"/>
                  </a:lnTo>
                  <a:lnTo>
                    <a:pt x="35178" y="142239"/>
                  </a:lnTo>
                  <a:lnTo>
                    <a:pt x="32639" y="139700"/>
                  </a:lnTo>
                  <a:close/>
                </a:path>
                <a:path w="317500" h="314325">
                  <a:moveTo>
                    <a:pt x="9017" y="139700"/>
                  </a:moveTo>
                  <a:lnTo>
                    <a:pt x="2540" y="139700"/>
                  </a:lnTo>
                  <a:lnTo>
                    <a:pt x="0" y="142239"/>
                  </a:lnTo>
                  <a:lnTo>
                    <a:pt x="0" y="148589"/>
                  </a:lnTo>
                  <a:lnTo>
                    <a:pt x="2540" y="151257"/>
                  </a:lnTo>
                  <a:lnTo>
                    <a:pt x="9017" y="151257"/>
                  </a:lnTo>
                  <a:lnTo>
                    <a:pt x="11556" y="148589"/>
                  </a:lnTo>
                  <a:lnTo>
                    <a:pt x="11556" y="142239"/>
                  </a:lnTo>
                  <a:lnTo>
                    <a:pt x="9017" y="139700"/>
                  </a:lnTo>
                  <a:close/>
                </a:path>
                <a:path w="317500" h="314325">
                  <a:moveTo>
                    <a:pt x="314071" y="116204"/>
                  </a:moveTo>
                  <a:lnTo>
                    <a:pt x="307594" y="116204"/>
                  </a:lnTo>
                  <a:lnTo>
                    <a:pt x="305053" y="118617"/>
                  </a:lnTo>
                  <a:lnTo>
                    <a:pt x="305053" y="125222"/>
                  </a:lnTo>
                  <a:lnTo>
                    <a:pt x="307594" y="127762"/>
                  </a:lnTo>
                  <a:lnTo>
                    <a:pt x="314071" y="127762"/>
                  </a:lnTo>
                  <a:lnTo>
                    <a:pt x="316992" y="125222"/>
                  </a:lnTo>
                  <a:lnTo>
                    <a:pt x="316992" y="118617"/>
                  </a:lnTo>
                  <a:lnTo>
                    <a:pt x="314071" y="116204"/>
                  </a:lnTo>
                  <a:close/>
                </a:path>
                <a:path w="317500" h="314325">
                  <a:moveTo>
                    <a:pt x="290956" y="116204"/>
                  </a:moveTo>
                  <a:lnTo>
                    <a:pt x="284606" y="116204"/>
                  </a:lnTo>
                  <a:lnTo>
                    <a:pt x="281940" y="118745"/>
                  </a:lnTo>
                  <a:lnTo>
                    <a:pt x="281940" y="125095"/>
                  </a:lnTo>
                  <a:lnTo>
                    <a:pt x="284606" y="127762"/>
                  </a:lnTo>
                  <a:lnTo>
                    <a:pt x="290956" y="127762"/>
                  </a:lnTo>
                  <a:lnTo>
                    <a:pt x="293497" y="125095"/>
                  </a:lnTo>
                  <a:lnTo>
                    <a:pt x="293497" y="118745"/>
                  </a:lnTo>
                  <a:lnTo>
                    <a:pt x="290956" y="116204"/>
                  </a:lnTo>
                  <a:close/>
                </a:path>
                <a:path w="317500" h="314325">
                  <a:moveTo>
                    <a:pt x="32639" y="116204"/>
                  </a:moveTo>
                  <a:lnTo>
                    <a:pt x="26162" y="116204"/>
                  </a:lnTo>
                  <a:lnTo>
                    <a:pt x="23622" y="118745"/>
                  </a:lnTo>
                  <a:lnTo>
                    <a:pt x="23622" y="125095"/>
                  </a:lnTo>
                  <a:lnTo>
                    <a:pt x="26162" y="127762"/>
                  </a:lnTo>
                  <a:lnTo>
                    <a:pt x="32639" y="127762"/>
                  </a:lnTo>
                  <a:lnTo>
                    <a:pt x="35178" y="125095"/>
                  </a:lnTo>
                  <a:lnTo>
                    <a:pt x="35178" y="118745"/>
                  </a:lnTo>
                  <a:lnTo>
                    <a:pt x="32639" y="116204"/>
                  </a:lnTo>
                  <a:close/>
                </a:path>
                <a:path w="317500" h="314325">
                  <a:moveTo>
                    <a:pt x="9017" y="116204"/>
                  </a:moveTo>
                  <a:lnTo>
                    <a:pt x="2540" y="116204"/>
                  </a:lnTo>
                  <a:lnTo>
                    <a:pt x="0" y="118745"/>
                  </a:lnTo>
                  <a:lnTo>
                    <a:pt x="0" y="125095"/>
                  </a:lnTo>
                  <a:lnTo>
                    <a:pt x="2540" y="127762"/>
                  </a:lnTo>
                  <a:lnTo>
                    <a:pt x="9017" y="127762"/>
                  </a:lnTo>
                  <a:lnTo>
                    <a:pt x="11556" y="125095"/>
                  </a:lnTo>
                  <a:lnTo>
                    <a:pt x="11556" y="118745"/>
                  </a:lnTo>
                  <a:lnTo>
                    <a:pt x="9017" y="116204"/>
                  </a:lnTo>
                  <a:close/>
                </a:path>
                <a:path w="317500" h="314325">
                  <a:moveTo>
                    <a:pt x="314071" y="92837"/>
                  </a:moveTo>
                  <a:lnTo>
                    <a:pt x="307594" y="92837"/>
                  </a:lnTo>
                  <a:lnTo>
                    <a:pt x="305053" y="95376"/>
                  </a:lnTo>
                  <a:lnTo>
                    <a:pt x="305053" y="102235"/>
                  </a:lnTo>
                  <a:lnTo>
                    <a:pt x="307594" y="104648"/>
                  </a:lnTo>
                  <a:lnTo>
                    <a:pt x="314071" y="104648"/>
                  </a:lnTo>
                  <a:lnTo>
                    <a:pt x="316992" y="102235"/>
                  </a:lnTo>
                  <a:lnTo>
                    <a:pt x="316992" y="95376"/>
                  </a:lnTo>
                  <a:lnTo>
                    <a:pt x="314071" y="92837"/>
                  </a:lnTo>
                  <a:close/>
                </a:path>
                <a:path w="317500" h="314325">
                  <a:moveTo>
                    <a:pt x="290956" y="92837"/>
                  </a:moveTo>
                  <a:lnTo>
                    <a:pt x="284606" y="92837"/>
                  </a:lnTo>
                  <a:lnTo>
                    <a:pt x="281940" y="95503"/>
                  </a:lnTo>
                  <a:lnTo>
                    <a:pt x="281940" y="102108"/>
                  </a:lnTo>
                  <a:lnTo>
                    <a:pt x="284606" y="104648"/>
                  </a:lnTo>
                  <a:lnTo>
                    <a:pt x="290956" y="104648"/>
                  </a:lnTo>
                  <a:lnTo>
                    <a:pt x="293497" y="102108"/>
                  </a:lnTo>
                  <a:lnTo>
                    <a:pt x="293497" y="95503"/>
                  </a:lnTo>
                  <a:lnTo>
                    <a:pt x="290956" y="92837"/>
                  </a:lnTo>
                  <a:close/>
                </a:path>
                <a:path w="317500" h="314325">
                  <a:moveTo>
                    <a:pt x="32639" y="92837"/>
                  </a:moveTo>
                  <a:lnTo>
                    <a:pt x="26162" y="92837"/>
                  </a:lnTo>
                  <a:lnTo>
                    <a:pt x="23622" y="95503"/>
                  </a:lnTo>
                  <a:lnTo>
                    <a:pt x="23622" y="102108"/>
                  </a:lnTo>
                  <a:lnTo>
                    <a:pt x="26162" y="104648"/>
                  </a:lnTo>
                  <a:lnTo>
                    <a:pt x="32639" y="104648"/>
                  </a:lnTo>
                  <a:lnTo>
                    <a:pt x="35178" y="102108"/>
                  </a:lnTo>
                  <a:lnTo>
                    <a:pt x="35178" y="95503"/>
                  </a:lnTo>
                  <a:lnTo>
                    <a:pt x="32639" y="92837"/>
                  </a:lnTo>
                  <a:close/>
                </a:path>
                <a:path w="317500" h="314325">
                  <a:moveTo>
                    <a:pt x="9017" y="92837"/>
                  </a:moveTo>
                  <a:lnTo>
                    <a:pt x="2540" y="92837"/>
                  </a:lnTo>
                  <a:lnTo>
                    <a:pt x="0" y="95503"/>
                  </a:lnTo>
                  <a:lnTo>
                    <a:pt x="0" y="102108"/>
                  </a:lnTo>
                  <a:lnTo>
                    <a:pt x="2540" y="104648"/>
                  </a:lnTo>
                  <a:lnTo>
                    <a:pt x="9017" y="104648"/>
                  </a:lnTo>
                  <a:lnTo>
                    <a:pt x="11556" y="102108"/>
                  </a:lnTo>
                  <a:lnTo>
                    <a:pt x="11556" y="95503"/>
                  </a:lnTo>
                  <a:lnTo>
                    <a:pt x="9017" y="92837"/>
                  </a:lnTo>
                  <a:close/>
                </a:path>
                <a:path w="317500" h="314325">
                  <a:moveTo>
                    <a:pt x="314071" y="69850"/>
                  </a:moveTo>
                  <a:lnTo>
                    <a:pt x="307594" y="69850"/>
                  </a:lnTo>
                  <a:lnTo>
                    <a:pt x="305053" y="72262"/>
                  </a:lnTo>
                  <a:lnTo>
                    <a:pt x="305053" y="78866"/>
                  </a:lnTo>
                  <a:lnTo>
                    <a:pt x="307594" y="81407"/>
                  </a:lnTo>
                  <a:lnTo>
                    <a:pt x="314071" y="81407"/>
                  </a:lnTo>
                  <a:lnTo>
                    <a:pt x="316992" y="78866"/>
                  </a:lnTo>
                  <a:lnTo>
                    <a:pt x="316992" y="72262"/>
                  </a:lnTo>
                  <a:lnTo>
                    <a:pt x="314071" y="69850"/>
                  </a:lnTo>
                  <a:close/>
                </a:path>
                <a:path w="317500" h="314325">
                  <a:moveTo>
                    <a:pt x="290956" y="69850"/>
                  </a:moveTo>
                  <a:lnTo>
                    <a:pt x="284606" y="69850"/>
                  </a:lnTo>
                  <a:lnTo>
                    <a:pt x="281940" y="72389"/>
                  </a:lnTo>
                  <a:lnTo>
                    <a:pt x="281940" y="78739"/>
                  </a:lnTo>
                  <a:lnTo>
                    <a:pt x="284606" y="81407"/>
                  </a:lnTo>
                  <a:lnTo>
                    <a:pt x="290956" y="81407"/>
                  </a:lnTo>
                  <a:lnTo>
                    <a:pt x="293497" y="78739"/>
                  </a:lnTo>
                  <a:lnTo>
                    <a:pt x="293497" y="72389"/>
                  </a:lnTo>
                  <a:lnTo>
                    <a:pt x="290956" y="69850"/>
                  </a:lnTo>
                  <a:close/>
                </a:path>
                <a:path w="317500" h="314325">
                  <a:moveTo>
                    <a:pt x="32639" y="69850"/>
                  </a:moveTo>
                  <a:lnTo>
                    <a:pt x="26162" y="69850"/>
                  </a:lnTo>
                  <a:lnTo>
                    <a:pt x="23622" y="72389"/>
                  </a:lnTo>
                  <a:lnTo>
                    <a:pt x="23622" y="78739"/>
                  </a:lnTo>
                  <a:lnTo>
                    <a:pt x="26162" y="81407"/>
                  </a:lnTo>
                  <a:lnTo>
                    <a:pt x="32639" y="81407"/>
                  </a:lnTo>
                  <a:lnTo>
                    <a:pt x="35178" y="78739"/>
                  </a:lnTo>
                  <a:lnTo>
                    <a:pt x="35178" y="72389"/>
                  </a:lnTo>
                  <a:lnTo>
                    <a:pt x="32639" y="69850"/>
                  </a:lnTo>
                  <a:close/>
                </a:path>
                <a:path w="317500" h="314325">
                  <a:moveTo>
                    <a:pt x="9017" y="69850"/>
                  </a:moveTo>
                  <a:lnTo>
                    <a:pt x="2540" y="69850"/>
                  </a:lnTo>
                  <a:lnTo>
                    <a:pt x="0" y="72389"/>
                  </a:lnTo>
                  <a:lnTo>
                    <a:pt x="0" y="78739"/>
                  </a:lnTo>
                  <a:lnTo>
                    <a:pt x="2540" y="81407"/>
                  </a:lnTo>
                  <a:lnTo>
                    <a:pt x="9017" y="81407"/>
                  </a:lnTo>
                  <a:lnTo>
                    <a:pt x="11556" y="78739"/>
                  </a:lnTo>
                  <a:lnTo>
                    <a:pt x="11556" y="72389"/>
                  </a:lnTo>
                  <a:lnTo>
                    <a:pt x="9017" y="69850"/>
                  </a:lnTo>
                  <a:close/>
                </a:path>
                <a:path w="317500" h="314325">
                  <a:moveTo>
                    <a:pt x="314071" y="46354"/>
                  </a:moveTo>
                  <a:lnTo>
                    <a:pt x="307594" y="46354"/>
                  </a:lnTo>
                  <a:lnTo>
                    <a:pt x="305053" y="49275"/>
                  </a:lnTo>
                  <a:lnTo>
                    <a:pt x="305053" y="55372"/>
                  </a:lnTo>
                  <a:lnTo>
                    <a:pt x="307594" y="57912"/>
                  </a:lnTo>
                  <a:lnTo>
                    <a:pt x="314071" y="57912"/>
                  </a:lnTo>
                  <a:lnTo>
                    <a:pt x="316992" y="55372"/>
                  </a:lnTo>
                  <a:lnTo>
                    <a:pt x="316992" y="49275"/>
                  </a:lnTo>
                  <a:lnTo>
                    <a:pt x="314071" y="46354"/>
                  </a:lnTo>
                  <a:close/>
                </a:path>
                <a:path w="317500" h="314325">
                  <a:moveTo>
                    <a:pt x="290956" y="46354"/>
                  </a:moveTo>
                  <a:lnTo>
                    <a:pt x="284606" y="46354"/>
                  </a:lnTo>
                  <a:lnTo>
                    <a:pt x="281940" y="48895"/>
                  </a:lnTo>
                  <a:lnTo>
                    <a:pt x="281940" y="55245"/>
                  </a:lnTo>
                  <a:lnTo>
                    <a:pt x="284606" y="57912"/>
                  </a:lnTo>
                  <a:lnTo>
                    <a:pt x="290956" y="57912"/>
                  </a:lnTo>
                  <a:lnTo>
                    <a:pt x="293497" y="55245"/>
                  </a:lnTo>
                  <a:lnTo>
                    <a:pt x="293497" y="48895"/>
                  </a:lnTo>
                  <a:lnTo>
                    <a:pt x="290956" y="46354"/>
                  </a:lnTo>
                  <a:close/>
                </a:path>
                <a:path w="317500" h="314325">
                  <a:moveTo>
                    <a:pt x="32639" y="46354"/>
                  </a:moveTo>
                  <a:lnTo>
                    <a:pt x="26162" y="46354"/>
                  </a:lnTo>
                  <a:lnTo>
                    <a:pt x="23622" y="48895"/>
                  </a:lnTo>
                  <a:lnTo>
                    <a:pt x="23622" y="55245"/>
                  </a:lnTo>
                  <a:lnTo>
                    <a:pt x="26162" y="57912"/>
                  </a:lnTo>
                  <a:lnTo>
                    <a:pt x="32639" y="57912"/>
                  </a:lnTo>
                  <a:lnTo>
                    <a:pt x="35178" y="55245"/>
                  </a:lnTo>
                  <a:lnTo>
                    <a:pt x="35178" y="48895"/>
                  </a:lnTo>
                  <a:lnTo>
                    <a:pt x="32639" y="46354"/>
                  </a:lnTo>
                  <a:close/>
                </a:path>
                <a:path w="317500" h="314325">
                  <a:moveTo>
                    <a:pt x="9017" y="46354"/>
                  </a:moveTo>
                  <a:lnTo>
                    <a:pt x="2540" y="46354"/>
                  </a:lnTo>
                  <a:lnTo>
                    <a:pt x="0" y="48895"/>
                  </a:lnTo>
                  <a:lnTo>
                    <a:pt x="0" y="55245"/>
                  </a:lnTo>
                  <a:lnTo>
                    <a:pt x="2540" y="57912"/>
                  </a:lnTo>
                  <a:lnTo>
                    <a:pt x="9017" y="57912"/>
                  </a:lnTo>
                  <a:lnTo>
                    <a:pt x="11556" y="55245"/>
                  </a:lnTo>
                  <a:lnTo>
                    <a:pt x="11556" y="48895"/>
                  </a:lnTo>
                  <a:lnTo>
                    <a:pt x="9017" y="46354"/>
                  </a:lnTo>
                  <a:close/>
                </a:path>
                <a:path w="317500" h="314325">
                  <a:moveTo>
                    <a:pt x="314071" y="23367"/>
                  </a:moveTo>
                  <a:lnTo>
                    <a:pt x="307594" y="23367"/>
                  </a:lnTo>
                  <a:lnTo>
                    <a:pt x="305053" y="25780"/>
                  </a:lnTo>
                  <a:lnTo>
                    <a:pt x="305053" y="32003"/>
                  </a:lnTo>
                  <a:lnTo>
                    <a:pt x="307594" y="34798"/>
                  </a:lnTo>
                  <a:lnTo>
                    <a:pt x="314071" y="34798"/>
                  </a:lnTo>
                  <a:lnTo>
                    <a:pt x="316992" y="32003"/>
                  </a:lnTo>
                  <a:lnTo>
                    <a:pt x="316992" y="25780"/>
                  </a:lnTo>
                  <a:lnTo>
                    <a:pt x="314071" y="23367"/>
                  </a:lnTo>
                  <a:close/>
                </a:path>
                <a:path w="317500" h="314325">
                  <a:moveTo>
                    <a:pt x="290956" y="23367"/>
                  </a:moveTo>
                  <a:lnTo>
                    <a:pt x="284606" y="23367"/>
                  </a:lnTo>
                  <a:lnTo>
                    <a:pt x="281940" y="25908"/>
                  </a:lnTo>
                  <a:lnTo>
                    <a:pt x="281940" y="32258"/>
                  </a:lnTo>
                  <a:lnTo>
                    <a:pt x="284606" y="34798"/>
                  </a:lnTo>
                  <a:lnTo>
                    <a:pt x="290956" y="34798"/>
                  </a:lnTo>
                  <a:lnTo>
                    <a:pt x="293497" y="32258"/>
                  </a:lnTo>
                  <a:lnTo>
                    <a:pt x="293497" y="25908"/>
                  </a:lnTo>
                  <a:lnTo>
                    <a:pt x="290956" y="23367"/>
                  </a:lnTo>
                  <a:close/>
                </a:path>
                <a:path w="317500" h="314325">
                  <a:moveTo>
                    <a:pt x="267462" y="23367"/>
                  </a:moveTo>
                  <a:lnTo>
                    <a:pt x="261112" y="23367"/>
                  </a:lnTo>
                  <a:lnTo>
                    <a:pt x="258445" y="25908"/>
                  </a:lnTo>
                  <a:lnTo>
                    <a:pt x="258445" y="32258"/>
                  </a:lnTo>
                  <a:lnTo>
                    <a:pt x="261112" y="34798"/>
                  </a:lnTo>
                  <a:lnTo>
                    <a:pt x="267462" y="34798"/>
                  </a:lnTo>
                  <a:lnTo>
                    <a:pt x="270128" y="32258"/>
                  </a:lnTo>
                  <a:lnTo>
                    <a:pt x="270128" y="25908"/>
                  </a:lnTo>
                  <a:lnTo>
                    <a:pt x="267462" y="23367"/>
                  </a:lnTo>
                  <a:close/>
                </a:path>
                <a:path w="317500" h="314325">
                  <a:moveTo>
                    <a:pt x="243840" y="23367"/>
                  </a:moveTo>
                  <a:lnTo>
                    <a:pt x="237236" y="23367"/>
                  </a:lnTo>
                  <a:lnTo>
                    <a:pt x="234569" y="25908"/>
                  </a:lnTo>
                  <a:lnTo>
                    <a:pt x="234569" y="32258"/>
                  </a:lnTo>
                  <a:lnTo>
                    <a:pt x="237236" y="34798"/>
                  </a:lnTo>
                  <a:lnTo>
                    <a:pt x="243840" y="34798"/>
                  </a:lnTo>
                  <a:lnTo>
                    <a:pt x="246506" y="32258"/>
                  </a:lnTo>
                  <a:lnTo>
                    <a:pt x="246506" y="25908"/>
                  </a:lnTo>
                  <a:lnTo>
                    <a:pt x="243840" y="23367"/>
                  </a:lnTo>
                  <a:close/>
                </a:path>
                <a:path w="317500" h="314325">
                  <a:moveTo>
                    <a:pt x="220345" y="23367"/>
                  </a:moveTo>
                  <a:lnTo>
                    <a:pt x="213614" y="23367"/>
                  </a:lnTo>
                  <a:lnTo>
                    <a:pt x="210947" y="25908"/>
                  </a:lnTo>
                  <a:lnTo>
                    <a:pt x="210947" y="32258"/>
                  </a:lnTo>
                  <a:lnTo>
                    <a:pt x="213614" y="34798"/>
                  </a:lnTo>
                  <a:lnTo>
                    <a:pt x="220345" y="34798"/>
                  </a:lnTo>
                  <a:lnTo>
                    <a:pt x="223012" y="32258"/>
                  </a:lnTo>
                  <a:lnTo>
                    <a:pt x="223012" y="25908"/>
                  </a:lnTo>
                  <a:lnTo>
                    <a:pt x="220345" y="23367"/>
                  </a:lnTo>
                  <a:close/>
                </a:path>
                <a:path w="317500" h="314325">
                  <a:moveTo>
                    <a:pt x="196850" y="23367"/>
                  </a:moveTo>
                  <a:lnTo>
                    <a:pt x="190373" y="23367"/>
                  </a:lnTo>
                  <a:lnTo>
                    <a:pt x="187833" y="25908"/>
                  </a:lnTo>
                  <a:lnTo>
                    <a:pt x="187833" y="32258"/>
                  </a:lnTo>
                  <a:lnTo>
                    <a:pt x="190373" y="34798"/>
                  </a:lnTo>
                  <a:lnTo>
                    <a:pt x="196850" y="34798"/>
                  </a:lnTo>
                  <a:lnTo>
                    <a:pt x="199390" y="32258"/>
                  </a:lnTo>
                  <a:lnTo>
                    <a:pt x="199390" y="25908"/>
                  </a:lnTo>
                  <a:lnTo>
                    <a:pt x="196850" y="23367"/>
                  </a:lnTo>
                  <a:close/>
                </a:path>
                <a:path w="317500" h="314325">
                  <a:moveTo>
                    <a:pt x="173354" y="23367"/>
                  </a:moveTo>
                  <a:lnTo>
                    <a:pt x="167004" y="23367"/>
                  </a:lnTo>
                  <a:lnTo>
                    <a:pt x="164338" y="25908"/>
                  </a:lnTo>
                  <a:lnTo>
                    <a:pt x="164338" y="32258"/>
                  </a:lnTo>
                  <a:lnTo>
                    <a:pt x="167004" y="34798"/>
                  </a:lnTo>
                  <a:lnTo>
                    <a:pt x="173354" y="34798"/>
                  </a:lnTo>
                  <a:lnTo>
                    <a:pt x="175895" y="32258"/>
                  </a:lnTo>
                  <a:lnTo>
                    <a:pt x="175895" y="25908"/>
                  </a:lnTo>
                  <a:lnTo>
                    <a:pt x="173354" y="23367"/>
                  </a:lnTo>
                  <a:close/>
                </a:path>
                <a:path w="317500" h="314325">
                  <a:moveTo>
                    <a:pt x="150114" y="23367"/>
                  </a:moveTo>
                  <a:lnTo>
                    <a:pt x="143383" y="23367"/>
                  </a:lnTo>
                  <a:lnTo>
                    <a:pt x="140716" y="25908"/>
                  </a:lnTo>
                  <a:lnTo>
                    <a:pt x="140716" y="32258"/>
                  </a:lnTo>
                  <a:lnTo>
                    <a:pt x="143383" y="34798"/>
                  </a:lnTo>
                  <a:lnTo>
                    <a:pt x="150114" y="34798"/>
                  </a:lnTo>
                  <a:lnTo>
                    <a:pt x="152780" y="32258"/>
                  </a:lnTo>
                  <a:lnTo>
                    <a:pt x="152780" y="25908"/>
                  </a:lnTo>
                  <a:lnTo>
                    <a:pt x="150114" y="23367"/>
                  </a:lnTo>
                  <a:close/>
                </a:path>
                <a:path w="317500" h="314325">
                  <a:moveTo>
                    <a:pt x="126619" y="23367"/>
                  </a:moveTo>
                  <a:lnTo>
                    <a:pt x="120015" y="23367"/>
                  </a:lnTo>
                  <a:lnTo>
                    <a:pt x="117348" y="25908"/>
                  </a:lnTo>
                  <a:lnTo>
                    <a:pt x="117348" y="32258"/>
                  </a:lnTo>
                  <a:lnTo>
                    <a:pt x="120015" y="34798"/>
                  </a:lnTo>
                  <a:lnTo>
                    <a:pt x="126619" y="34798"/>
                  </a:lnTo>
                  <a:lnTo>
                    <a:pt x="129286" y="32258"/>
                  </a:lnTo>
                  <a:lnTo>
                    <a:pt x="129286" y="25908"/>
                  </a:lnTo>
                  <a:lnTo>
                    <a:pt x="126619" y="23367"/>
                  </a:lnTo>
                  <a:close/>
                </a:path>
                <a:path w="317500" h="314325">
                  <a:moveTo>
                    <a:pt x="103124" y="23367"/>
                  </a:moveTo>
                  <a:lnTo>
                    <a:pt x="96774" y="23367"/>
                  </a:lnTo>
                  <a:lnTo>
                    <a:pt x="94106" y="25908"/>
                  </a:lnTo>
                  <a:lnTo>
                    <a:pt x="94106" y="32258"/>
                  </a:lnTo>
                  <a:lnTo>
                    <a:pt x="96774" y="34798"/>
                  </a:lnTo>
                  <a:lnTo>
                    <a:pt x="103124" y="34798"/>
                  </a:lnTo>
                  <a:lnTo>
                    <a:pt x="105664" y="32258"/>
                  </a:lnTo>
                  <a:lnTo>
                    <a:pt x="105664" y="25908"/>
                  </a:lnTo>
                  <a:lnTo>
                    <a:pt x="103124" y="23367"/>
                  </a:lnTo>
                  <a:close/>
                </a:path>
                <a:path w="317500" h="314325">
                  <a:moveTo>
                    <a:pt x="79628" y="23367"/>
                  </a:moveTo>
                  <a:lnTo>
                    <a:pt x="73278" y="23367"/>
                  </a:lnTo>
                  <a:lnTo>
                    <a:pt x="70739" y="25908"/>
                  </a:lnTo>
                  <a:lnTo>
                    <a:pt x="70739" y="32258"/>
                  </a:lnTo>
                  <a:lnTo>
                    <a:pt x="73278" y="34798"/>
                  </a:lnTo>
                  <a:lnTo>
                    <a:pt x="79628" y="34798"/>
                  </a:lnTo>
                  <a:lnTo>
                    <a:pt x="82296" y="32258"/>
                  </a:lnTo>
                  <a:lnTo>
                    <a:pt x="82296" y="25908"/>
                  </a:lnTo>
                  <a:lnTo>
                    <a:pt x="79628" y="23367"/>
                  </a:lnTo>
                  <a:close/>
                </a:path>
                <a:path w="317500" h="314325">
                  <a:moveTo>
                    <a:pt x="56006" y="23367"/>
                  </a:moveTo>
                  <a:lnTo>
                    <a:pt x="49656" y="23367"/>
                  </a:lnTo>
                  <a:lnTo>
                    <a:pt x="47117" y="25908"/>
                  </a:lnTo>
                  <a:lnTo>
                    <a:pt x="47117" y="32258"/>
                  </a:lnTo>
                  <a:lnTo>
                    <a:pt x="49656" y="34798"/>
                  </a:lnTo>
                  <a:lnTo>
                    <a:pt x="56006" y="34798"/>
                  </a:lnTo>
                  <a:lnTo>
                    <a:pt x="58674" y="32258"/>
                  </a:lnTo>
                  <a:lnTo>
                    <a:pt x="58674" y="25908"/>
                  </a:lnTo>
                  <a:lnTo>
                    <a:pt x="56006" y="23367"/>
                  </a:lnTo>
                  <a:close/>
                </a:path>
                <a:path w="317500" h="314325">
                  <a:moveTo>
                    <a:pt x="32639" y="23367"/>
                  </a:moveTo>
                  <a:lnTo>
                    <a:pt x="26162" y="23367"/>
                  </a:lnTo>
                  <a:lnTo>
                    <a:pt x="23622" y="25908"/>
                  </a:lnTo>
                  <a:lnTo>
                    <a:pt x="23622" y="32258"/>
                  </a:lnTo>
                  <a:lnTo>
                    <a:pt x="26162" y="34798"/>
                  </a:lnTo>
                  <a:lnTo>
                    <a:pt x="32639" y="34798"/>
                  </a:lnTo>
                  <a:lnTo>
                    <a:pt x="35178" y="32258"/>
                  </a:lnTo>
                  <a:lnTo>
                    <a:pt x="35178" y="25908"/>
                  </a:lnTo>
                  <a:lnTo>
                    <a:pt x="32639" y="23367"/>
                  </a:lnTo>
                  <a:close/>
                </a:path>
                <a:path w="317500" h="314325">
                  <a:moveTo>
                    <a:pt x="9017" y="23367"/>
                  </a:moveTo>
                  <a:lnTo>
                    <a:pt x="2540" y="23367"/>
                  </a:lnTo>
                  <a:lnTo>
                    <a:pt x="0" y="25908"/>
                  </a:lnTo>
                  <a:lnTo>
                    <a:pt x="0" y="32258"/>
                  </a:lnTo>
                  <a:lnTo>
                    <a:pt x="2540" y="34798"/>
                  </a:lnTo>
                  <a:lnTo>
                    <a:pt x="9017" y="34798"/>
                  </a:lnTo>
                  <a:lnTo>
                    <a:pt x="11556" y="32258"/>
                  </a:lnTo>
                  <a:lnTo>
                    <a:pt x="11556" y="25908"/>
                  </a:lnTo>
                  <a:lnTo>
                    <a:pt x="9017" y="23367"/>
                  </a:lnTo>
                  <a:close/>
                </a:path>
                <a:path w="317500" h="314325">
                  <a:moveTo>
                    <a:pt x="314071" y="0"/>
                  </a:moveTo>
                  <a:lnTo>
                    <a:pt x="307594" y="0"/>
                  </a:lnTo>
                  <a:lnTo>
                    <a:pt x="305053" y="2412"/>
                  </a:lnTo>
                  <a:lnTo>
                    <a:pt x="305053" y="9016"/>
                  </a:lnTo>
                  <a:lnTo>
                    <a:pt x="307594" y="11811"/>
                  </a:lnTo>
                  <a:lnTo>
                    <a:pt x="314071" y="11811"/>
                  </a:lnTo>
                  <a:lnTo>
                    <a:pt x="316992" y="9016"/>
                  </a:lnTo>
                  <a:lnTo>
                    <a:pt x="316992" y="2412"/>
                  </a:lnTo>
                  <a:lnTo>
                    <a:pt x="314071" y="0"/>
                  </a:lnTo>
                  <a:close/>
                </a:path>
                <a:path w="317500" h="314325">
                  <a:moveTo>
                    <a:pt x="290702" y="0"/>
                  </a:moveTo>
                  <a:lnTo>
                    <a:pt x="284479" y="0"/>
                  </a:lnTo>
                  <a:lnTo>
                    <a:pt x="281940" y="2412"/>
                  </a:lnTo>
                  <a:lnTo>
                    <a:pt x="281940" y="9016"/>
                  </a:lnTo>
                  <a:lnTo>
                    <a:pt x="284479" y="11811"/>
                  </a:lnTo>
                  <a:lnTo>
                    <a:pt x="290702" y="11811"/>
                  </a:lnTo>
                  <a:lnTo>
                    <a:pt x="293497" y="9016"/>
                  </a:lnTo>
                  <a:lnTo>
                    <a:pt x="293497" y="2412"/>
                  </a:lnTo>
                  <a:lnTo>
                    <a:pt x="290702" y="0"/>
                  </a:lnTo>
                  <a:close/>
                </a:path>
                <a:path w="317500" h="314325">
                  <a:moveTo>
                    <a:pt x="267208" y="0"/>
                  </a:moveTo>
                  <a:lnTo>
                    <a:pt x="260985" y="0"/>
                  </a:lnTo>
                  <a:lnTo>
                    <a:pt x="258445" y="2412"/>
                  </a:lnTo>
                  <a:lnTo>
                    <a:pt x="258445" y="9016"/>
                  </a:lnTo>
                  <a:lnTo>
                    <a:pt x="260985" y="11811"/>
                  </a:lnTo>
                  <a:lnTo>
                    <a:pt x="267208" y="11811"/>
                  </a:lnTo>
                  <a:lnTo>
                    <a:pt x="270128" y="9016"/>
                  </a:lnTo>
                  <a:lnTo>
                    <a:pt x="270128" y="2412"/>
                  </a:lnTo>
                  <a:lnTo>
                    <a:pt x="267208" y="0"/>
                  </a:lnTo>
                  <a:close/>
                </a:path>
                <a:path w="317500" h="314325">
                  <a:moveTo>
                    <a:pt x="243586" y="0"/>
                  </a:moveTo>
                  <a:lnTo>
                    <a:pt x="237490" y="0"/>
                  </a:lnTo>
                  <a:lnTo>
                    <a:pt x="234569" y="2412"/>
                  </a:lnTo>
                  <a:lnTo>
                    <a:pt x="234569" y="9016"/>
                  </a:lnTo>
                  <a:lnTo>
                    <a:pt x="237490" y="11811"/>
                  </a:lnTo>
                  <a:lnTo>
                    <a:pt x="243586" y="11811"/>
                  </a:lnTo>
                  <a:lnTo>
                    <a:pt x="246506" y="9016"/>
                  </a:lnTo>
                  <a:lnTo>
                    <a:pt x="246506" y="2412"/>
                  </a:lnTo>
                  <a:lnTo>
                    <a:pt x="243586" y="0"/>
                  </a:lnTo>
                  <a:close/>
                </a:path>
                <a:path w="317500" h="314325">
                  <a:moveTo>
                    <a:pt x="220472" y="0"/>
                  </a:moveTo>
                  <a:lnTo>
                    <a:pt x="213868" y="0"/>
                  </a:lnTo>
                  <a:lnTo>
                    <a:pt x="210947" y="2412"/>
                  </a:lnTo>
                  <a:lnTo>
                    <a:pt x="210947" y="9016"/>
                  </a:lnTo>
                  <a:lnTo>
                    <a:pt x="213868" y="11811"/>
                  </a:lnTo>
                  <a:lnTo>
                    <a:pt x="220472" y="11811"/>
                  </a:lnTo>
                  <a:lnTo>
                    <a:pt x="223012" y="9016"/>
                  </a:lnTo>
                  <a:lnTo>
                    <a:pt x="223012" y="2412"/>
                  </a:lnTo>
                  <a:lnTo>
                    <a:pt x="220472" y="0"/>
                  </a:lnTo>
                  <a:close/>
                </a:path>
                <a:path w="317500" h="314325">
                  <a:moveTo>
                    <a:pt x="196850" y="0"/>
                  </a:moveTo>
                  <a:lnTo>
                    <a:pt x="190246" y="0"/>
                  </a:lnTo>
                  <a:lnTo>
                    <a:pt x="187833" y="2412"/>
                  </a:lnTo>
                  <a:lnTo>
                    <a:pt x="187833" y="9016"/>
                  </a:lnTo>
                  <a:lnTo>
                    <a:pt x="190246" y="11811"/>
                  </a:lnTo>
                  <a:lnTo>
                    <a:pt x="196850" y="11811"/>
                  </a:lnTo>
                  <a:lnTo>
                    <a:pt x="199390" y="9016"/>
                  </a:lnTo>
                  <a:lnTo>
                    <a:pt x="199390" y="2412"/>
                  </a:lnTo>
                  <a:lnTo>
                    <a:pt x="196850" y="0"/>
                  </a:lnTo>
                  <a:close/>
                </a:path>
                <a:path w="317500" h="314325">
                  <a:moveTo>
                    <a:pt x="173481" y="0"/>
                  </a:moveTo>
                  <a:lnTo>
                    <a:pt x="166877" y="0"/>
                  </a:lnTo>
                  <a:lnTo>
                    <a:pt x="164338" y="2412"/>
                  </a:lnTo>
                  <a:lnTo>
                    <a:pt x="164338" y="9016"/>
                  </a:lnTo>
                  <a:lnTo>
                    <a:pt x="166877" y="11811"/>
                  </a:lnTo>
                  <a:lnTo>
                    <a:pt x="173481" y="11811"/>
                  </a:lnTo>
                  <a:lnTo>
                    <a:pt x="175895" y="9016"/>
                  </a:lnTo>
                  <a:lnTo>
                    <a:pt x="175895" y="2412"/>
                  </a:lnTo>
                  <a:lnTo>
                    <a:pt x="173481" y="0"/>
                  </a:lnTo>
                  <a:close/>
                </a:path>
                <a:path w="317500" h="314325">
                  <a:moveTo>
                    <a:pt x="150241" y="0"/>
                  </a:moveTo>
                  <a:lnTo>
                    <a:pt x="143255" y="0"/>
                  </a:lnTo>
                  <a:lnTo>
                    <a:pt x="140716" y="2412"/>
                  </a:lnTo>
                  <a:lnTo>
                    <a:pt x="140716" y="9016"/>
                  </a:lnTo>
                  <a:lnTo>
                    <a:pt x="143255" y="11811"/>
                  </a:lnTo>
                  <a:lnTo>
                    <a:pt x="150241" y="11811"/>
                  </a:lnTo>
                  <a:lnTo>
                    <a:pt x="152780" y="9016"/>
                  </a:lnTo>
                  <a:lnTo>
                    <a:pt x="152780" y="2412"/>
                  </a:lnTo>
                  <a:lnTo>
                    <a:pt x="150241" y="0"/>
                  </a:lnTo>
                  <a:close/>
                </a:path>
                <a:path w="317500" h="314325">
                  <a:moveTo>
                    <a:pt x="126873" y="0"/>
                  </a:moveTo>
                  <a:lnTo>
                    <a:pt x="119761" y="0"/>
                  </a:lnTo>
                  <a:lnTo>
                    <a:pt x="117348" y="2412"/>
                  </a:lnTo>
                  <a:lnTo>
                    <a:pt x="117348" y="9016"/>
                  </a:lnTo>
                  <a:lnTo>
                    <a:pt x="119761" y="11811"/>
                  </a:lnTo>
                  <a:lnTo>
                    <a:pt x="126873" y="11811"/>
                  </a:lnTo>
                  <a:lnTo>
                    <a:pt x="129286" y="9016"/>
                  </a:lnTo>
                  <a:lnTo>
                    <a:pt x="129286" y="2412"/>
                  </a:lnTo>
                  <a:lnTo>
                    <a:pt x="126873" y="0"/>
                  </a:lnTo>
                  <a:close/>
                </a:path>
                <a:path w="317500" h="314325">
                  <a:moveTo>
                    <a:pt x="102870" y="0"/>
                  </a:moveTo>
                  <a:lnTo>
                    <a:pt x="96647" y="0"/>
                  </a:lnTo>
                  <a:lnTo>
                    <a:pt x="94106" y="2412"/>
                  </a:lnTo>
                  <a:lnTo>
                    <a:pt x="94106" y="9016"/>
                  </a:lnTo>
                  <a:lnTo>
                    <a:pt x="96647" y="11811"/>
                  </a:lnTo>
                  <a:lnTo>
                    <a:pt x="102870" y="11811"/>
                  </a:lnTo>
                  <a:lnTo>
                    <a:pt x="105664" y="9016"/>
                  </a:lnTo>
                  <a:lnTo>
                    <a:pt x="105664" y="2412"/>
                  </a:lnTo>
                  <a:lnTo>
                    <a:pt x="102870" y="0"/>
                  </a:lnTo>
                  <a:close/>
                </a:path>
                <a:path w="317500" h="314325">
                  <a:moveTo>
                    <a:pt x="79375" y="0"/>
                  </a:moveTo>
                  <a:lnTo>
                    <a:pt x="73151" y="0"/>
                  </a:lnTo>
                  <a:lnTo>
                    <a:pt x="70739" y="2412"/>
                  </a:lnTo>
                  <a:lnTo>
                    <a:pt x="70739" y="9016"/>
                  </a:lnTo>
                  <a:lnTo>
                    <a:pt x="73151" y="11811"/>
                  </a:lnTo>
                  <a:lnTo>
                    <a:pt x="79375" y="11811"/>
                  </a:lnTo>
                  <a:lnTo>
                    <a:pt x="82296" y="9016"/>
                  </a:lnTo>
                  <a:lnTo>
                    <a:pt x="82296" y="2412"/>
                  </a:lnTo>
                  <a:lnTo>
                    <a:pt x="79375" y="0"/>
                  </a:lnTo>
                  <a:close/>
                </a:path>
                <a:path w="317500" h="314325">
                  <a:moveTo>
                    <a:pt x="56134" y="0"/>
                  </a:moveTo>
                  <a:lnTo>
                    <a:pt x="49529" y="0"/>
                  </a:lnTo>
                  <a:lnTo>
                    <a:pt x="47117" y="2412"/>
                  </a:lnTo>
                  <a:lnTo>
                    <a:pt x="47117" y="9016"/>
                  </a:lnTo>
                  <a:lnTo>
                    <a:pt x="49529" y="11811"/>
                  </a:lnTo>
                  <a:lnTo>
                    <a:pt x="56134" y="11811"/>
                  </a:lnTo>
                  <a:lnTo>
                    <a:pt x="58674" y="9016"/>
                  </a:lnTo>
                  <a:lnTo>
                    <a:pt x="58674" y="2412"/>
                  </a:lnTo>
                  <a:lnTo>
                    <a:pt x="56134" y="0"/>
                  </a:lnTo>
                  <a:close/>
                </a:path>
                <a:path w="317500" h="314325">
                  <a:moveTo>
                    <a:pt x="32766" y="0"/>
                  </a:moveTo>
                  <a:lnTo>
                    <a:pt x="26543" y="0"/>
                  </a:lnTo>
                  <a:lnTo>
                    <a:pt x="23622" y="2412"/>
                  </a:lnTo>
                  <a:lnTo>
                    <a:pt x="23622" y="9016"/>
                  </a:lnTo>
                  <a:lnTo>
                    <a:pt x="26543" y="11811"/>
                  </a:lnTo>
                  <a:lnTo>
                    <a:pt x="32766" y="11811"/>
                  </a:lnTo>
                  <a:lnTo>
                    <a:pt x="35178" y="9016"/>
                  </a:lnTo>
                  <a:lnTo>
                    <a:pt x="35178" y="2412"/>
                  </a:lnTo>
                  <a:lnTo>
                    <a:pt x="32766" y="0"/>
                  </a:lnTo>
                  <a:close/>
                </a:path>
                <a:path w="317500" h="314325">
                  <a:moveTo>
                    <a:pt x="9144" y="0"/>
                  </a:moveTo>
                  <a:lnTo>
                    <a:pt x="2921" y="0"/>
                  </a:lnTo>
                  <a:lnTo>
                    <a:pt x="0" y="2412"/>
                  </a:lnTo>
                  <a:lnTo>
                    <a:pt x="0" y="9016"/>
                  </a:lnTo>
                  <a:lnTo>
                    <a:pt x="2921" y="11811"/>
                  </a:lnTo>
                  <a:lnTo>
                    <a:pt x="9144" y="11811"/>
                  </a:lnTo>
                  <a:lnTo>
                    <a:pt x="11556" y="9016"/>
                  </a:lnTo>
                  <a:lnTo>
                    <a:pt x="11556" y="241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42" name="组合 41"/>
          <p:cNvGrpSpPr>
            <a:grpSpLocks noChangeAspect="1"/>
          </p:cNvGrpSpPr>
          <p:nvPr/>
        </p:nvGrpSpPr>
        <p:grpSpPr>
          <a:xfrm>
            <a:off x="8457406" y="4766245"/>
            <a:ext cx="624790" cy="616868"/>
            <a:chOff x="8269007" y="2787537"/>
            <a:chExt cx="350520" cy="346075"/>
          </a:xfrm>
        </p:grpSpPr>
        <p:sp>
          <p:nvSpPr>
            <p:cNvPr id="43" name="object 32"/>
            <p:cNvSpPr/>
            <p:nvPr/>
          </p:nvSpPr>
          <p:spPr>
            <a:xfrm>
              <a:off x="8269007" y="2787537"/>
              <a:ext cx="350520" cy="346075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solidFill>
              <a:srgbClr val="3051DA"/>
            </a:solidFill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4" name="object 33"/>
            <p:cNvSpPr/>
            <p:nvPr/>
          </p:nvSpPr>
          <p:spPr>
            <a:xfrm>
              <a:off x="8285517" y="2800998"/>
              <a:ext cx="317500" cy="314325"/>
            </a:xfrm>
            <a:custGeom>
              <a:avLst/>
              <a:gdLst/>
              <a:ahLst/>
              <a:cxnLst/>
              <a:rect l="l" t="t" r="r" b="b"/>
              <a:pathLst>
                <a:path w="317500" h="314325">
                  <a:moveTo>
                    <a:pt x="314071" y="302387"/>
                  </a:moveTo>
                  <a:lnTo>
                    <a:pt x="307594" y="302387"/>
                  </a:lnTo>
                  <a:lnTo>
                    <a:pt x="305053" y="304926"/>
                  </a:lnTo>
                  <a:lnTo>
                    <a:pt x="305053" y="311530"/>
                  </a:lnTo>
                  <a:lnTo>
                    <a:pt x="307594" y="313943"/>
                  </a:lnTo>
                  <a:lnTo>
                    <a:pt x="314071" y="313943"/>
                  </a:lnTo>
                  <a:lnTo>
                    <a:pt x="316992" y="311530"/>
                  </a:lnTo>
                  <a:lnTo>
                    <a:pt x="316992" y="304926"/>
                  </a:lnTo>
                  <a:lnTo>
                    <a:pt x="314071" y="302387"/>
                  </a:lnTo>
                  <a:close/>
                </a:path>
                <a:path w="317500" h="314325">
                  <a:moveTo>
                    <a:pt x="290956" y="302387"/>
                  </a:moveTo>
                  <a:lnTo>
                    <a:pt x="284606" y="302387"/>
                  </a:lnTo>
                  <a:lnTo>
                    <a:pt x="281940" y="305053"/>
                  </a:lnTo>
                  <a:lnTo>
                    <a:pt x="281940" y="311403"/>
                  </a:lnTo>
                  <a:lnTo>
                    <a:pt x="284606" y="313943"/>
                  </a:lnTo>
                  <a:lnTo>
                    <a:pt x="290956" y="313943"/>
                  </a:lnTo>
                  <a:lnTo>
                    <a:pt x="293497" y="311403"/>
                  </a:lnTo>
                  <a:lnTo>
                    <a:pt x="293497" y="305053"/>
                  </a:lnTo>
                  <a:lnTo>
                    <a:pt x="290956" y="302387"/>
                  </a:lnTo>
                  <a:close/>
                </a:path>
                <a:path w="317500" h="314325">
                  <a:moveTo>
                    <a:pt x="267462" y="302387"/>
                  </a:moveTo>
                  <a:lnTo>
                    <a:pt x="261112" y="302387"/>
                  </a:lnTo>
                  <a:lnTo>
                    <a:pt x="258445" y="305053"/>
                  </a:lnTo>
                  <a:lnTo>
                    <a:pt x="258445" y="311403"/>
                  </a:lnTo>
                  <a:lnTo>
                    <a:pt x="261112" y="313943"/>
                  </a:lnTo>
                  <a:lnTo>
                    <a:pt x="267462" y="313943"/>
                  </a:lnTo>
                  <a:lnTo>
                    <a:pt x="270128" y="311403"/>
                  </a:lnTo>
                  <a:lnTo>
                    <a:pt x="270128" y="305053"/>
                  </a:lnTo>
                  <a:lnTo>
                    <a:pt x="267462" y="302387"/>
                  </a:lnTo>
                  <a:close/>
                </a:path>
                <a:path w="317500" h="314325">
                  <a:moveTo>
                    <a:pt x="243840" y="302387"/>
                  </a:moveTo>
                  <a:lnTo>
                    <a:pt x="237236" y="302387"/>
                  </a:lnTo>
                  <a:lnTo>
                    <a:pt x="234569" y="305053"/>
                  </a:lnTo>
                  <a:lnTo>
                    <a:pt x="234569" y="311403"/>
                  </a:lnTo>
                  <a:lnTo>
                    <a:pt x="237236" y="313943"/>
                  </a:lnTo>
                  <a:lnTo>
                    <a:pt x="243840" y="313943"/>
                  </a:lnTo>
                  <a:lnTo>
                    <a:pt x="246506" y="311403"/>
                  </a:lnTo>
                  <a:lnTo>
                    <a:pt x="246506" y="305053"/>
                  </a:lnTo>
                  <a:lnTo>
                    <a:pt x="243840" y="302387"/>
                  </a:lnTo>
                  <a:close/>
                </a:path>
                <a:path w="317500" h="314325">
                  <a:moveTo>
                    <a:pt x="220345" y="302387"/>
                  </a:moveTo>
                  <a:lnTo>
                    <a:pt x="213614" y="302387"/>
                  </a:lnTo>
                  <a:lnTo>
                    <a:pt x="210947" y="305053"/>
                  </a:lnTo>
                  <a:lnTo>
                    <a:pt x="210947" y="311403"/>
                  </a:lnTo>
                  <a:lnTo>
                    <a:pt x="213614" y="313943"/>
                  </a:lnTo>
                  <a:lnTo>
                    <a:pt x="220345" y="313943"/>
                  </a:lnTo>
                  <a:lnTo>
                    <a:pt x="223012" y="311403"/>
                  </a:lnTo>
                  <a:lnTo>
                    <a:pt x="223012" y="305053"/>
                  </a:lnTo>
                  <a:lnTo>
                    <a:pt x="220345" y="302387"/>
                  </a:lnTo>
                  <a:close/>
                </a:path>
                <a:path w="317500" h="314325">
                  <a:moveTo>
                    <a:pt x="196850" y="302387"/>
                  </a:moveTo>
                  <a:lnTo>
                    <a:pt x="190373" y="302387"/>
                  </a:lnTo>
                  <a:lnTo>
                    <a:pt x="187833" y="305053"/>
                  </a:lnTo>
                  <a:lnTo>
                    <a:pt x="187833" y="311403"/>
                  </a:lnTo>
                  <a:lnTo>
                    <a:pt x="190373" y="313943"/>
                  </a:lnTo>
                  <a:lnTo>
                    <a:pt x="196850" y="313943"/>
                  </a:lnTo>
                  <a:lnTo>
                    <a:pt x="199390" y="311403"/>
                  </a:lnTo>
                  <a:lnTo>
                    <a:pt x="199390" y="305053"/>
                  </a:lnTo>
                  <a:lnTo>
                    <a:pt x="196850" y="302387"/>
                  </a:lnTo>
                  <a:close/>
                </a:path>
                <a:path w="317500" h="314325">
                  <a:moveTo>
                    <a:pt x="173354" y="302387"/>
                  </a:moveTo>
                  <a:lnTo>
                    <a:pt x="167004" y="302387"/>
                  </a:lnTo>
                  <a:lnTo>
                    <a:pt x="164338" y="305053"/>
                  </a:lnTo>
                  <a:lnTo>
                    <a:pt x="164338" y="311403"/>
                  </a:lnTo>
                  <a:lnTo>
                    <a:pt x="167004" y="313943"/>
                  </a:lnTo>
                  <a:lnTo>
                    <a:pt x="173354" y="313943"/>
                  </a:lnTo>
                  <a:lnTo>
                    <a:pt x="175895" y="311403"/>
                  </a:lnTo>
                  <a:lnTo>
                    <a:pt x="175895" y="305053"/>
                  </a:lnTo>
                  <a:lnTo>
                    <a:pt x="173354" y="302387"/>
                  </a:lnTo>
                  <a:close/>
                </a:path>
                <a:path w="317500" h="314325">
                  <a:moveTo>
                    <a:pt x="150114" y="302387"/>
                  </a:moveTo>
                  <a:lnTo>
                    <a:pt x="143383" y="302387"/>
                  </a:lnTo>
                  <a:lnTo>
                    <a:pt x="140716" y="305053"/>
                  </a:lnTo>
                  <a:lnTo>
                    <a:pt x="140716" y="311403"/>
                  </a:lnTo>
                  <a:lnTo>
                    <a:pt x="143383" y="313943"/>
                  </a:lnTo>
                  <a:lnTo>
                    <a:pt x="150114" y="313943"/>
                  </a:lnTo>
                  <a:lnTo>
                    <a:pt x="152780" y="311403"/>
                  </a:lnTo>
                  <a:lnTo>
                    <a:pt x="152780" y="305053"/>
                  </a:lnTo>
                  <a:lnTo>
                    <a:pt x="150114" y="302387"/>
                  </a:lnTo>
                  <a:close/>
                </a:path>
                <a:path w="317500" h="314325">
                  <a:moveTo>
                    <a:pt x="126619" y="302387"/>
                  </a:moveTo>
                  <a:lnTo>
                    <a:pt x="120015" y="302387"/>
                  </a:lnTo>
                  <a:lnTo>
                    <a:pt x="117348" y="305053"/>
                  </a:lnTo>
                  <a:lnTo>
                    <a:pt x="117348" y="311403"/>
                  </a:lnTo>
                  <a:lnTo>
                    <a:pt x="120015" y="313943"/>
                  </a:lnTo>
                  <a:lnTo>
                    <a:pt x="126619" y="313943"/>
                  </a:lnTo>
                  <a:lnTo>
                    <a:pt x="129286" y="311403"/>
                  </a:lnTo>
                  <a:lnTo>
                    <a:pt x="129286" y="305053"/>
                  </a:lnTo>
                  <a:lnTo>
                    <a:pt x="126619" y="302387"/>
                  </a:lnTo>
                  <a:close/>
                </a:path>
                <a:path w="317500" h="314325">
                  <a:moveTo>
                    <a:pt x="103124" y="302387"/>
                  </a:moveTo>
                  <a:lnTo>
                    <a:pt x="96774" y="302387"/>
                  </a:lnTo>
                  <a:lnTo>
                    <a:pt x="94106" y="305053"/>
                  </a:lnTo>
                  <a:lnTo>
                    <a:pt x="94106" y="311403"/>
                  </a:lnTo>
                  <a:lnTo>
                    <a:pt x="96774" y="313943"/>
                  </a:lnTo>
                  <a:lnTo>
                    <a:pt x="103124" y="313943"/>
                  </a:lnTo>
                  <a:lnTo>
                    <a:pt x="105664" y="311403"/>
                  </a:lnTo>
                  <a:lnTo>
                    <a:pt x="105664" y="305053"/>
                  </a:lnTo>
                  <a:lnTo>
                    <a:pt x="103124" y="302387"/>
                  </a:lnTo>
                  <a:close/>
                </a:path>
                <a:path w="317500" h="314325">
                  <a:moveTo>
                    <a:pt x="79628" y="302387"/>
                  </a:moveTo>
                  <a:lnTo>
                    <a:pt x="73278" y="302387"/>
                  </a:lnTo>
                  <a:lnTo>
                    <a:pt x="70739" y="305053"/>
                  </a:lnTo>
                  <a:lnTo>
                    <a:pt x="70739" y="311403"/>
                  </a:lnTo>
                  <a:lnTo>
                    <a:pt x="73278" y="313943"/>
                  </a:lnTo>
                  <a:lnTo>
                    <a:pt x="79628" y="313943"/>
                  </a:lnTo>
                  <a:lnTo>
                    <a:pt x="82296" y="311403"/>
                  </a:lnTo>
                  <a:lnTo>
                    <a:pt x="82296" y="305053"/>
                  </a:lnTo>
                  <a:lnTo>
                    <a:pt x="79628" y="302387"/>
                  </a:lnTo>
                  <a:close/>
                </a:path>
                <a:path w="317500" h="314325">
                  <a:moveTo>
                    <a:pt x="56006" y="302387"/>
                  </a:moveTo>
                  <a:lnTo>
                    <a:pt x="49656" y="302387"/>
                  </a:lnTo>
                  <a:lnTo>
                    <a:pt x="47117" y="305053"/>
                  </a:lnTo>
                  <a:lnTo>
                    <a:pt x="47117" y="311403"/>
                  </a:lnTo>
                  <a:lnTo>
                    <a:pt x="49656" y="313943"/>
                  </a:lnTo>
                  <a:lnTo>
                    <a:pt x="56006" y="313943"/>
                  </a:lnTo>
                  <a:lnTo>
                    <a:pt x="58674" y="311403"/>
                  </a:lnTo>
                  <a:lnTo>
                    <a:pt x="58674" y="305053"/>
                  </a:lnTo>
                  <a:lnTo>
                    <a:pt x="56006" y="302387"/>
                  </a:lnTo>
                  <a:close/>
                </a:path>
                <a:path w="317500" h="314325">
                  <a:moveTo>
                    <a:pt x="32639" y="302387"/>
                  </a:moveTo>
                  <a:lnTo>
                    <a:pt x="26162" y="302387"/>
                  </a:lnTo>
                  <a:lnTo>
                    <a:pt x="23622" y="305053"/>
                  </a:lnTo>
                  <a:lnTo>
                    <a:pt x="23622" y="311403"/>
                  </a:lnTo>
                  <a:lnTo>
                    <a:pt x="26162" y="313943"/>
                  </a:lnTo>
                  <a:lnTo>
                    <a:pt x="32639" y="313943"/>
                  </a:lnTo>
                  <a:lnTo>
                    <a:pt x="35178" y="311403"/>
                  </a:lnTo>
                  <a:lnTo>
                    <a:pt x="35178" y="305053"/>
                  </a:lnTo>
                  <a:lnTo>
                    <a:pt x="32639" y="302387"/>
                  </a:lnTo>
                  <a:close/>
                </a:path>
                <a:path w="317500" h="314325">
                  <a:moveTo>
                    <a:pt x="9017" y="302387"/>
                  </a:moveTo>
                  <a:lnTo>
                    <a:pt x="2540" y="302387"/>
                  </a:lnTo>
                  <a:lnTo>
                    <a:pt x="0" y="305053"/>
                  </a:lnTo>
                  <a:lnTo>
                    <a:pt x="0" y="311403"/>
                  </a:lnTo>
                  <a:lnTo>
                    <a:pt x="2540" y="313943"/>
                  </a:lnTo>
                  <a:lnTo>
                    <a:pt x="9017" y="313943"/>
                  </a:lnTo>
                  <a:lnTo>
                    <a:pt x="11556" y="311403"/>
                  </a:lnTo>
                  <a:lnTo>
                    <a:pt x="11556" y="305053"/>
                  </a:lnTo>
                  <a:lnTo>
                    <a:pt x="9017" y="302387"/>
                  </a:lnTo>
                  <a:close/>
                </a:path>
                <a:path w="317500" h="314325">
                  <a:moveTo>
                    <a:pt x="314071" y="278891"/>
                  </a:moveTo>
                  <a:lnTo>
                    <a:pt x="307594" y="278891"/>
                  </a:lnTo>
                  <a:lnTo>
                    <a:pt x="305053" y="281813"/>
                  </a:lnTo>
                  <a:lnTo>
                    <a:pt x="305053" y="288036"/>
                  </a:lnTo>
                  <a:lnTo>
                    <a:pt x="307594" y="290449"/>
                  </a:lnTo>
                  <a:lnTo>
                    <a:pt x="314071" y="290449"/>
                  </a:lnTo>
                  <a:lnTo>
                    <a:pt x="316992" y="288036"/>
                  </a:lnTo>
                  <a:lnTo>
                    <a:pt x="316992" y="281813"/>
                  </a:lnTo>
                  <a:lnTo>
                    <a:pt x="314071" y="278891"/>
                  </a:lnTo>
                  <a:close/>
                </a:path>
                <a:path w="317500" h="314325">
                  <a:moveTo>
                    <a:pt x="290956" y="278891"/>
                  </a:moveTo>
                  <a:lnTo>
                    <a:pt x="284606" y="278891"/>
                  </a:lnTo>
                  <a:lnTo>
                    <a:pt x="281940" y="281559"/>
                  </a:lnTo>
                  <a:lnTo>
                    <a:pt x="281940" y="287909"/>
                  </a:lnTo>
                  <a:lnTo>
                    <a:pt x="284606" y="290449"/>
                  </a:lnTo>
                  <a:lnTo>
                    <a:pt x="290956" y="290449"/>
                  </a:lnTo>
                  <a:lnTo>
                    <a:pt x="293497" y="287909"/>
                  </a:lnTo>
                  <a:lnTo>
                    <a:pt x="293497" y="281559"/>
                  </a:lnTo>
                  <a:lnTo>
                    <a:pt x="290956" y="278891"/>
                  </a:lnTo>
                  <a:close/>
                </a:path>
                <a:path w="317500" h="314325">
                  <a:moveTo>
                    <a:pt x="267462" y="278891"/>
                  </a:moveTo>
                  <a:lnTo>
                    <a:pt x="261112" y="278891"/>
                  </a:lnTo>
                  <a:lnTo>
                    <a:pt x="258445" y="281559"/>
                  </a:lnTo>
                  <a:lnTo>
                    <a:pt x="258445" y="287909"/>
                  </a:lnTo>
                  <a:lnTo>
                    <a:pt x="261112" y="290449"/>
                  </a:lnTo>
                  <a:lnTo>
                    <a:pt x="267462" y="290449"/>
                  </a:lnTo>
                  <a:lnTo>
                    <a:pt x="270128" y="287909"/>
                  </a:lnTo>
                  <a:lnTo>
                    <a:pt x="270128" y="281559"/>
                  </a:lnTo>
                  <a:lnTo>
                    <a:pt x="267462" y="278891"/>
                  </a:lnTo>
                  <a:close/>
                </a:path>
                <a:path w="317500" h="314325">
                  <a:moveTo>
                    <a:pt x="243840" y="278891"/>
                  </a:moveTo>
                  <a:lnTo>
                    <a:pt x="237236" y="278891"/>
                  </a:lnTo>
                  <a:lnTo>
                    <a:pt x="234569" y="281559"/>
                  </a:lnTo>
                  <a:lnTo>
                    <a:pt x="234569" y="287909"/>
                  </a:lnTo>
                  <a:lnTo>
                    <a:pt x="237236" y="290449"/>
                  </a:lnTo>
                  <a:lnTo>
                    <a:pt x="243840" y="290449"/>
                  </a:lnTo>
                  <a:lnTo>
                    <a:pt x="246506" y="287909"/>
                  </a:lnTo>
                  <a:lnTo>
                    <a:pt x="246506" y="281559"/>
                  </a:lnTo>
                  <a:lnTo>
                    <a:pt x="243840" y="278891"/>
                  </a:lnTo>
                  <a:close/>
                </a:path>
                <a:path w="317500" h="314325">
                  <a:moveTo>
                    <a:pt x="220345" y="278891"/>
                  </a:moveTo>
                  <a:lnTo>
                    <a:pt x="213614" y="278891"/>
                  </a:lnTo>
                  <a:lnTo>
                    <a:pt x="210947" y="281559"/>
                  </a:lnTo>
                  <a:lnTo>
                    <a:pt x="210947" y="287909"/>
                  </a:lnTo>
                  <a:lnTo>
                    <a:pt x="213614" y="290449"/>
                  </a:lnTo>
                  <a:lnTo>
                    <a:pt x="220345" y="290449"/>
                  </a:lnTo>
                  <a:lnTo>
                    <a:pt x="223012" y="287909"/>
                  </a:lnTo>
                  <a:lnTo>
                    <a:pt x="223012" y="281559"/>
                  </a:lnTo>
                  <a:lnTo>
                    <a:pt x="220345" y="278891"/>
                  </a:lnTo>
                  <a:close/>
                </a:path>
                <a:path w="317500" h="314325">
                  <a:moveTo>
                    <a:pt x="196850" y="278891"/>
                  </a:moveTo>
                  <a:lnTo>
                    <a:pt x="190373" y="278891"/>
                  </a:lnTo>
                  <a:lnTo>
                    <a:pt x="187833" y="281559"/>
                  </a:lnTo>
                  <a:lnTo>
                    <a:pt x="187833" y="287909"/>
                  </a:lnTo>
                  <a:lnTo>
                    <a:pt x="190373" y="290449"/>
                  </a:lnTo>
                  <a:lnTo>
                    <a:pt x="196850" y="290449"/>
                  </a:lnTo>
                  <a:lnTo>
                    <a:pt x="199390" y="287909"/>
                  </a:lnTo>
                  <a:lnTo>
                    <a:pt x="199390" y="281559"/>
                  </a:lnTo>
                  <a:lnTo>
                    <a:pt x="196850" y="278891"/>
                  </a:lnTo>
                  <a:close/>
                </a:path>
                <a:path w="317500" h="314325">
                  <a:moveTo>
                    <a:pt x="173354" y="278891"/>
                  </a:moveTo>
                  <a:lnTo>
                    <a:pt x="167004" y="278891"/>
                  </a:lnTo>
                  <a:lnTo>
                    <a:pt x="164338" y="281559"/>
                  </a:lnTo>
                  <a:lnTo>
                    <a:pt x="164338" y="287909"/>
                  </a:lnTo>
                  <a:lnTo>
                    <a:pt x="167004" y="290449"/>
                  </a:lnTo>
                  <a:lnTo>
                    <a:pt x="173354" y="290449"/>
                  </a:lnTo>
                  <a:lnTo>
                    <a:pt x="175895" y="287909"/>
                  </a:lnTo>
                  <a:lnTo>
                    <a:pt x="175895" y="281559"/>
                  </a:lnTo>
                  <a:lnTo>
                    <a:pt x="173354" y="278891"/>
                  </a:lnTo>
                  <a:close/>
                </a:path>
                <a:path w="317500" h="314325">
                  <a:moveTo>
                    <a:pt x="150114" y="278891"/>
                  </a:moveTo>
                  <a:lnTo>
                    <a:pt x="143383" y="278891"/>
                  </a:lnTo>
                  <a:lnTo>
                    <a:pt x="140716" y="281559"/>
                  </a:lnTo>
                  <a:lnTo>
                    <a:pt x="140716" y="287909"/>
                  </a:lnTo>
                  <a:lnTo>
                    <a:pt x="143383" y="290449"/>
                  </a:lnTo>
                  <a:lnTo>
                    <a:pt x="150114" y="290449"/>
                  </a:lnTo>
                  <a:lnTo>
                    <a:pt x="152780" y="287909"/>
                  </a:lnTo>
                  <a:lnTo>
                    <a:pt x="152780" y="281559"/>
                  </a:lnTo>
                  <a:lnTo>
                    <a:pt x="150114" y="278891"/>
                  </a:lnTo>
                  <a:close/>
                </a:path>
                <a:path w="317500" h="314325">
                  <a:moveTo>
                    <a:pt x="126619" y="278891"/>
                  </a:moveTo>
                  <a:lnTo>
                    <a:pt x="120015" y="278891"/>
                  </a:lnTo>
                  <a:lnTo>
                    <a:pt x="117348" y="281559"/>
                  </a:lnTo>
                  <a:lnTo>
                    <a:pt x="117348" y="287909"/>
                  </a:lnTo>
                  <a:lnTo>
                    <a:pt x="120015" y="290449"/>
                  </a:lnTo>
                  <a:lnTo>
                    <a:pt x="126619" y="290449"/>
                  </a:lnTo>
                  <a:lnTo>
                    <a:pt x="129286" y="287909"/>
                  </a:lnTo>
                  <a:lnTo>
                    <a:pt x="129286" y="281559"/>
                  </a:lnTo>
                  <a:lnTo>
                    <a:pt x="126619" y="278891"/>
                  </a:lnTo>
                  <a:close/>
                </a:path>
                <a:path w="317500" h="314325">
                  <a:moveTo>
                    <a:pt x="103124" y="278891"/>
                  </a:moveTo>
                  <a:lnTo>
                    <a:pt x="96774" y="278891"/>
                  </a:lnTo>
                  <a:lnTo>
                    <a:pt x="94106" y="281559"/>
                  </a:lnTo>
                  <a:lnTo>
                    <a:pt x="94106" y="287909"/>
                  </a:lnTo>
                  <a:lnTo>
                    <a:pt x="96774" y="290449"/>
                  </a:lnTo>
                  <a:lnTo>
                    <a:pt x="103124" y="290449"/>
                  </a:lnTo>
                  <a:lnTo>
                    <a:pt x="105664" y="287909"/>
                  </a:lnTo>
                  <a:lnTo>
                    <a:pt x="105664" y="281559"/>
                  </a:lnTo>
                  <a:lnTo>
                    <a:pt x="103124" y="278891"/>
                  </a:lnTo>
                  <a:close/>
                </a:path>
                <a:path w="317500" h="314325">
                  <a:moveTo>
                    <a:pt x="79628" y="278891"/>
                  </a:moveTo>
                  <a:lnTo>
                    <a:pt x="73278" y="278891"/>
                  </a:lnTo>
                  <a:lnTo>
                    <a:pt x="70739" y="281559"/>
                  </a:lnTo>
                  <a:lnTo>
                    <a:pt x="70739" y="287909"/>
                  </a:lnTo>
                  <a:lnTo>
                    <a:pt x="73278" y="290449"/>
                  </a:lnTo>
                  <a:lnTo>
                    <a:pt x="79628" y="290449"/>
                  </a:lnTo>
                  <a:lnTo>
                    <a:pt x="82296" y="287909"/>
                  </a:lnTo>
                  <a:lnTo>
                    <a:pt x="82296" y="281559"/>
                  </a:lnTo>
                  <a:lnTo>
                    <a:pt x="79628" y="278891"/>
                  </a:lnTo>
                  <a:close/>
                </a:path>
                <a:path w="317500" h="314325">
                  <a:moveTo>
                    <a:pt x="56006" y="278891"/>
                  </a:moveTo>
                  <a:lnTo>
                    <a:pt x="49656" y="278891"/>
                  </a:lnTo>
                  <a:lnTo>
                    <a:pt x="47117" y="281559"/>
                  </a:lnTo>
                  <a:lnTo>
                    <a:pt x="47117" y="287909"/>
                  </a:lnTo>
                  <a:lnTo>
                    <a:pt x="49656" y="290449"/>
                  </a:lnTo>
                  <a:lnTo>
                    <a:pt x="56006" y="290449"/>
                  </a:lnTo>
                  <a:lnTo>
                    <a:pt x="58674" y="287909"/>
                  </a:lnTo>
                  <a:lnTo>
                    <a:pt x="58674" y="281559"/>
                  </a:lnTo>
                  <a:lnTo>
                    <a:pt x="56006" y="278891"/>
                  </a:lnTo>
                  <a:close/>
                </a:path>
                <a:path w="317500" h="314325">
                  <a:moveTo>
                    <a:pt x="32639" y="278891"/>
                  </a:moveTo>
                  <a:lnTo>
                    <a:pt x="26162" y="278891"/>
                  </a:lnTo>
                  <a:lnTo>
                    <a:pt x="23622" y="281559"/>
                  </a:lnTo>
                  <a:lnTo>
                    <a:pt x="23622" y="287909"/>
                  </a:lnTo>
                  <a:lnTo>
                    <a:pt x="26162" y="290449"/>
                  </a:lnTo>
                  <a:lnTo>
                    <a:pt x="32639" y="290449"/>
                  </a:lnTo>
                  <a:lnTo>
                    <a:pt x="35178" y="287909"/>
                  </a:lnTo>
                  <a:lnTo>
                    <a:pt x="35178" y="281559"/>
                  </a:lnTo>
                  <a:lnTo>
                    <a:pt x="32639" y="278891"/>
                  </a:lnTo>
                  <a:close/>
                </a:path>
                <a:path w="317500" h="314325">
                  <a:moveTo>
                    <a:pt x="9017" y="278891"/>
                  </a:moveTo>
                  <a:lnTo>
                    <a:pt x="2540" y="278891"/>
                  </a:lnTo>
                  <a:lnTo>
                    <a:pt x="0" y="281559"/>
                  </a:lnTo>
                  <a:lnTo>
                    <a:pt x="0" y="287909"/>
                  </a:lnTo>
                  <a:lnTo>
                    <a:pt x="2540" y="290449"/>
                  </a:lnTo>
                  <a:lnTo>
                    <a:pt x="9017" y="290449"/>
                  </a:lnTo>
                  <a:lnTo>
                    <a:pt x="11556" y="287909"/>
                  </a:lnTo>
                  <a:lnTo>
                    <a:pt x="11556" y="281559"/>
                  </a:lnTo>
                  <a:lnTo>
                    <a:pt x="9017" y="278891"/>
                  </a:lnTo>
                  <a:close/>
                </a:path>
                <a:path w="317500" h="314325">
                  <a:moveTo>
                    <a:pt x="314071" y="255650"/>
                  </a:moveTo>
                  <a:lnTo>
                    <a:pt x="307594" y="255650"/>
                  </a:lnTo>
                  <a:lnTo>
                    <a:pt x="305053" y="258445"/>
                  </a:lnTo>
                  <a:lnTo>
                    <a:pt x="305053" y="264540"/>
                  </a:lnTo>
                  <a:lnTo>
                    <a:pt x="307594" y="267462"/>
                  </a:lnTo>
                  <a:lnTo>
                    <a:pt x="314071" y="267462"/>
                  </a:lnTo>
                  <a:lnTo>
                    <a:pt x="316992" y="264540"/>
                  </a:lnTo>
                  <a:lnTo>
                    <a:pt x="316992" y="258445"/>
                  </a:lnTo>
                  <a:lnTo>
                    <a:pt x="314071" y="255650"/>
                  </a:lnTo>
                  <a:close/>
                </a:path>
                <a:path w="317500" h="314325">
                  <a:moveTo>
                    <a:pt x="290956" y="255650"/>
                  </a:moveTo>
                  <a:lnTo>
                    <a:pt x="284606" y="255650"/>
                  </a:lnTo>
                  <a:lnTo>
                    <a:pt x="281940" y="258190"/>
                  </a:lnTo>
                  <a:lnTo>
                    <a:pt x="281940" y="264795"/>
                  </a:lnTo>
                  <a:lnTo>
                    <a:pt x="284606" y="267462"/>
                  </a:lnTo>
                  <a:lnTo>
                    <a:pt x="290956" y="267462"/>
                  </a:lnTo>
                  <a:lnTo>
                    <a:pt x="293497" y="264795"/>
                  </a:lnTo>
                  <a:lnTo>
                    <a:pt x="293497" y="258190"/>
                  </a:lnTo>
                  <a:lnTo>
                    <a:pt x="290956" y="255650"/>
                  </a:lnTo>
                  <a:close/>
                </a:path>
                <a:path w="317500" h="314325">
                  <a:moveTo>
                    <a:pt x="32639" y="255650"/>
                  </a:moveTo>
                  <a:lnTo>
                    <a:pt x="26162" y="255650"/>
                  </a:lnTo>
                  <a:lnTo>
                    <a:pt x="23622" y="258190"/>
                  </a:lnTo>
                  <a:lnTo>
                    <a:pt x="23622" y="264795"/>
                  </a:lnTo>
                  <a:lnTo>
                    <a:pt x="26162" y="267462"/>
                  </a:lnTo>
                  <a:lnTo>
                    <a:pt x="32639" y="267462"/>
                  </a:lnTo>
                  <a:lnTo>
                    <a:pt x="35178" y="264795"/>
                  </a:lnTo>
                  <a:lnTo>
                    <a:pt x="35178" y="258190"/>
                  </a:lnTo>
                  <a:lnTo>
                    <a:pt x="32639" y="255650"/>
                  </a:lnTo>
                  <a:close/>
                </a:path>
                <a:path w="317500" h="314325">
                  <a:moveTo>
                    <a:pt x="9017" y="255650"/>
                  </a:moveTo>
                  <a:lnTo>
                    <a:pt x="2540" y="255650"/>
                  </a:lnTo>
                  <a:lnTo>
                    <a:pt x="0" y="258190"/>
                  </a:lnTo>
                  <a:lnTo>
                    <a:pt x="0" y="264795"/>
                  </a:lnTo>
                  <a:lnTo>
                    <a:pt x="2540" y="267462"/>
                  </a:lnTo>
                  <a:lnTo>
                    <a:pt x="9017" y="267462"/>
                  </a:lnTo>
                  <a:lnTo>
                    <a:pt x="11556" y="264795"/>
                  </a:lnTo>
                  <a:lnTo>
                    <a:pt x="11556" y="258190"/>
                  </a:lnTo>
                  <a:lnTo>
                    <a:pt x="9017" y="255650"/>
                  </a:lnTo>
                  <a:close/>
                </a:path>
                <a:path w="317500" h="314325">
                  <a:moveTo>
                    <a:pt x="314071" y="232537"/>
                  </a:moveTo>
                  <a:lnTo>
                    <a:pt x="307594" y="232537"/>
                  </a:lnTo>
                  <a:lnTo>
                    <a:pt x="305053" y="235076"/>
                  </a:lnTo>
                  <a:lnTo>
                    <a:pt x="305053" y="241680"/>
                  </a:lnTo>
                  <a:lnTo>
                    <a:pt x="307594" y="244093"/>
                  </a:lnTo>
                  <a:lnTo>
                    <a:pt x="314071" y="244093"/>
                  </a:lnTo>
                  <a:lnTo>
                    <a:pt x="316992" y="241680"/>
                  </a:lnTo>
                  <a:lnTo>
                    <a:pt x="316992" y="235076"/>
                  </a:lnTo>
                  <a:lnTo>
                    <a:pt x="314071" y="232537"/>
                  </a:lnTo>
                  <a:close/>
                </a:path>
                <a:path w="317500" h="314325">
                  <a:moveTo>
                    <a:pt x="290956" y="232537"/>
                  </a:moveTo>
                  <a:lnTo>
                    <a:pt x="284606" y="232537"/>
                  </a:lnTo>
                  <a:lnTo>
                    <a:pt x="281940" y="235203"/>
                  </a:lnTo>
                  <a:lnTo>
                    <a:pt x="281940" y="241553"/>
                  </a:lnTo>
                  <a:lnTo>
                    <a:pt x="284606" y="244093"/>
                  </a:lnTo>
                  <a:lnTo>
                    <a:pt x="290956" y="244093"/>
                  </a:lnTo>
                  <a:lnTo>
                    <a:pt x="293497" y="241553"/>
                  </a:lnTo>
                  <a:lnTo>
                    <a:pt x="293497" y="235203"/>
                  </a:lnTo>
                  <a:lnTo>
                    <a:pt x="290956" y="232537"/>
                  </a:lnTo>
                  <a:close/>
                </a:path>
                <a:path w="317500" h="314325">
                  <a:moveTo>
                    <a:pt x="32639" y="232537"/>
                  </a:moveTo>
                  <a:lnTo>
                    <a:pt x="26162" y="232537"/>
                  </a:lnTo>
                  <a:lnTo>
                    <a:pt x="23622" y="235203"/>
                  </a:lnTo>
                  <a:lnTo>
                    <a:pt x="23622" y="241553"/>
                  </a:lnTo>
                  <a:lnTo>
                    <a:pt x="26162" y="244093"/>
                  </a:lnTo>
                  <a:lnTo>
                    <a:pt x="32639" y="244093"/>
                  </a:lnTo>
                  <a:lnTo>
                    <a:pt x="35178" y="241553"/>
                  </a:lnTo>
                  <a:lnTo>
                    <a:pt x="35178" y="235203"/>
                  </a:lnTo>
                  <a:lnTo>
                    <a:pt x="32639" y="232537"/>
                  </a:lnTo>
                  <a:close/>
                </a:path>
                <a:path w="317500" h="314325">
                  <a:moveTo>
                    <a:pt x="9017" y="232537"/>
                  </a:moveTo>
                  <a:lnTo>
                    <a:pt x="2540" y="232537"/>
                  </a:lnTo>
                  <a:lnTo>
                    <a:pt x="0" y="235203"/>
                  </a:lnTo>
                  <a:lnTo>
                    <a:pt x="0" y="241553"/>
                  </a:lnTo>
                  <a:lnTo>
                    <a:pt x="2540" y="244093"/>
                  </a:lnTo>
                  <a:lnTo>
                    <a:pt x="9017" y="244093"/>
                  </a:lnTo>
                  <a:lnTo>
                    <a:pt x="11556" y="241553"/>
                  </a:lnTo>
                  <a:lnTo>
                    <a:pt x="11556" y="235203"/>
                  </a:lnTo>
                  <a:lnTo>
                    <a:pt x="9017" y="232537"/>
                  </a:lnTo>
                  <a:close/>
                </a:path>
                <a:path w="317500" h="314325">
                  <a:moveTo>
                    <a:pt x="314071" y="209041"/>
                  </a:moveTo>
                  <a:lnTo>
                    <a:pt x="307594" y="209041"/>
                  </a:lnTo>
                  <a:lnTo>
                    <a:pt x="305053" y="211582"/>
                  </a:lnTo>
                  <a:lnTo>
                    <a:pt x="305053" y="218186"/>
                  </a:lnTo>
                  <a:lnTo>
                    <a:pt x="307594" y="220599"/>
                  </a:lnTo>
                  <a:lnTo>
                    <a:pt x="314071" y="220599"/>
                  </a:lnTo>
                  <a:lnTo>
                    <a:pt x="316992" y="218186"/>
                  </a:lnTo>
                  <a:lnTo>
                    <a:pt x="316992" y="211582"/>
                  </a:lnTo>
                  <a:lnTo>
                    <a:pt x="314071" y="209041"/>
                  </a:lnTo>
                  <a:close/>
                </a:path>
                <a:path w="317500" h="314325">
                  <a:moveTo>
                    <a:pt x="290956" y="209041"/>
                  </a:moveTo>
                  <a:lnTo>
                    <a:pt x="284606" y="209041"/>
                  </a:lnTo>
                  <a:lnTo>
                    <a:pt x="281940" y="211709"/>
                  </a:lnTo>
                  <a:lnTo>
                    <a:pt x="281940" y="218059"/>
                  </a:lnTo>
                  <a:lnTo>
                    <a:pt x="284606" y="220599"/>
                  </a:lnTo>
                  <a:lnTo>
                    <a:pt x="290956" y="220599"/>
                  </a:lnTo>
                  <a:lnTo>
                    <a:pt x="293497" y="218059"/>
                  </a:lnTo>
                  <a:lnTo>
                    <a:pt x="293497" y="211709"/>
                  </a:lnTo>
                  <a:lnTo>
                    <a:pt x="290956" y="209041"/>
                  </a:lnTo>
                  <a:close/>
                </a:path>
                <a:path w="317500" h="314325">
                  <a:moveTo>
                    <a:pt x="32639" y="209041"/>
                  </a:moveTo>
                  <a:lnTo>
                    <a:pt x="26162" y="209041"/>
                  </a:lnTo>
                  <a:lnTo>
                    <a:pt x="23622" y="211709"/>
                  </a:lnTo>
                  <a:lnTo>
                    <a:pt x="23622" y="218059"/>
                  </a:lnTo>
                  <a:lnTo>
                    <a:pt x="26162" y="220599"/>
                  </a:lnTo>
                  <a:lnTo>
                    <a:pt x="32639" y="220599"/>
                  </a:lnTo>
                  <a:lnTo>
                    <a:pt x="35178" y="218059"/>
                  </a:lnTo>
                  <a:lnTo>
                    <a:pt x="35178" y="211709"/>
                  </a:lnTo>
                  <a:lnTo>
                    <a:pt x="32639" y="209041"/>
                  </a:lnTo>
                  <a:close/>
                </a:path>
                <a:path w="317500" h="314325">
                  <a:moveTo>
                    <a:pt x="9017" y="209041"/>
                  </a:moveTo>
                  <a:lnTo>
                    <a:pt x="2540" y="209041"/>
                  </a:lnTo>
                  <a:lnTo>
                    <a:pt x="0" y="211709"/>
                  </a:lnTo>
                  <a:lnTo>
                    <a:pt x="0" y="218059"/>
                  </a:lnTo>
                  <a:lnTo>
                    <a:pt x="2540" y="220599"/>
                  </a:lnTo>
                  <a:lnTo>
                    <a:pt x="9017" y="220599"/>
                  </a:lnTo>
                  <a:lnTo>
                    <a:pt x="11556" y="218059"/>
                  </a:lnTo>
                  <a:lnTo>
                    <a:pt x="11556" y="211709"/>
                  </a:lnTo>
                  <a:lnTo>
                    <a:pt x="9017" y="209041"/>
                  </a:lnTo>
                  <a:close/>
                </a:path>
                <a:path w="317500" h="314325">
                  <a:moveTo>
                    <a:pt x="314071" y="185800"/>
                  </a:moveTo>
                  <a:lnTo>
                    <a:pt x="307594" y="185800"/>
                  </a:lnTo>
                  <a:lnTo>
                    <a:pt x="305053" y="188595"/>
                  </a:lnTo>
                  <a:lnTo>
                    <a:pt x="305053" y="195072"/>
                  </a:lnTo>
                  <a:lnTo>
                    <a:pt x="307594" y="197612"/>
                  </a:lnTo>
                  <a:lnTo>
                    <a:pt x="314071" y="197612"/>
                  </a:lnTo>
                  <a:lnTo>
                    <a:pt x="316992" y="195072"/>
                  </a:lnTo>
                  <a:lnTo>
                    <a:pt x="316992" y="188595"/>
                  </a:lnTo>
                  <a:lnTo>
                    <a:pt x="314071" y="185800"/>
                  </a:lnTo>
                  <a:close/>
                </a:path>
                <a:path w="317500" h="314325">
                  <a:moveTo>
                    <a:pt x="290702" y="185800"/>
                  </a:moveTo>
                  <a:lnTo>
                    <a:pt x="284479" y="185800"/>
                  </a:lnTo>
                  <a:lnTo>
                    <a:pt x="281940" y="188595"/>
                  </a:lnTo>
                  <a:lnTo>
                    <a:pt x="281940" y="195072"/>
                  </a:lnTo>
                  <a:lnTo>
                    <a:pt x="284479" y="197612"/>
                  </a:lnTo>
                  <a:lnTo>
                    <a:pt x="290702" y="197612"/>
                  </a:lnTo>
                  <a:lnTo>
                    <a:pt x="293497" y="195072"/>
                  </a:lnTo>
                  <a:lnTo>
                    <a:pt x="293497" y="188595"/>
                  </a:lnTo>
                  <a:lnTo>
                    <a:pt x="290702" y="185800"/>
                  </a:lnTo>
                  <a:close/>
                </a:path>
                <a:path w="317500" h="314325">
                  <a:moveTo>
                    <a:pt x="32766" y="185800"/>
                  </a:moveTo>
                  <a:lnTo>
                    <a:pt x="26543" y="185800"/>
                  </a:lnTo>
                  <a:lnTo>
                    <a:pt x="23622" y="188595"/>
                  </a:lnTo>
                  <a:lnTo>
                    <a:pt x="23622" y="195072"/>
                  </a:lnTo>
                  <a:lnTo>
                    <a:pt x="26543" y="197612"/>
                  </a:lnTo>
                  <a:lnTo>
                    <a:pt x="32766" y="197612"/>
                  </a:lnTo>
                  <a:lnTo>
                    <a:pt x="35178" y="195072"/>
                  </a:lnTo>
                  <a:lnTo>
                    <a:pt x="35178" y="188595"/>
                  </a:lnTo>
                  <a:lnTo>
                    <a:pt x="32766" y="185800"/>
                  </a:lnTo>
                  <a:close/>
                </a:path>
                <a:path w="317500" h="314325">
                  <a:moveTo>
                    <a:pt x="9144" y="185800"/>
                  </a:moveTo>
                  <a:lnTo>
                    <a:pt x="2921" y="185800"/>
                  </a:lnTo>
                  <a:lnTo>
                    <a:pt x="0" y="188595"/>
                  </a:lnTo>
                  <a:lnTo>
                    <a:pt x="0" y="195072"/>
                  </a:lnTo>
                  <a:lnTo>
                    <a:pt x="2921" y="197612"/>
                  </a:lnTo>
                  <a:lnTo>
                    <a:pt x="9144" y="197612"/>
                  </a:lnTo>
                  <a:lnTo>
                    <a:pt x="11556" y="195072"/>
                  </a:lnTo>
                  <a:lnTo>
                    <a:pt x="11556" y="188595"/>
                  </a:lnTo>
                  <a:lnTo>
                    <a:pt x="9144" y="185800"/>
                  </a:lnTo>
                  <a:close/>
                </a:path>
                <a:path w="317500" h="314325">
                  <a:moveTo>
                    <a:pt x="314071" y="162687"/>
                  </a:moveTo>
                  <a:lnTo>
                    <a:pt x="307594" y="162687"/>
                  </a:lnTo>
                  <a:lnTo>
                    <a:pt x="305053" y="165608"/>
                  </a:lnTo>
                  <a:lnTo>
                    <a:pt x="305053" y="171830"/>
                  </a:lnTo>
                  <a:lnTo>
                    <a:pt x="307594" y="174243"/>
                  </a:lnTo>
                  <a:lnTo>
                    <a:pt x="314071" y="174243"/>
                  </a:lnTo>
                  <a:lnTo>
                    <a:pt x="316992" y="171830"/>
                  </a:lnTo>
                  <a:lnTo>
                    <a:pt x="316992" y="165608"/>
                  </a:lnTo>
                  <a:lnTo>
                    <a:pt x="314071" y="162687"/>
                  </a:lnTo>
                  <a:close/>
                </a:path>
                <a:path w="317500" h="314325">
                  <a:moveTo>
                    <a:pt x="290956" y="162687"/>
                  </a:moveTo>
                  <a:lnTo>
                    <a:pt x="284606" y="162687"/>
                  </a:lnTo>
                  <a:lnTo>
                    <a:pt x="281940" y="165353"/>
                  </a:lnTo>
                  <a:lnTo>
                    <a:pt x="281940" y="171703"/>
                  </a:lnTo>
                  <a:lnTo>
                    <a:pt x="284606" y="174243"/>
                  </a:lnTo>
                  <a:lnTo>
                    <a:pt x="290956" y="174243"/>
                  </a:lnTo>
                  <a:lnTo>
                    <a:pt x="293497" y="171703"/>
                  </a:lnTo>
                  <a:lnTo>
                    <a:pt x="293497" y="165353"/>
                  </a:lnTo>
                  <a:lnTo>
                    <a:pt x="290956" y="162687"/>
                  </a:lnTo>
                  <a:close/>
                </a:path>
                <a:path w="317500" h="314325">
                  <a:moveTo>
                    <a:pt x="32639" y="162687"/>
                  </a:moveTo>
                  <a:lnTo>
                    <a:pt x="26162" y="162687"/>
                  </a:lnTo>
                  <a:lnTo>
                    <a:pt x="23622" y="165353"/>
                  </a:lnTo>
                  <a:lnTo>
                    <a:pt x="23622" y="171703"/>
                  </a:lnTo>
                  <a:lnTo>
                    <a:pt x="26162" y="174243"/>
                  </a:lnTo>
                  <a:lnTo>
                    <a:pt x="32639" y="174243"/>
                  </a:lnTo>
                  <a:lnTo>
                    <a:pt x="35178" y="171703"/>
                  </a:lnTo>
                  <a:lnTo>
                    <a:pt x="35178" y="165353"/>
                  </a:lnTo>
                  <a:lnTo>
                    <a:pt x="32639" y="162687"/>
                  </a:lnTo>
                  <a:close/>
                </a:path>
                <a:path w="317500" h="314325">
                  <a:moveTo>
                    <a:pt x="9017" y="162687"/>
                  </a:moveTo>
                  <a:lnTo>
                    <a:pt x="2540" y="162687"/>
                  </a:lnTo>
                  <a:lnTo>
                    <a:pt x="0" y="165353"/>
                  </a:lnTo>
                  <a:lnTo>
                    <a:pt x="0" y="171703"/>
                  </a:lnTo>
                  <a:lnTo>
                    <a:pt x="2540" y="174243"/>
                  </a:lnTo>
                  <a:lnTo>
                    <a:pt x="9017" y="174243"/>
                  </a:lnTo>
                  <a:lnTo>
                    <a:pt x="11556" y="171703"/>
                  </a:lnTo>
                  <a:lnTo>
                    <a:pt x="11556" y="165353"/>
                  </a:lnTo>
                  <a:lnTo>
                    <a:pt x="9017" y="162687"/>
                  </a:lnTo>
                  <a:close/>
                </a:path>
                <a:path w="317500" h="314325">
                  <a:moveTo>
                    <a:pt x="314071" y="139700"/>
                  </a:moveTo>
                  <a:lnTo>
                    <a:pt x="307594" y="139700"/>
                  </a:lnTo>
                  <a:lnTo>
                    <a:pt x="305053" y="142112"/>
                  </a:lnTo>
                  <a:lnTo>
                    <a:pt x="305053" y="148336"/>
                  </a:lnTo>
                  <a:lnTo>
                    <a:pt x="307594" y="151257"/>
                  </a:lnTo>
                  <a:lnTo>
                    <a:pt x="314071" y="151257"/>
                  </a:lnTo>
                  <a:lnTo>
                    <a:pt x="316992" y="148336"/>
                  </a:lnTo>
                  <a:lnTo>
                    <a:pt x="316992" y="142112"/>
                  </a:lnTo>
                  <a:lnTo>
                    <a:pt x="314071" y="139700"/>
                  </a:lnTo>
                  <a:close/>
                </a:path>
                <a:path w="317500" h="314325">
                  <a:moveTo>
                    <a:pt x="290956" y="139700"/>
                  </a:moveTo>
                  <a:lnTo>
                    <a:pt x="284606" y="139700"/>
                  </a:lnTo>
                  <a:lnTo>
                    <a:pt x="281940" y="142239"/>
                  </a:lnTo>
                  <a:lnTo>
                    <a:pt x="281940" y="148589"/>
                  </a:lnTo>
                  <a:lnTo>
                    <a:pt x="284606" y="151257"/>
                  </a:lnTo>
                  <a:lnTo>
                    <a:pt x="290956" y="151257"/>
                  </a:lnTo>
                  <a:lnTo>
                    <a:pt x="293497" y="148589"/>
                  </a:lnTo>
                  <a:lnTo>
                    <a:pt x="293497" y="142239"/>
                  </a:lnTo>
                  <a:lnTo>
                    <a:pt x="290956" y="139700"/>
                  </a:lnTo>
                  <a:close/>
                </a:path>
                <a:path w="317500" h="314325">
                  <a:moveTo>
                    <a:pt x="32639" y="139700"/>
                  </a:moveTo>
                  <a:lnTo>
                    <a:pt x="26162" y="139700"/>
                  </a:lnTo>
                  <a:lnTo>
                    <a:pt x="23622" y="142239"/>
                  </a:lnTo>
                  <a:lnTo>
                    <a:pt x="23622" y="148589"/>
                  </a:lnTo>
                  <a:lnTo>
                    <a:pt x="26162" y="151257"/>
                  </a:lnTo>
                  <a:lnTo>
                    <a:pt x="32639" y="151257"/>
                  </a:lnTo>
                  <a:lnTo>
                    <a:pt x="35178" y="148589"/>
                  </a:lnTo>
                  <a:lnTo>
                    <a:pt x="35178" y="142239"/>
                  </a:lnTo>
                  <a:lnTo>
                    <a:pt x="32639" y="139700"/>
                  </a:lnTo>
                  <a:close/>
                </a:path>
                <a:path w="317500" h="314325">
                  <a:moveTo>
                    <a:pt x="9017" y="139700"/>
                  </a:moveTo>
                  <a:lnTo>
                    <a:pt x="2540" y="139700"/>
                  </a:lnTo>
                  <a:lnTo>
                    <a:pt x="0" y="142239"/>
                  </a:lnTo>
                  <a:lnTo>
                    <a:pt x="0" y="148589"/>
                  </a:lnTo>
                  <a:lnTo>
                    <a:pt x="2540" y="151257"/>
                  </a:lnTo>
                  <a:lnTo>
                    <a:pt x="9017" y="151257"/>
                  </a:lnTo>
                  <a:lnTo>
                    <a:pt x="11556" y="148589"/>
                  </a:lnTo>
                  <a:lnTo>
                    <a:pt x="11556" y="142239"/>
                  </a:lnTo>
                  <a:lnTo>
                    <a:pt x="9017" y="139700"/>
                  </a:lnTo>
                  <a:close/>
                </a:path>
                <a:path w="317500" h="314325">
                  <a:moveTo>
                    <a:pt x="314071" y="116204"/>
                  </a:moveTo>
                  <a:lnTo>
                    <a:pt x="307594" y="116204"/>
                  </a:lnTo>
                  <a:lnTo>
                    <a:pt x="305053" y="118617"/>
                  </a:lnTo>
                  <a:lnTo>
                    <a:pt x="305053" y="125222"/>
                  </a:lnTo>
                  <a:lnTo>
                    <a:pt x="307594" y="127762"/>
                  </a:lnTo>
                  <a:lnTo>
                    <a:pt x="314071" y="127762"/>
                  </a:lnTo>
                  <a:lnTo>
                    <a:pt x="316992" y="125222"/>
                  </a:lnTo>
                  <a:lnTo>
                    <a:pt x="316992" y="118617"/>
                  </a:lnTo>
                  <a:lnTo>
                    <a:pt x="314071" y="116204"/>
                  </a:lnTo>
                  <a:close/>
                </a:path>
                <a:path w="317500" h="314325">
                  <a:moveTo>
                    <a:pt x="290956" y="116204"/>
                  </a:moveTo>
                  <a:lnTo>
                    <a:pt x="284606" y="116204"/>
                  </a:lnTo>
                  <a:lnTo>
                    <a:pt x="281940" y="118745"/>
                  </a:lnTo>
                  <a:lnTo>
                    <a:pt x="281940" y="125095"/>
                  </a:lnTo>
                  <a:lnTo>
                    <a:pt x="284606" y="127762"/>
                  </a:lnTo>
                  <a:lnTo>
                    <a:pt x="290956" y="127762"/>
                  </a:lnTo>
                  <a:lnTo>
                    <a:pt x="293497" y="125095"/>
                  </a:lnTo>
                  <a:lnTo>
                    <a:pt x="293497" y="118745"/>
                  </a:lnTo>
                  <a:lnTo>
                    <a:pt x="290956" y="116204"/>
                  </a:lnTo>
                  <a:close/>
                </a:path>
                <a:path w="317500" h="314325">
                  <a:moveTo>
                    <a:pt x="32639" y="116204"/>
                  </a:moveTo>
                  <a:lnTo>
                    <a:pt x="26162" y="116204"/>
                  </a:lnTo>
                  <a:lnTo>
                    <a:pt x="23622" y="118745"/>
                  </a:lnTo>
                  <a:lnTo>
                    <a:pt x="23622" y="125095"/>
                  </a:lnTo>
                  <a:lnTo>
                    <a:pt x="26162" y="127762"/>
                  </a:lnTo>
                  <a:lnTo>
                    <a:pt x="32639" y="127762"/>
                  </a:lnTo>
                  <a:lnTo>
                    <a:pt x="35178" y="125095"/>
                  </a:lnTo>
                  <a:lnTo>
                    <a:pt x="35178" y="118745"/>
                  </a:lnTo>
                  <a:lnTo>
                    <a:pt x="32639" y="116204"/>
                  </a:lnTo>
                  <a:close/>
                </a:path>
                <a:path w="317500" h="314325">
                  <a:moveTo>
                    <a:pt x="9017" y="116204"/>
                  </a:moveTo>
                  <a:lnTo>
                    <a:pt x="2540" y="116204"/>
                  </a:lnTo>
                  <a:lnTo>
                    <a:pt x="0" y="118745"/>
                  </a:lnTo>
                  <a:lnTo>
                    <a:pt x="0" y="125095"/>
                  </a:lnTo>
                  <a:lnTo>
                    <a:pt x="2540" y="127762"/>
                  </a:lnTo>
                  <a:lnTo>
                    <a:pt x="9017" y="127762"/>
                  </a:lnTo>
                  <a:lnTo>
                    <a:pt x="11556" y="125095"/>
                  </a:lnTo>
                  <a:lnTo>
                    <a:pt x="11556" y="118745"/>
                  </a:lnTo>
                  <a:lnTo>
                    <a:pt x="9017" y="116204"/>
                  </a:lnTo>
                  <a:close/>
                </a:path>
                <a:path w="317500" h="314325">
                  <a:moveTo>
                    <a:pt x="314071" y="92837"/>
                  </a:moveTo>
                  <a:lnTo>
                    <a:pt x="307594" y="92837"/>
                  </a:lnTo>
                  <a:lnTo>
                    <a:pt x="305053" y="95376"/>
                  </a:lnTo>
                  <a:lnTo>
                    <a:pt x="305053" y="102235"/>
                  </a:lnTo>
                  <a:lnTo>
                    <a:pt x="307594" y="104648"/>
                  </a:lnTo>
                  <a:lnTo>
                    <a:pt x="314071" y="104648"/>
                  </a:lnTo>
                  <a:lnTo>
                    <a:pt x="316992" y="102235"/>
                  </a:lnTo>
                  <a:lnTo>
                    <a:pt x="316992" y="95376"/>
                  </a:lnTo>
                  <a:lnTo>
                    <a:pt x="314071" y="92837"/>
                  </a:lnTo>
                  <a:close/>
                </a:path>
                <a:path w="317500" h="314325">
                  <a:moveTo>
                    <a:pt x="290956" y="92837"/>
                  </a:moveTo>
                  <a:lnTo>
                    <a:pt x="284606" y="92837"/>
                  </a:lnTo>
                  <a:lnTo>
                    <a:pt x="281940" y="95503"/>
                  </a:lnTo>
                  <a:lnTo>
                    <a:pt x="281940" y="102108"/>
                  </a:lnTo>
                  <a:lnTo>
                    <a:pt x="284606" y="104648"/>
                  </a:lnTo>
                  <a:lnTo>
                    <a:pt x="290956" y="104648"/>
                  </a:lnTo>
                  <a:lnTo>
                    <a:pt x="293497" y="102108"/>
                  </a:lnTo>
                  <a:lnTo>
                    <a:pt x="293497" y="95503"/>
                  </a:lnTo>
                  <a:lnTo>
                    <a:pt x="290956" y="92837"/>
                  </a:lnTo>
                  <a:close/>
                </a:path>
                <a:path w="317500" h="314325">
                  <a:moveTo>
                    <a:pt x="32639" y="92837"/>
                  </a:moveTo>
                  <a:lnTo>
                    <a:pt x="26162" y="92837"/>
                  </a:lnTo>
                  <a:lnTo>
                    <a:pt x="23622" y="95503"/>
                  </a:lnTo>
                  <a:lnTo>
                    <a:pt x="23622" y="102108"/>
                  </a:lnTo>
                  <a:lnTo>
                    <a:pt x="26162" y="104648"/>
                  </a:lnTo>
                  <a:lnTo>
                    <a:pt x="32639" y="104648"/>
                  </a:lnTo>
                  <a:lnTo>
                    <a:pt x="35178" y="102108"/>
                  </a:lnTo>
                  <a:lnTo>
                    <a:pt x="35178" y="95503"/>
                  </a:lnTo>
                  <a:lnTo>
                    <a:pt x="32639" y="92837"/>
                  </a:lnTo>
                  <a:close/>
                </a:path>
                <a:path w="317500" h="314325">
                  <a:moveTo>
                    <a:pt x="9017" y="92837"/>
                  </a:moveTo>
                  <a:lnTo>
                    <a:pt x="2540" y="92837"/>
                  </a:lnTo>
                  <a:lnTo>
                    <a:pt x="0" y="95503"/>
                  </a:lnTo>
                  <a:lnTo>
                    <a:pt x="0" y="102108"/>
                  </a:lnTo>
                  <a:lnTo>
                    <a:pt x="2540" y="104648"/>
                  </a:lnTo>
                  <a:lnTo>
                    <a:pt x="9017" y="104648"/>
                  </a:lnTo>
                  <a:lnTo>
                    <a:pt x="11556" y="102108"/>
                  </a:lnTo>
                  <a:lnTo>
                    <a:pt x="11556" y="95503"/>
                  </a:lnTo>
                  <a:lnTo>
                    <a:pt x="9017" y="92837"/>
                  </a:lnTo>
                  <a:close/>
                </a:path>
                <a:path w="317500" h="314325">
                  <a:moveTo>
                    <a:pt x="314071" y="69850"/>
                  </a:moveTo>
                  <a:lnTo>
                    <a:pt x="307594" y="69850"/>
                  </a:lnTo>
                  <a:lnTo>
                    <a:pt x="305053" y="72262"/>
                  </a:lnTo>
                  <a:lnTo>
                    <a:pt x="305053" y="78866"/>
                  </a:lnTo>
                  <a:lnTo>
                    <a:pt x="307594" y="81407"/>
                  </a:lnTo>
                  <a:lnTo>
                    <a:pt x="314071" y="81407"/>
                  </a:lnTo>
                  <a:lnTo>
                    <a:pt x="316992" y="78866"/>
                  </a:lnTo>
                  <a:lnTo>
                    <a:pt x="316992" y="72262"/>
                  </a:lnTo>
                  <a:lnTo>
                    <a:pt x="314071" y="69850"/>
                  </a:lnTo>
                  <a:close/>
                </a:path>
                <a:path w="317500" h="314325">
                  <a:moveTo>
                    <a:pt x="290956" y="69850"/>
                  </a:moveTo>
                  <a:lnTo>
                    <a:pt x="284606" y="69850"/>
                  </a:lnTo>
                  <a:lnTo>
                    <a:pt x="281940" y="72389"/>
                  </a:lnTo>
                  <a:lnTo>
                    <a:pt x="281940" y="78739"/>
                  </a:lnTo>
                  <a:lnTo>
                    <a:pt x="284606" y="81407"/>
                  </a:lnTo>
                  <a:lnTo>
                    <a:pt x="290956" y="81407"/>
                  </a:lnTo>
                  <a:lnTo>
                    <a:pt x="293497" y="78739"/>
                  </a:lnTo>
                  <a:lnTo>
                    <a:pt x="293497" y="72389"/>
                  </a:lnTo>
                  <a:lnTo>
                    <a:pt x="290956" y="69850"/>
                  </a:lnTo>
                  <a:close/>
                </a:path>
                <a:path w="317500" h="314325">
                  <a:moveTo>
                    <a:pt x="32639" y="69850"/>
                  </a:moveTo>
                  <a:lnTo>
                    <a:pt x="26162" y="69850"/>
                  </a:lnTo>
                  <a:lnTo>
                    <a:pt x="23622" y="72389"/>
                  </a:lnTo>
                  <a:lnTo>
                    <a:pt x="23622" y="78739"/>
                  </a:lnTo>
                  <a:lnTo>
                    <a:pt x="26162" y="81407"/>
                  </a:lnTo>
                  <a:lnTo>
                    <a:pt x="32639" y="81407"/>
                  </a:lnTo>
                  <a:lnTo>
                    <a:pt x="35178" y="78739"/>
                  </a:lnTo>
                  <a:lnTo>
                    <a:pt x="35178" y="72389"/>
                  </a:lnTo>
                  <a:lnTo>
                    <a:pt x="32639" y="69850"/>
                  </a:lnTo>
                  <a:close/>
                </a:path>
                <a:path w="317500" h="314325">
                  <a:moveTo>
                    <a:pt x="9017" y="69850"/>
                  </a:moveTo>
                  <a:lnTo>
                    <a:pt x="2540" y="69850"/>
                  </a:lnTo>
                  <a:lnTo>
                    <a:pt x="0" y="72389"/>
                  </a:lnTo>
                  <a:lnTo>
                    <a:pt x="0" y="78739"/>
                  </a:lnTo>
                  <a:lnTo>
                    <a:pt x="2540" y="81407"/>
                  </a:lnTo>
                  <a:lnTo>
                    <a:pt x="9017" y="81407"/>
                  </a:lnTo>
                  <a:lnTo>
                    <a:pt x="11556" y="78739"/>
                  </a:lnTo>
                  <a:lnTo>
                    <a:pt x="11556" y="72389"/>
                  </a:lnTo>
                  <a:lnTo>
                    <a:pt x="9017" y="69850"/>
                  </a:lnTo>
                  <a:close/>
                </a:path>
                <a:path w="317500" h="314325">
                  <a:moveTo>
                    <a:pt x="314071" y="46354"/>
                  </a:moveTo>
                  <a:lnTo>
                    <a:pt x="307594" y="46354"/>
                  </a:lnTo>
                  <a:lnTo>
                    <a:pt x="305053" y="49275"/>
                  </a:lnTo>
                  <a:lnTo>
                    <a:pt x="305053" y="55372"/>
                  </a:lnTo>
                  <a:lnTo>
                    <a:pt x="307594" y="57912"/>
                  </a:lnTo>
                  <a:lnTo>
                    <a:pt x="314071" y="57912"/>
                  </a:lnTo>
                  <a:lnTo>
                    <a:pt x="316992" y="55372"/>
                  </a:lnTo>
                  <a:lnTo>
                    <a:pt x="316992" y="49275"/>
                  </a:lnTo>
                  <a:lnTo>
                    <a:pt x="314071" y="46354"/>
                  </a:lnTo>
                  <a:close/>
                </a:path>
                <a:path w="317500" h="314325">
                  <a:moveTo>
                    <a:pt x="290956" y="46354"/>
                  </a:moveTo>
                  <a:lnTo>
                    <a:pt x="284606" y="46354"/>
                  </a:lnTo>
                  <a:lnTo>
                    <a:pt x="281940" y="48895"/>
                  </a:lnTo>
                  <a:lnTo>
                    <a:pt x="281940" y="55245"/>
                  </a:lnTo>
                  <a:lnTo>
                    <a:pt x="284606" y="57912"/>
                  </a:lnTo>
                  <a:lnTo>
                    <a:pt x="290956" y="57912"/>
                  </a:lnTo>
                  <a:lnTo>
                    <a:pt x="293497" y="55245"/>
                  </a:lnTo>
                  <a:lnTo>
                    <a:pt x="293497" y="48895"/>
                  </a:lnTo>
                  <a:lnTo>
                    <a:pt x="290956" y="46354"/>
                  </a:lnTo>
                  <a:close/>
                </a:path>
                <a:path w="317500" h="314325">
                  <a:moveTo>
                    <a:pt x="32639" y="46354"/>
                  </a:moveTo>
                  <a:lnTo>
                    <a:pt x="26162" y="46354"/>
                  </a:lnTo>
                  <a:lnTo>
                    <a:pt x="23622" y="48895"/>
                  </a:lnTo>
                  <a:lnTo>
                    <a:pt x="23622" y="55245"/>
                  </a:lnTo>
                  <a:lnTo>
                    <a:pt x="26162" y="57912"/>
                  </a:lnTo>
                  <a:lnTo>
                    <a:pt x="32639" y="57912"/>
                  </a:lnTo>
                  <a:lnTo>
                    <a:pt x="35178" y="55245"/>
                  </a:lnTo>
                  <a:lnTo>
                    <a:pt x="35178" y="48895"/>
                  </a:lnTo>
                  <a:lnTo>
                    <a:pt x="32639" y="46354"/>
                  </a:lnTo>
                  <a:close/>
                </a:path>
                <a:path w="317500" h="314325">
                  <a:moveTo>
                    <a:pt x="9017" y="46354"/>
                  </a:moveTo>
                  <a:lnTo>
                    <a:pt x="2540" y="46354"/>
                  </a:lnTo>
                  <a:lnTo>
                    <a:pt x="0" y="48895"/>
                  </a:lnTo>
                  <a:lnTo>
                    <a:pt x="0" y="55245"/>
                  </a:lnTo>
                  <a:lnTo>
                    <a:pt x="2540" y="57912"/>
                  </a:lnTo>
                  <a:lnTo>
                    <a:pt x="9017" y="57912"/>
                  </a:lnTo>
                  <a:lnTo>
                    <a:pt x="11556" y="55245"/>
                  </a:lnTo>
                  <a:lnTo>
                    <a:pt x="11556" y="48895"/>
                  </a:lnTo>
                  <a:lnTo>
                    <a:pt x="9017" y="46354"/>
                  </a:lnTo>
                  <a:close/>
                </a:path>
                <a:path w="317500" h="314325">
                  <a:moveTo>
                    <a:pt x="314071" y="23367"/>
                  </a:moveTo>
                  <a:lnTo>
                    <a:pt x="307594" y="23367"/>
                  </a:lnTo>
                  <a:lnTo>
                    <a:pt x="305053" y="25780"/>
                  </a:lnTo>
                  <a:lnTo>
                    <a:pt x="305053" y="32003"/>
                  </a:lnTo>
                  <a:lnTo>
                    <a:pt x="307594" y="34798"/>
                  </a:lnTo>
                  <a:lnTo>
                    <a:pt x="314071" y="34798"/>
                  </a:lnTo>
                  <a:lnTo>
                    <a:pt x="316992" y="32003"/>
                  </a:lnTo>
                  <a:lnTo>
                    <a:pt x="316992" y="25780"/>
                  </a:lnTo>
                  <a:lnTo>
                    <a:pt x="314071" y="23367"/>
                  </a:lnTo>
                  <a:close/>
                </a:path>
                <a:path w="317500" h="314325">
                  <a:moveTo>
                    <a:pt x="290956" y="23367"/>
                  </a:moveTo>
                  <a:lnTo>
                    <a:pt x="284606" y="23367"/>
                  </a:lnTo>
                  <a:lnTo>
                    <a:pt x="281940" y="25908"/>
                  </a:lnTo>
                  <a:lnTo>
                    <a:pt x="281940" y="32258"/>
                  </a:lnTo>
                  <a:lnTo>
                    <a:pt x="284606" y="34798"/>
                  </a:lnTo>
                  <a:lnTo>
                    <a:pt x="290956" y="34798"/>
                  </a:lnTo>
                  <a:lnTo>
                    <a:pt x="293497" y="32258"/>
                  </a:lnTo>
                  <a:lnTo>
                    <a:pt x="293497" y="25908"/>
                  </a:lnTo>
                  <a:lnTo>
                    <a:pt x="290956" y="23367"/>
                  </a:lnTo>
                  <a:close/>
                </a:path>
                <a:path w="317500" h="314325">
                  <a:moveTo>
                    <a:pt x="267462" y="23367"/>
                  </a:moveTo>
                  <a:lnTo>
                    <a:pt x="261112" y="23367"/>
                  </a:lnTo>
                  <a:lnTo>
                    <a:pt x="258445" y="25908"/>
                  </a:lnTo>
                  <a:lnTo>
                    <a:pt x="258445" y="32258"/>
                  </a:lnTo>
                  <a:lnTo>
                    <a:pt x="261112" y="34798"/>
                  </a:lnTo>
                  <a:lnTo>
                    <a:pt x="267462" y="34798"/>
                  </a:lnTo>
                  <a:lnTo>
                    <a:pt x="270128" y="32258"/>
                  </a:lnTo>
                  <a:lnTo>
                    <a:pt x="270128" y="25908"/>
                  </a:lnTo>
                  <a:lnTo>
                    <a:pt x="267462" y="23367"/>
                  </a:lnTo>
                  <a:close/>
                </a:path>
                <a:path w="317500" h="314325">
                  <a:moveTo>
                    <a:pt x="243840" y="23367"/>
                  </a:moveTo>
                  <a:lnTo>
                    <a:pt x="237236" y="23367"/>
                  </a:lnTo>
                  <a:lnTo>
                    <a:pt x="234569" y="25908"/>
                  </a:lnTo>
                  <a:lnTo>
                    <a:pt x="234569" y="32258"/>
                  </a:lnTo>
                  <a:lnTo>
                    <a:pt x="237236" y="34798"/>
                  </a:lnTo>
                  <a:lnTo>
                    <a:pt x="243840" y="34798"/>
                  </a:lnTo>
                  <a:lnTo>
                    <a:pt x="246506" y="32258"/>
                  </a:lnTo>
                  <a:lnTo>
                    <a:pt x="246506" y="25908"/>
                  </a:lnTo>
                  <a:lnTo>
                    <a:pt x="243840" y="23367"/>
                  </a:lnTo>
                  <a:close/>
                </a:path>
                <a:path w="317500" h="314325">
                  <a:moveTo>
                    <a:pt x="220345" y="23367"/>
                  </a:moveTo>
                  <a:lnTo>
                    <a:pt x="213614" y="23367"/>
                  </a:lnTo>
                  <a:lnTo>
                    <a:pt x="210947" y="25908"/>
                  </a:lnTo>
                  <a:lnTo>
                    <a:pt x="210947" y="32258"/>
                  </a:lnTo>
                  <a:lnTo>
                    <a:pt x="213614" y="34798"/>
                  </a:lnTo>
                  <a:lnTo>
                    <a:pt x="220345" y="34798"/>
                  </a:lnTo>
                  <a:lnTo>
                    <a:pt x="223012" y="32258"/>
                  </a:lnTo>
                  <a:lnTo>
                    <a:pt x="223012" y="25908"/>
                  </a:lnTo>
                  <a:lnTo>
                    <a:pt x="220345" y="23367"/>
                  </a:lnTo>
                  <a:close/>
                </a:path>
                <a:path w="317500" h="314325">
                  <a:moveTo>
                    <a:pt x="196850" y="23367"/>
                  </a:moveTo>
                  <a:lnTo>
                    <a:pt x="190373" y="23367"/>
                  </a:lnTo>
                  <a:lnTo>
                    <a:pt x="187833" y="25908"/>
                  </a:lnTo>
                  <a:lnTo>
                    <a:pt x="187833" y="32258"/>
                  </a:lnTo>
                  <a:lnTo>
                    <a:pt x="190373" y="34798"/>
                  </a:lnTo>
                  <a:lnTo>
                    <a:pt x="196850" y="34798"/>
                  </a:lnTo>
                  <a:lnTo>
                    <a:pt x="199390" y="32258"/>
                  </a:lnTo>
                  <a:lnTo>
                    <a:pt x="199390" y="25908"/>
                  </a:lnTo>
                  <a:lnTo>
                    <a:pt x="196850" y="23367"/>
                  </a:lnTo>
                  <a:close/>
                </a:path>
                <a:path w="317500" h="314325">
                  <a:moveTo>
                    <a:pt x="173354" y="23367"/>
                  </a:moveTo>
                  <a:lnTo>
                    <a:pt x="167004" y="23367"/>
                  </a:lnTo>
                  <a:lnTo>
                    <a:pt x="164338" y="25908"/>
                  </a:lnTo>
                  <a:lnTo>
                    <a:pt x="164338" y="32258"/>
                  </a:lnTo>
                  <a:lnTo>
                    <a:pt x="167004" y="34798"/>
                  </a:lnTo>
                  <a:lnTo>
                    <a:pt x="173354" y="34798"/>
                  </a:lnTo>
                  <a:lnTo>
                    <a:pt x="175895" y="32258"/>
                  </a:lnTo>
                  <a:lnTo>
                    <a:pt x="175895" y="25908"/>
                  </a:lnTo>
                  <a:lnTo>
                    <a:pt x="173354" y="23367"/>
                  </a:lnTo>
                  <a:close/>
                </a:path>
                <a:path w="317500" h="314325">
                  <a:moveTo>
                    <a:pt x="150114" y="23367"/>
                  </a:moveTo>
                  <a:lnTo>
                    <a:pt x="143383" y="23367"/>
                  </a:lnTo>
                  <a:lnTo>
                    <a:pt x="140716" y="25908"/>
                  </a:lnTo>
                  <a:lnTo>
                    <a:pt x="140716" y="32258"/>
                  </a:lnTo>
                  <a:lnTo>
                    <a:pt x="143383" y="34798"/>
                  </a:lnTo>
                  <a:lnTo>
                    <a:pt x="150114" y="34798"/>
                  </a:lnTo>
                  <a:lnTo>
                    <a:pt x="152780" y="32258"/>
                  </a:lnTo>
                  <a:lnTo>
                    <a:pt x="152780" y="25908"/>
                  </a:lnTo>
                  <a:lnTo>
                    <a:pt x="150114" y="23367"/>
                  </a:lnTo>
                  <a:close/>
                </a:path>
                <a:path w="317500" h="314325">
                  <a:moveTo>
                    <a:pt x="126619" y="23367"/>
                  </a:moveTo>
                  <a:lnTo>
                    <a:pt x="120015" y="23367"/>
                  </a:lnTo>
                  <a:lnTo>
                    <a:pt x="117348" y="25908"/>
                  </a:lnTo>
                  <a:lnTo>
                    <a:pt x="117348" y="32258"/>
                  </a:lnTo>
                  <a:lnTo>
                    <a:pt x="120015" y="34798"/>
                  </a:lnTo>
                  <a:lnTo>
                    <a:pt x="126619" y="34798"/>
                  </a:lnTo>
                  <a:lnTo>
                    <a:pt x="129286" y="32258"/>
                  </a:lnTo>
                  <a:lnTo>
                    <a:pt x="129286" y="25908"/>
                  </a:lnTo>
                  <a:lnTo>
                    <a:pt x="126619" y="23367"/>
                  </a:lnTo>
                  <a:close/>
                </a:path>
                <a:path w="317500" h="314325">
                  <a:moveTo>
                    <a:pt x="103124" y="23367"/>
                  </a:moveTo>
                  <a:lnTo>
                    <a:pt x="96774" y="23367"/>
                  </a:lnTo>
                  <a:lnTo>
                    <a:pt x="94106" y="25908"/>
                  </a:lnTo>
                  <a:lnTo>
                    <a:pt x="94106" y="32258"/>
                  </a:lnTo>
                  <a:lnTo>
                    <a:pt x="96774" y="34798"/>
                  </a:lnTo>
                  <a:lnTo>
                    <a:pt x="103124" y="34798"/>
                  </a:lnTo>
                  <a:lnTo>
                    <a:pt x="105664" y="32258"/>
                  </a:lnTo>
                  <a:lnTo>
                    <a:pt x="105664" y="25908"/>
                  </a:lnTo>
                  <a:lnTo>
                    <a:pt x="103124" y="23367"/>
                  </a:lnTo>
                  <a:close/>
                </a:path>
                <a:path w="317500" h="314325">
                  <a:moveTo>
                    <a:pt x="79628" y="23367"/>
                  </a:moveTo>
                  <a:lnTo>
                    <a:pt x="73278" y="23367"/>
                  </a:lnTo>
                  <a:lnTo>
                    <a:pt x="70739" y="25908"/>
                  </a:lnTo>
                  <a:lnTo>
                    <a:pt x="70739" y="32258"/>
                  </a:lnTo>
                  <a:lnTo>
                    <a:pt x="73278" y="34798"/>
                  </a:lnTo>
                  <a:lnTo>
                    <a:pt x="79628" y="34798"/>
                  </a:lnTo>
                  <a:lnTo>
                    <a:pt x="82296" y="32258"/>
                  </a:lnTo>
                  <a:lnTo>
                    <a:pt x="82296" y="25908"/>
                  </a:lnTo>
                  <a:lnTo>
                    <a:pt x="79628" y="23367"/>
                  </a:lnTo>
                  <a:close/>
                </a:path>
                <a:path w="317500" h="314325">
                  <a:moveTo>
                    <a:pt x="56006" y="23367"/>
                  </a:moveTo>
                  <a:lnTo>
                    <a:pt x="49656" y="23367"/>
                  </a:lnTo>
                  <a:lnTo>
                    <a:pt x="47117" y="25908"/>
                  </a:lnTo>
                  <a:lnTo>
                    <a:pt x="47117" y="32258"/>
                  </a:lnTo>
                  <a:lnTo>
                    <a:pt x="49656" y="34798"/>
                  </a:lnTo>
                  <a:lnTo>
                    <a:pt x="56006" y="34798"/>
                  </a:lnTo>
                  <a:lnTo>
                    <a:pt x="58674" y="32258"/>
                  </a:lnTo>
                  <a:lnTo>
                    <a:pt x="58674" y="25908"/>
                  </a:lnTo>
                  <a:lnTo>
                    <a:pt x="56006" y="23367"/>
                  </a:lnTo>
                  <a:close/>
                </a:path>
                <a:path w="317500" h="314325">
                  <a:moveTo>
                    <a:pt x="32639" y="23367"/>
                  </a:moveTo>
                  <a:lnTo>
                    <a:pt x="26162" y="23367"/>
                  </a:lnTo>
                  <a:lnTo>
                    <a:pt x="23622" y="25908"/>
                  </a:lnTo>
                  <a:lnTo>
                    <a:pt x="23622" y="32258"/>
                  </a:lnTo>
                  <a:lnTo>
                    <a:pt x="26162" y="34798"/>
                  </a:lnTo>
                  <a:lnTo>
                    <a:pt x="32639" y="34798"/>
                  </a:lnTo>
                  <a:lnTo>
                    <a:pt x="35178" y="32258"/>
                  </a:lnTo>
                  <a:lnTo>
                    <a:pt x="35178" y="25908"/>
                  </a:lnTo>
                  <a:lnTo>
                    <a:pt x="32639" y="23367"/>
                  </a:lnTo>
                  <a:close/>
                </a:path>
                <a:path w="317500" h="314325">
                  <a:moveTo>
                    <a:pt x="9017" y="23367"/>
                  </a:moveTo>
                  <a:lnTo>
                    <a:pt x="2540" y="23367"/>
                  </a:lnTo>
                  <a:lnTo>
                    <a:pt x="0" y="25908"/>
                  </a:lnTo>
                  <a:lnTo>
                    <a:pt x="0" y="32258"/>
                  </a:lnTo>
                  <a:lnTo>
                    <a:pt x="2540" y="34798"/>
                  </a:lnTo>
                  <a:lnTo>
                    <a:pt x="9017" y="34798"/>
                  </a:lnTo>
                  <a:lnTo>
                    <a:pt x="11556" y="32258"/>
                  </a:lnTo>
                  <a:lnTo>
                    <a:pt x="11556" y="25908"/>
                  </a:lnTo>
                  <a:lnTo>
                    <a:pt x="9017" y="23367"/>
                  </a:lnTo>
                  <a:close/>
                </a:path>
                <a:path w="317500" h="314325">
                  <a:moveTo>
                    <a:pt x="314071" y="0"/>
                  </a:moveTo>
                  <a:lnTo>
                    <a:pt x="307594" y="0"/>
                  </a:lnTo>
                  <a:lnTo>
                    <a:pt x="305053" y="2412"/>
                  </a:lnTo>
                  <a:lnTo>
                    <a:pt x="305053" y="9016"/>
                  </a:lnTo>
                  <a:lnTo>
                    <a:pt x="307594" y="11811"/>
                  </a:lnTo>
                  <a:lnTo>
                    <a:pt x="314071" y="11811"/>
                  </a:lnTo>
                  <a:lnTo>
                    <a:pt x="316992" y="9016"/>
                  </a:lnTo>
                  <a:lnTo>
                    <a:pt x="316992" y="2412"/>
                  </a:lnTo>
                  <a:lnTo>
                    <a:pt x="314071" y="0"/>
                  </a:lnTo>
                  <a:close/>
                </a:path>
                <a:path w="317500" h="314325">
                  <a:moveTo>
                    <a:pt x="290702" y="0"/>
                  </a:moveTo>
                  <a:lnTo>
                    <a:pt x="284479" y="0"/>
                  </a:lnTo>
                  <a:lnTo>
                    <a:pt x="281940" y="2412"/>
                  </a:lnTo>
                  <a:lnTo>
                    <a:pt x="281940" y="9016"/>
                  </a:lnTo>
                  <a:lnTo>
                    <a:pt x="284479" y="11811"/>
                  </a:lnTo>
                  <a:lnTo>
                    <a:pt x="290702" y="11811"/>
                  </a:lnTo>
                  <a:lnTo>
                    <a:pt x="293497" y="9016"/>
                  </a:lnTo>
                  <a:lnTo>
                    <a:pt x="293497" y="2412"/>
                  </a:lnTo>
                  <a:lnTo>
                    <a:pt x="290702" y="0"/>
                  </a:lnTo>
                  <a:close/>
                </a:path>
                <a:path w="317500" h="314325">
                  <a:moveTo>
                    <a:pt x="267208" y="0"/>
                  </a:moveTo>
                  <a:lnTo>
                    <a:pt x="260985" y="0"/>
                  </a:lnTo>
                  <a:lnTo>
                    <a:pt x="258445" y="2412"/>
                  </a:lnTo>
                  <a:lnTo>
                    <a:pt x="258445" y="9016"/>
                  </a:lnTo>
                  <a:lnTo>
                    <a:pt x="260985" y="11811"/>
                  </a:lnTo>
                  <a:lnTo>
                    <a:pt x="267208" y="11811"/>
                  </a:lnTo>
                  <a:lnTo>
                    <a:pt x="270128" y="9016"/>
                  </a:lnTo>
                  <a:lnTo>
                    <a:pt x="270128" y="2412"/>
                  </a:lnTo>
                  <a:lnTo>
                    <a:pt x="267208" y="0"/>
                  </a:lnTo>
                  <a:close/>
                </a:path>
                <a:path w="317500" h="314325">
                  <a:moveTo>
                    <a:pt x="243586" y="0"/>
                  </a:moveTo>
                  <a:lnTo>
                    <a:pt x="237490" y="0"/>
                  </a:lnTo>
                  <a:lnTo>
                    <a:pt x="234569" y="2412"/>
                  </a:lnTo>
                  <a:lnTo>
                    <a:pt x="234569" y="9016"/>
                  </a:lnTo>
                  <a:lnTo>
                    <a:pt x="237490" y="11811"/>
                  </a:lnTo>
                  <a:lnTo>
                    <a:pt x="243586" y="11811"/>
                  </a:lnTo>
                  <a:lnTo>
                    <a:pt x="246506" y="9016"/>
                  </a:lnTo>
                  <a:lnTo>
                    <a:pt x="246506" y="2412"/>
                  </a:lnTo>
                  <a:lnTo>
                    <a:pt x="243586" y="0"/>
                  </a:lnTo>
                  <a:close/>
                </a:path>
                <a:path w="317500" h="314325">
                  <a:moveTo>
                    <a:pt x="220472" y="0"/>
                  </a:moveTo>
                  <a:lnTo>
                    <a:pt x="213868" y="0"/>
                  </a:lnTo>
                  <a:lnTo>
                    <a:pt x="210947" y="2412"/>
                  </a:lnTo>
                  <a:lnTo>
                    <a:pt x="210947" y="9016"/>
                  </a:lnTo>
                  <a:lnTo>
                    <a:pt x="213868" y="11811"/>
                  </a:lnTo>
                  <a:lnTo>
                    <a:pt x="220472" y="11811"/>
                  </a:lnTo>
                  <a:lnTo>
                    <a:pt x="223012" y="9016"/>
                  </a:lnTo>
                  <a:lnTo>
                    <a:pt x="223012" y="2412"/>
                  </a:lnTo>
                  <a:lnTo>
                    <a:pt x="220472" y="0"/>
                  </a:lnTo>
                  <a:close/>
                </a:path>
                <a:path w="317500" h="314325">
                  <a:moveTo>
                    <a:pt x="196850" y="0"/>
                  </a:moveTo>
                  <a:lnTo>
                    <a:pt x="190246" y="0"/>
                  </a:lnTo>
                  <a:lnTo>
                    <a:pt x="187833" y="2412"/>
                  </a:lnTo>
                  <a:lnTo>
                    <a:pt x="187833" y="9016"/>
                  </a:lnTo>
                  <a:lnTo>
                    <a:pt x="190246" y="11811"/>
                  </a:lnTo>
                  <a:lnTo>
                    <a:pt x="196850" y="11811"/>
                  </a:lnTo>
                  <a:lnTo>
                    <a:pt x="199390" y="9016"/>
                  </a:lnTo>
                  <a:lnTo>
                    <a:pt x="199390" y="2412"/>
                  </a:lnTo>
                  <a:lnTo>
                    <a:pt x="196850" y="0"/>
                  </a:lnTo>
                  <a:close/>
                </a:path>
                <a:path w="317500" h="314325">
                  <a:moveTo>
                    <a:pt x="173481" y="0"/>
                  </a:moveTo>
                  <a:lnTo>
                    <a:pt x="166877" y="0"/>
                  </a:lnTo>
                  <a:lnTo>
                    <a:pt x="164338" y="2412"/>
                  </a:lnTo>
                  <a:lnTo>
                    <a:pt x="164338" y="9016"/>
                  </a:lnTo>
                  <a:lnTo>
                    <a:pt x="166877" y="11811"/>
                  </a:lnTo>
                  <a:lnTo>
                    <a:pt x="173481" y="11811"/>
                  </a:lnTo>
                  <a:lnTo>
                    <a:pt x="175895" y="9016"/>
                  </a:lnTo>
                  <a:lnTo>
                    <a:pt x="175895" y="2412"/>
                  </a:lnTo>
                  <a:lnTo>
                    <a:pt x="173481" y="0"/>
                  </a:lnTo>
                  <a:close/>
                </a:path>
                <a:path w="317500" h="314325">
                  <a:moveTo>
                    <a:pt x="150241" y="0"/>
                  </a:moveTo>
                  <a:lnTo>
                    <a:pt x="143255" y="0"/>
                  </a:lnTo>
                  <a:lnTo>
                    <a:pt x="140716" y="2412"/>
                  </a:lnTo>
                  <a:lnTo>
                    <a:pt x="140716" y="9016"/>
                  </a:lnTo>
                  <a:lnTo>
                    <a:pt x="143255" y="11811"/>
                  </a:lnTo>
                  <a:lnTo>
                    <a:pt x="150241" y="11811"/>
                  </a:lnTo>
                  <a:lnTo>
                    <a:pt x="152780" y="9016"/>
                  </a:lnTo>
                  <a:lnTo>
                    <a:pt x="152780" y="2412"/>
                  </a:lnTo>
                  <a:lnTo>
                    <a:pt x="150241" y="0"/>
                  </a:lnTo>
                  <a:close/>
                </a:path>
                <a:path w="317500" h="314325">
                  <a:moveTo>
                    <a:pt x="126873" y="0"/>
                  </a:moveTo>
                  <a:lnTo>
                    <a:pt x="119761" y="0"/>
                  </a:lnTo>
                  <a:lnTo>
                    <a:pt x="117348" y="2412"/>
                  </a:lnTo>
                  <a:lnTo>
                    <a:pt x="117348" y="9016"/>
                  </a:lnTo>
                  <a:lnTo>
                    <a:pt x="119761" y="11811"/>
                  </a:lnTo>
                  <a:lnTo>
                    <a:pt x="126873" y="11811"/>
                  </a:lnTo>
                  <a:lnTo>
                    <a:pt x="129286" y="9016"/>
                  </a:lnTo>
                  <a:lnTo>
                    <a:pt x="129286" y="2412"/>
                  </a:lnTo>
                  <a:lnTo>
                    <a:pt x="126873" y="0"/>
                  </a:lnTo>
                  <a:close/>
                </a:path>
                <a:path w="317500" h="314325">
                  <a:moveTo>
                    <a:pt x="102870" y="0"/>
                  </a:moveTo>
                  <a:lnTo>
                    <a:pt x="96647" y="0"/>
                  </a:lnTo>
                  <a:lnTo>
                    <a:pt x="94106" y="2412"/>
                  </a:lnTo>
                  <a:lnTo>
                    <a:pt x="94106" y="9016"/>
                  </a:lnTo>
                  <a:lnTo>
                    <a:pt x="96647" y="11811"/>
                  </a:lnTo>
                  <a:lnTo>
                    <a:pt x="102870" y="11811"/>
                  </a:lnTo>
                  <a:lnTo>
                    <a:pt x="105664" y="9016"/>
                  </a:lnTo>
                  <a:lnTo>
                    <a:pt x="105664" y="2412"/>
                  </a:lnTo>
                  <a:lnTo>
                    <a:pt x="102870" y="0"/>
                  </a:lnTo>
                  <a:close/>
                </a:path>
                <a:path w="317500" h="314325">
                  <a:moveTo>
                    <a:pt x="79375" y="0"/>
                  </a:moveTo>
                  <a:lnTo>
                    <a:pt x="73151" y="0"/>
                  </a:lnTo>
                  <a:lnTo>
                    <a:pt x="70739" y="2412"/>
                  </a:lnTo>
                  <a:lnTo>
                    <a:pt x="70739" y="9016"/>
                  </a:lnTo>
                  <a:lnTo>
                    <a:pt x="73151" y="11811"/>
                  </a:lnTo>
                  <a:lnTo>
                    <a:pt x="79375" y="11811"/>
                  </a:lnTo>
                  <a:lnTo>
                    <a:pt x="82296" y="9016"/>
                  </a:lnTo>
                  <a:lnTo>
                    <a:pt x="82296" y="2412"/>
                  </a:lnTo>
                  <a:lnTo>
                    <a:pt x="79375" y="0"/>
                  </a:lnTo>
                  <a:close/>
                </a:path>
                <a:path w="317500" h="314325">
                  <a:moveTo>
                    <a:pt x="56134" y="0"/>
                  </a:moveTo>
                  <a:lnTo>
                    <a:pt x="49529" y="0"/>
                  </a:lnTo>
                  <a:lnTo>
                    <a:pt x="47117" y="2412"/>
                  </a:lnTo>
                  <a:lnTo>
                    <a:pt x="47117" y="9016"/>
                  </a:lnTo>
                  <a:lnTo>
                    <a:pt x="49529" y="11811"/>
                  </a:lnTo>
                  <a:lnTo>
                    <a:pt x="56134" y="11811"/>
                  </a:lnTo>
                  <a:lnTo>
                    <a:pt x="58674" y="9016"/>
                  </a:lnTo>
                  <a:lnTo>
                    <a:pt x="58674" y="2412"/>
                  </a:lnTo>
                  <a:lnTo>
                    <a:pt x="56134" y="0"/>
                  </a:lnTo>
                  <a:close/>
                </a:path>
                <a:path w="317500" h="314325">
                  <a:moveTo>
                    <a:pt x="32766" y="0"/>
                  </a:moveTo>
                  <a:lnTo>
                    <a:pt x="26543" y="0"/>
                  </a:lnTo>
                  <a:lnTo>
                    <a:pt x="23622" y="2412"/>
                  </a:lnTo>
                  <a:lnTo>
                    <a:pt x="23622" y="9016"/>
                  </a:lnTo>
                  <a:lnTo>
                    <a:pt x="26543" y="11811"/>
                  </a:lnTo>
                  <a:lnTo>
                    <a:pt x="32766" y="11811"/>
                  </a:lnTo>
                  <a:lnTo>
                    <a:pt x="35178" y="9016"/>
                  </a:lnTo>
                  <a:lnTo>
                    <a:pt x="35178" y="2412"/>
                  </a:lnTo>
                  <a:lnTo>
                    <a:pt x="32766" y="0"/>
                  </a:lnTo>
                  <a:close/>
                </a:path>
                <a:path w="317500" h="314325">
                  <a:moveTo>
                    <a:pt x="9144" y="0"/>
                  </a:moveTo>
                  <a:lnTo>
                    <a:pt x="2921" y="0"/>
                  </a:lnTo>
                  <a:lnTo>
                    <a:pt x="0" y="2412"/>
                  </a:lnTo>
                  <a:lnTo>
                    <a:pt x="0" y="9016"/>
                  </a:lnTo>
                  <a:lnTo>
                    <a:pt x="2921" y="11811"/>
                  </a:lnTo>
                  <a:lnTo>
                    <a:pt x="9144" y="11811"/>
                  </a:lnTo>
                  <a:lnTo>
                    <a:pt x="11556" y="9016"/>
                  </a:lnTo>
                  <a:lnTo>
                    <a:pt x="11556" y="241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45" name="组合 44"/>
          <p:cNvGrpSpPr>
            <a:grpSpLocks noChangeAspect="1"/>
          </p:cNvGrpSpPr>
          <p:nvPr/>
        </p:nvGrpSpPr>
        <p:grpSpPr>
          <a:xfrm>
            <a:off x="3722961" y="3284984"/>
            <a:ext cx="624790" cy="616868"/>
            <a:chOff x="8269007" y="2787537"/>
            <a:chExt cx="350520" cy="346075"/>
          </a:xfrm>
        </p:grpSpPr>
        <p:sp>
          <p:nvSpPr>
            <p:cNvPr id="46" name="object 32"/>
            <p:cNvSpPr/>
            <p:nvPr/>
          </p:nvSpPr>
          <p:spPr>
            <a:xfrm>
              <a:off x="8269007" y="2787537"/>
              <a:ext cx="350520" cy="346075"/>
            </a:xfrm>
            <a:custGeom>
              <a:avLst/>
              <a:gdLst/>
              <a:ahLst/>
              <a:cxnLst/>
              <a:rect l="l" t="t" r="r" b="b"/>
              <a:pathLst>
                <a:path w="350520" h="346075">
                  <a:moveTo>
                    <a:pt x="345312" y="0"/>
                  </a:moveTo>
                  <a:lnTo>
                    <a:pt x="5206" y="0"/>
                  </a:lnTo>
                  <a:lnTo>
                    <a:pt x="0" y="5079"/>
                  </a:lnTo>
                  <a:lnTo>
                    <a:pt x="0" y="340867"/>
                  </a:lnTo>
                  <a:lnTo>
                    <a:pt x="5206" y="345948"/>
                  </a:lnTo>
                  <a:lnTo>
                    <a:pt x="345312" y="345948"/>
                  </a:lnTo>
                  <a:lnTo>
                    <a:pt x="350519" y="340867"/>
                  </a:lnTo>
                  <a:lnTo>
                    <a:pt x="350519" y="5079"/>
                  </a:lnTo>
                  <a:close/>
                </a:path>
              </a:pathLst>
            </a:custGeom>
            <a:solidFill>
              <a:srgbClr val="21B9CE"/>
            </a:solidFill>
            <a:effectLst/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  <p:sp>
          <p:nvSpPr>
            <p:cNvPr id="47" name="object 33"/>
            <p:cNvSpPr/>
            <p:nvPr/>
          </p:nvSpPr>
          <p:spPr>
            <a:xfrm>
              <a:off x="8285517" y="2800998"/>
              <a:ext cx="317500" cy="314325"/>
            </a:xfrm>
            <a:custGeom>
              <a:avLst/>
              <a:gdLst/>
              <a:ahLst/>
              <a:cxnLst/>
              <a:rect l="l" t="t" r="r" b="b"/>
              <a:pathLst>
                <a:path w="317500" h="314325">
                  <a:moveTo>
                    <a:pt x="314071" y="302387"/>
                  </a:moveTo>
                  <a:lnTo>
                    <a:pt x="307594" y="302387"/>
                  </a:lnTo>
                  <a:lnTo>
                    <a:pt x="305053" y="304926"/>
                  </a:lnTo>
                  <a:lnTo>
                    <a:pt x="305053" y="311530"/>
                  </a:lnTo>
                  <a:lnTo>
                    <a:pt x="307594" y="313943"/>
                  </a:lnTo>
                  <a:lnTo>
                    <a:pt x="314071" y="313943"/>
                  </a:lnTo>
                  <a:lnTo>
                    <a:pt x="316992" y="311530"/>
                  </a:lnTo>
                  <a:lnTo>
                    <a:pt x="316992" y="304926"/>
                  </a:lnTo>
                  <a:lnTo>
                    <a:pt x="314071" y="302387"/>
                  </a:lnTo>
                  <a:close/>
                </a:path>
                <a:path w="317500" h="314325">
                  <a:moveTo>
                    <a:pt x="290956" y="302387"/>
                  </a:moveTo>
                  <a:lnTo>
                    <a:pt x="284606" y="302387"/>
                  </a:lnTo>
                  <a:lnTo>
                    <a:pt x="281940" y="305053"/>
                  </a:lnTo>
                  <a:lnTo>
                    <a:pt x="281940" y="311403"/>
                  </a:lnTo>
                  <a:lnTo>
                    <a:pt x="284606" y="313943"/>
                  </a:lnTo>
                  <a:lnTo>
                    <a:pt x="290956" y="313943"/>
                  </a:lnTo>
                  <a:lnTo>
                    <a:pt x="293497" y="311403"/>
                  </a:lnTo>
                  <a:lnTo>
                    <a:pt x="293497" y="305053"/>
                  </a:lnTo>
                  <a:lnTo>
                    <a:pt x="290956" y="302387"/>
                  </a:lnTo>
                  <a:close/>
                </a:path>
                <a:path w="317500" h="314325">
                  <a:moveTo>
                    <a:pt x="267462" y="302387"/>
                  </a:moveTo>
                  <a:lnTo>
                    <a:pt x="261112" y="302387"/>
                  </a:lnTo>
                  <a:lnTo>
                    <a:pt x="258445" y="305053"/>
                  </a:lnTo>
                  <a:lnTo>
                    <a:pt x="258445" y="311403"/>
                  </a:lnTo>
                  <a:lnTo>
                    <a:pt x="261112" y="313943"/>
                  </a:lnTo>
                  <a:lnTo>
                    <a:pt x="267462" y="313943"/>
                  </a:lnTo>
                  <a:lnTo>
                    <a:pt x="270128" y="311403"/>
                  </a:lnTo>
                  <a:lnTo>
                    <a:pt x="270128" y="305053"/>
                  </a:lnTo>
                  <a:lnTo>
                    <a:pt x="267462" y="302387"/>
                  </a:lnTo>
                  <a:close/>
                </a:path>
                <a:path w="317500" h="314325">
                  <a:moveTo>
                    <a:pt x="243840" y="302387"/>
                  </a:moveTo>
                  <a:lnTo>
                    <a:pt x="237236" y="302387"/>
                  </a:lnTo>
                  <a:lnTo>
                    <a:pt x="234569" y="305053"/>
                  </a:lnTo>
                  <a:lnTo>
                    <a:pt x="234569" y="311403"/>
                  </a:lnTo>
                  <a:lnTo>
                    <a:pt x="237236" y="313943"/>
                  </a:lnTo>
                  <a:lnTo>
                    <a:pt x="243840" y="313943"/>
                  </a:lnTo>
                  <a:lnTo>
                    <a:pt x="246506" y="311403"/>
                  </a:lnTo>
                  <a:lnTo>
                    <a:pt x="246506" y="305053"/>
                  </a:lnTo>
                  <a:lnTo>
                    <a:pt x="243840" y="302387"/>
                  </a:lnTo>
                  <a:close/>
                </a:path>
                <a:path w="317500" h="314325">
                  <a:moveTo>
                    <a:pt x="220345" y="302387"/>
                  </a:moveTo>
                  <a:lnTo>
                    <a:pt x="213614" y="302387"/>
                  </a:lnTo>
                  <a:lnTo>
                    <a:pt x="210947" y="305053"/>
                  </a:lnTo>
                  <a:lnTo>
                    <a:pt x="210947" y="311403"/>
                  </a:lnTo>
                  <a:lnTo>
                    <a:pt x="213614" y="313943"/>
                  </a:lnTo>
                  <a:lnTo>
                    <a:pt x="220345" y="313943"/>
                  </a:lnTo>
                  <a:lnTo>
                    <a:pt x="223012" y="311403"/>
                  </a:lnTo>
                  <a:lnTo>
                    <a:pt x="223012" y="305053"/>
                  </a:lnTo>
                  <a:lnTo>
                    <a:pt x="220345" y="302387"/>
                  </a:lnTo>
                  <a:close/>
                </a:path>
                <a:path w="317500" h="314325">
                  <a:moveTo>
                    <a:pt x="196850" y="302387"/>
                  </a:moveTo>
                  <a:lnTo>
                    <a:pt x="190373" y="302387"/>
                  </a:lnTo>
                  <a:lnTo>
                    <a:pt x="187833" y="305053"/>
                  </a:lnTo>
                  <a:lnTo>
                    <a:pt x="187833" y="311403"/>
                  </a:lnTo>
                  <a:lnTo>
                    <a:pt x="190373" y="313943"/>
                  </a:lnTo>
                  <a:lnTo>
                    <a:pt x="196850" y="313943"/>
                  </a:lnTo>
                  <a:lnTo>
                    <a:pt x="199390" y="311403"/>
                  </a:lnTo>
                  <a:lnTo>
                    <a:pt x="199390" y="305053"/>
                  </a:lnTo>
                  <a:lnTo>
                    <a:pt x="196850" y="302387"/>
                  </a:lnTo>
                  <a:close/>
                </a:path>
                <a:path w="317500" h="314325">
                  <a:moveTo>
                    <a:pt x="173354" y="302387"/>
                  </a:moveTo>
                  <a:lnTo>
                    <a:pt x="167004" y="302387"/>
                  </a:lnTo>
                  <a:lnTo>
                    <a:pt x="164338" y="305053"/>
                  </a:lnTo>
                  <a:lnTo>
                    <a:pt x="164338" y="311403"/>
                  </a:lnTo>
                  <a:lnTo>
                    <a:pt x="167004" y="313943"/>
                  </a:lnTo>
                  <a:lnTo>
                    <a:pt x="173354" y="313943"/>
                  </a:lnTo>
                  <a:lnTo>
                    <a:pt x="175895" y="311403"/>
                  </a:lnTo>
                  <a:lnTo>
                    <a:pt x="175895" y="305053"/>
                  </a:lnTo>
                  <a:lnTo>
                    <a:pt x="173354" y="302387"/>
                  </a:lnTo>
                  <a:close/>
                </a:path>
                <a:path w="317500" h="314325">
                  <a:moveTo>
                    <a:pt x="150114" y="302387"/>
                  </a:moveTo>
                  <a:lnTo>
                    <a:pt x="143383" y="302387"/>
                  </a:lnTo>
                  <a:lnTo>
                    <a:pt x="140716" y="305053"/>
                  </a:lnTo>
                  <a:lnTo>
                    <a:pt x="140716" y="311403"/>
                  </a:lnTo>
                  <a:lnTo>
                    <a:pt x="143383" y="313943"/>
                  </a:lnTo>
                  <a:lnTo>
                    <a:pt x="150114" y="313943"/>
                  </a:lnTo>
                  <a:lnTo>
                    <a:pt x="152780" y="311403"/>
                  </a:lnTo>
                  <a:lnTo>
                    <a:pt x="152780" y="305053"/>
                  </a:lnTo>
                  <a:lnTo>
                    <a:pt x="150114" y="302387"/>
                  </a:lnTo>
                  <a:close/>
                </a:path>
                <a:path w="317500" h="314325">
                  <a:moveTo>
                    <a:pt x="126619" y="302387"/>
                  </a:moveTo>
                  <a:lnTo>
                    <a:pt x="120015" y="302387"/>
                  </a:lnTo>
                  <a:lnTo>
                    <a:pt x="117348" y="305053"/>
                  </a:lnTo>
                  <a:lnTo>
                    <a:pt x="117348" y="311403"/>
                  </a:lnTo>
                  <a:lnTo>
                    <a:pt x="120015" y="313943"/>
                  </a:lnTo>
                  <a:lnTo>
                    <a:pt x="126619" y="313943"/>
                  </a:lnTo>
                  <a:lnTo>
                    <a:pt x="129286" y="311403"/>
                  </a:lnTo>
                  <a:lnTo>
                    <a:pt x="129286" y="305053"/>
                  </a:lnTo>
                  <a:lnTo>
                    <a:pt x="126619" y="302387"/>
                  </a:lnTo>
                  <a:close/>
                </a:path>
                <a:path w="317500" h="314325">
                  <a:moveTo>
                    <a:pt x="103124" y="302387"/>
                  </a:moveTo>
                  <a:lnTo>
                    <a:pt x="96774" y="302387"/>
                  </a:lnTo>
                  <a:lnTo>
                    <a:pt x="94106" y="305053"/>
                  </a:lnTo>
                  <a:lnTo>
                    <a:pt x="94106" y="311403"/>
                  </a:lnTo>
                  <a:lnTo>
                    <a:pt x="96774" y="313943"/>
                  </a:lnTo>
                  <a:lnTo>
                    <a:pt x="103124" y="313943"/>
                  </a:lnTo>
                  <a:lnTo>
                    <a:pt x="105664" y="311403"/>
                  </a:lnTo>
                  <a:lnTo>
                    <a:pt x="105664" y="305053"/>
                  </a:lnTo>
                  <a:lnTo>
                    <a:pt x="103124" y="302387"/>
                  </a:lnTo>
                  <a:close/>
                </a:path>
                <a:path w="317500" h="314325">
                  <a:moveTo>
                    <a:pt x="79628" y="302387"/>
                  </a:moveTo>
                  <a:lnTo>
                    <a:pt x="73278" y="302387"/>
                  </a:lnTo>
                  <a:lnTo>
                    <a:pt x="70739" y="305053"/>
                  </a:lnTo>
                  <a:lnTo>
                    <a:pt x="70739" y="311403"/>
                  </a:lnTo>
                  <a:lnTo>
                    <a:pt x="73278" y="313943"/>
                  </a:lnTo>
                  <a:lnTo>
                    <a:pt x="79628" y="313943"/>
                  </a:lnTo>
                  <a:lnTo>
                    <a:pt x="82296" y="311403"/>
                  </a:lnTo>
                  <a:lnTo>
                    <a:pt x="82296" y="305053"/>
                  </a:lnTo>
                  <a:lnTo>
                    <a:pt x="79628" y="302387"/>
                  </a:lnTo>
                  <a:close/>
                </a:path>
                <a:path w="317500" h="314325">
                  <a:moveTo>
                    <a:pt x="56006" y="302387"/>
                  </a:moveTo>
                  <a:lnTo>
                    <a:pt x="49656" y="302387"/>
                  </a:lnTo>
                  <a:lnTo>
                    <a:pt x="47117" y="305053"/>
                  </a:lnTo>
                  <a:lnTo>
                    <a:pt x="47117" y="311403"/>
                  </a:lnTo>
                  <a:lnTo>
                    <a:pt x="49656" y="313943"/>
                  </a:lnTo>
                  <a:lnTo>
                    <a:pt x="56006" y="313943"/>
                  </a:lnTo>
                  <a:lnTo>
                    <a:pt x="58674" y="311403"/>
                  </a:lnTo>
                  <a:lnTo>
                    <a:pt x="58674" y="305053"/>
                  </a:lnTo>
                  <a:lnTo>
                    <a:pt x="56006" y="302387"/>
                  </a:lnTo>
                  <a:close/>
                </a:path>
                <a:path w="317500" h="314325">
                  <a:moveTo>
                    <a:pt x="32639" y="302387"/>
                  </a:moveTo>
                  <a:lnTo>
                    <a:pt x="26162" y="302387"/>
                  </a:lnTo>
                  <a:lnTo>
                    <a:pt x="23622" y="305053"/>
                  </a:lnTo>
                  <a:lnTo>
                    <a:pt x="23622" y="311403"/>
                  </a:lnTo>
                  <a:lnTo>
                    <a:pt x="26162" y="313943"/>
                  </a:lnTo>
                  <a:lnTo>
                    <a:pt x="32639" y="313943"/>
                  </a:lnTo>
                  <a:lnTo>
                    <a:pt x="35178" y="311403"/>
                  </a:lnTo>
                  <a:lnTo>
                    <a:pt x="35178" y="305053"/>
                  </a:lnTo>
                  <a:lnTo>
                    <a:pt x="32639" y="302387"/>
                  </a:lnTo>
                  <a:close/>
                </a:path>
                <a:path w="317500" h="314325">
                  <a:moveTo>
                    <a:pt x="9017" y="302387"/>
                  </a:moveTo>
                  <a:lnTo>
                    <a:pt x="2540" y="302387"/>
                  </a:lnTo>
                  <a:lnTo>
                    <a:pt x="0" y="305053"/>
                  </a:lnTo>
                  <a:lnTo>
                    <a:pt x="0" y="311403"/>
                  </a:lnTo>
                  <a:lnTo>
                    <a:pt x="2540" y="313943"/>
                  </a:lnTo>
                  <a:lnTo>
                    <a:pt x="9017" y="313943"/>
                  </a:lnTo>
                  <a:lnTo>
                    <a:pt x="11556" y="311403"/>
                  </a:lnTo>
                  <a:lnTo>
                    <a:pt x="11556" y="305053"/>
                  </a:lnTo>
                  <a:lnTo>
                    <a:pt x="9017" y="302387"/>
                  </a:lnTo>
                  <a:close/>
                </a:path>
                <a:path w="317500" h="314325">
                  <a:moveTo>
                    <a:pt x="314071" y="278891"/>
                  </a:moveTo>
                  <a:lnTo>
                    <a:pt x="307594" y="278891"/>
                  </a:lnTo>
                  <a:lnTo>
                    <a:pt x="305053" y="281813"/>
                  </a:lnTo>
                  <a:lnTo>
                    <a:pt x="305053" y="288036"/>
                  </a:lnTo>
                  <a:lnTo>
                    <a:pt x="307594" y="290449"/>
                  </a:lnTo>
                  <a:lnTo>
                    <a:pt x="314071" y="290449"/>
                  </a:lnTo>
                  <a:lnTo>
                    <a:pt x="316992" y="288036"/>
                  </a:lnTo>
                  <a:lnTo>
                    <a:pt x="316992" y="281813"/>
                  </a:lnTo>
                  <a:lnTo>
                    <a:pt x="314071" y="278891"/>
                  </a:lnTo>
                  <a:close/>
                </a:path>
                <a:path w="317500" h="314325">
                  <a:moveTo>
                    <a:pt x="290956" y="278891"/>
                  </a:moveTo>
                  <a:lnTo>
                    <a:pt x="284606" y="278891"/>
                  </a:lnTo>
                  <a:lnTo>
                    <a:pt x="281940" y="281559"/>
                  </a:lnTo>
                  <a:lnTo>
                    <a:pt x="281940" y="287909"/>
                  </a:lnTo>
                  <a:lnTo>
                    <a:pt x="284606" y="290449"/>
                  </a:lnTo>
                  <a:lnTo>
                    <a:pt x="290956" y="290449"/>
                  </a:lnTo>
                  <a:lnTo>
                    <a:pt x="293497" y="287909"/>
                  </a:lnTo>
                  <a:lnTo>
                    <a:pt x="293497" y="281559"/>
                  </a:lnTo>
                  <a:lnTo>
                    <a:pt x="290956" y="278891"/>
                  </a:lnTo>
                  <a:close/>
                </a:path>
                <a:path w="317500" h="314325">
                  <a:moveTo>
                    <a:pt x="267462" y="278891"/>
                  </a:moveTo>
                  <a:lnTo>
                    <a:pt x="261112" y="278891"/>
                  </a:lnTo>
                  <a:lnTo>
                    <a:pt x="258445" y="281559"/>
                  </a:lnTo>
                  <a:lnTo>
                    <a:pt x="258445" y="287909"/>
                  </a:lnTo>
                  <a:lnTo>
                    <a:pt x="261112" y="290449"/>
                  </a:lnTo>
                  <a:lnTo>
                    <a:pt x="267462" y="290449"/>
                  </a:lnTo>
                  <a:lnTo>
                    <a:pt x="270128" y="287909"/>
                  </a:lnTo>
                  <a:lnTo>
                    <a:pt x="270128" y="281559"/>
                  </a:lnTo>
                  <a:lnTo>
                    <a:pt x="267462" y="278891"/>
                  </a:lnTo>
                  <a:close/>
                </a:path>
                <a:path w="317500" h="314325">
                  <a:moveTo>
                    <a:pt x="243840" y="278891"/>
                  </a:moveTo>
                  <a:lnTo>
                    <a:pt x="237236" y="278891"/>
                  </a:lnTo>
                  <a:lnTo>
                    <a:pt x="234569" y="281559"/>
                  </a:lnTo>
                  <a:lnTo>
                    <a:pt x="234569" y="287909"/>
                  </a:lnTo>
                  <a:lnTo>
                    <a:pt x="237236" y="290449"/>
                  </a:lnTo>
                  <a:lnTo>
                    <a:pt x="243840" y="290449"/>
                  </a:lnTo>
                  <a:lnTo>
                    <a:pt x="246506" y="287909"/>
                  </a:lnTo>
                  <a:lnTo>
                    <a:pt x="246506" y="281559"/>
                  </a:lnTo>
                  <a:lnTo>
                    <a:pt x="243840" y="278891"/>
                  </a:lnTo>
                  <a:close/>
                </a:path>
                <a:path w="317500" h="314325">
                  <a:moveTo>
                    <a:pt x="220345" y="278891"/>
                  </a:moveTo>
                  <a:lnTo>
                    <a:pt x="213614" y="278891"/>
                  </a:lnTo>
                  <a:lnTo>
                    <a:pt x="210947" y="281559"/>
                  </a:lnTo>
                  <a:lnTo>
                    <a:pt x="210947" y="287909"/>
                  </a:lnTo>
                  <a:lnTo>
                    <a:pt x="213614" y="290449"/>
                  </a:lnTo>
                  <a:lnTo>
                    <a:pt x="220345" y="290449"/>
                  </a:lnTo>
                  <a:lnTo>
                    <a:pt x="223012" y="287909"/>
                  </a:lnTo>
                  <a:lnTo>
                    <a:pt x="223012" y="281559"/>
                  </a:lnTo>
                  <a:lnTo>
                    <a:pt x="220345" y="278891"/>
                  </a:lnTo>
                  <a:close/>
                </a:path>
                <a:path w="317500" h="314325">
                  <a:moveTo>
                    <a:pt x="196850" y="278891"/>
                  </a:moveTo>
                  <a:lnTo>
                    <a:pt x="190373" y="278891"/>
                  </a:lnTo>
                  <a:lnTo>
                    <a:pt x="187833" y="281559"/>
                  </a:lnTo>
                  <a:lnTo>
                    <a:pt x="187833" y="287909"/>
                  </a:lnTo>
                  <a:lnTo>
                    <a:pt x="190373" y="290449"/>
                  </a:lnTo>
                  <a:lnTo>
                    <a:pt x="196850" y="290449"/>
                  </a:lnTo>
                  <a:lnTo>
                    <a:pt x="199390" y="287909"/>
                  </a:lnTo>
                  <a:lnTo>
                    <a:pt x="199390" y="281559"/>
                  </a:lnTo>
                  <a:lnTo>
                    <a:pt x="196850" y="278891"/>
                  </a:lnTo>
                  <a:close/>
                </a:path>
                <a:path w="317500" h="314325">
                  <a:moveTo>
                    <a:pt x="173354" y="278891"/>
                  </a:moveTo>
                  <a:lnTo>
                    <a:pt x="167004" y="278891"/>
                  </a:lnTo>
                  <a:lnTo>
                    <a:pt x="164338" y="281559"/>
                  </a:lnTo>
                  <a:lnTo>
                    <a:pt x="164338" y="287909"/>
                  </a:lnTo>
                  <a:lnTo>
                    <a:pt x="167004" y="290449"/>
                  </a:lnTo>
                  <a:lnTo>
                    <a:pt x="173354" y="290449"/>
                  </a:lnTo>
                  <a:lnTo>
                    <a:pt x="175895" y="287909"/>
                  </a:lnTo>
                  <a:lnTo>
                    <a:pt x="175895" y="281559"/>
                  </a:lnTo>
                  <a:lnTo>
                    <a:pt x="173354" y="278891"/>
                  </a:lnTo>
                  <a:close/>
                </a:path>
                <a:path w="317500" h="314325">
                  <a:moveTo>
                    <a:pt x="150114" y="278891"/>
                  </a:moveTo>
                  <a:lnTo>
                    <a:pt x="143383" y="278891"/>
                  </a:lnTo>
                  <a:lnTo>
                    <a:pt x="140716" y="281559"/>
                  </a:lnTo>
                  <a:lnTo>
                    <a:pt x="140716" y="287909"/>
                  </a:lnTo>
                  <a:lnTo>
                    <a:pt x="143383" y="290449"/>
                  </a:lnTo>
                  <a:lnTo>
                    <a:pt x="150114" y="290449"/>
                  </a:lnTo>
                  <a:lnTo>
                    <a:pt x="152780" y="287909"/>
                  </a:lnTo>
                  <a:lnTo>
                    <a:pt x="152780" y="281559"/>
                  </a:lnTo>
                  <a:lnTo>
                    <a:pt x="150114" y="278891"/>
                  </a:lnTo>
                  <a:close/>
                </a:path>
                <a:path w="317500" h="314325">
                  <a:moveTo>
                    <a:pt x="126619" y="278891"/>
                  </a:moveTo>
                  <a:lnTo>
                    <a:pt x="120015" y="278891"/>
                  </a:lnTo>
                  <a:lnTo>
                    <a:pt x="117348" y="281559"/>
                  </a:lnTo>
                  <a:lnTo>
                    <a:pt x="117348" y="287909"/>
                  </a:lnTo>
                  <a:lnTo>
                    <a:pt x="120015" y="290449"/>
                  </a:lnTo>
                  <a:lnTo>
                    <a:pt x="126619" y="290449"/>
                  </a:lnTo>
                  <a:lnTo>
                    <a:pt x="129286" y="287909"/>
                  </a:lnTo>
                  <a:lnTo>
                    <a:pt x="129286" y="281559"/>
                  </a:lnTo>
                  <a:lnTo>
                    <a:pt x="126619" y="278891"/>
                  </a:lnTo>
                  <a:close/>
                </a:path>
                <a:path w="317500" h="314325">
                  <a:moveTo>
                    <a:pt x="103124" y="278891"/>
                  </a:moveTo>
                  <a:lnTo>
                    <a:pt x="96774" y="278891"/>
                  </a:lnTo>
                  <a:lnTo>
                    <a:pt x="94106" y="281559"/>
                  </a:lnTo>
                  <a:lnTo>
                    <a:pt x="94106" y="287909"/>
                  </a:lnTo>
                  <a:lnTo>
                    <a:pt x="96774" y="290449"/>
                  </a:lnTo>
                  <a:lnTo>
                    <a:pt x="103124" y="290449"/>
                  </a:lnTo>
                  <a:lnTo>
                    <a:pt x="105664" y="287909"/>
                  </a:lnTo>
                  <a:lnTo>
                    <a:pt x="105664" y="281559"/>
                  </a:lnTo>
                  <a:lnTo>
                    <a:pt x="103124" y="278891"/>
                  </a:lnTo>
                  <a:close/>
                </a:path>
                <a:path w="317500" h="314325">
                  <a:moveTo>
                    <a:pt x="79628" y="278891"/>
                  </a:moveTo>
                  <a:lnTo>
                    <a:pt x="73278" y="278891"/>
                  </a:lnTo>
                  <a:lnTo>
                    <a:pt x="70739" y="281559"/>
                  </a:lnTo>
                  <a:lnTo>
                    <a:pt x="70739" y="287909"/>
                  </a:lnTo>
                  <a:lnTo>
                    <a:pt x="73278" y="290449"/>
                  </a:lnTo>
                  <a:lnTo>
                    <a:pt x="79628" y="290449"/>
                  </a:lnTo>
                  <a:lnTo>
                    <a:pt x="82296" y="287909"/>
                  </a:lnTo>
                  <a:lnTo>
                    <a:pt x="82296" y="281559"/>
                  </a:lnTo>
                  <a:lnTo>
                    <a:pt x="79628" y="278891"/>
                  </a:lnTo>
                  <a:close/>
                </a:path>
                <a:path w="317500" h="314325">
                  <a:moveTo>
                    <a:pt x="56006" y="278891"/>
                  </a:moveTo>
                  <a:lnTo>
                    <a:pt x="49656" y="278891"/>
                  </a:lnTo>
                  <a:lnTo>
                    <a:pt x="47117" y="281559"/>
                  </a:lnTo>
                  <a:lnTo>
                    <a:pt x="47117" y="287909"/>
                  </a:lnTo>
                  <a:lnTo>
                    <a:pt x="49656" y="290449"/>
                  </a:lnTo>
                  <a:lnTo>
                    <a:pt x="56006" y="290449"/>
                  </a:lnTo>
                  <a:lnTo>
                    <a:pt x="58674" y="287909"/>
                  </a:lnTo>
                  <a:lnTo>
                    <a:pt x="58674" y="281559"/>
                  </a:lnTo>
                  <a:lnTo>
                    <a:pt x="56006" y="278891"/>
                  </a:lnTo>
                  <a:close/>
                </a:path>
                <a:path w="317500" h="314325">
                  <a:moveTo>
                    <a:pt x="32639" y="278891"/>
                  </a:moveTo>
                  <a:lnTo>
                    <a:pt x="26162" y="278891"/>
                  </a:lnTo>
                  <a:lnTo>
                    <a:pt x="23622" y="281559"/>
                  </a:lnTo>
                  <a:lnTo>
                    <a:pt x="23622" y="287909"/>
                  </a:lnTo>
                  <a:lnTo>
                    <a:pt x="26162" y="290449"/>
                  </a:lnTo>
                  <a:lnTo>
                    <a:pt x="32639" y="290449"/>
                  </a:lnTo>
                  <a:lnTo>
                    <a:pt x="35178" y="287909"/>
                  </a:lnTo>
                  <a:lnTo>
                    <a:pt x="35178" y="281559"/>
                  </a:lnTo>
                  <a:lnTo>
                    <a:pt x="32639" y="278891"/>
                  </a:lnTo>
                  <a:close/>
                </a:path>
                <a:path w="317500" h="314325">
                  <a:moveTo>
                    <a:pt x="9017" y="278891"/>
                  </a:moveTo>
                  <a:lnTo>
                    <a:pt x="2540" y="278891"/>
                  </a:lnTo>
                  <a:lnTo>
                    <a:pt x="0" y="281559"/>
                  </a:lnTo>
                  <a:lnTo>
                    <a:pt x="0" y="287909"/>
                  </a:lnTo>
                  <a:lnTo>
                    <a:pt x="2540" y="290449"/>
                  </a:lnTo>
                  <a:lnTo>
                    <a:pt x="9017" y="290449"/>
                  </a:lnTo>
                  <a:lnTo>
                    <a:pt x="11556" y="287909"/>
                  </a:lnTo>
                  <a:lnTo>
                    <a:pt x="11556" y="281559"/>
                  </a:lnTo>
                  <a:lnTo>
                    <a:pt x="9017" y="278891"/>
                  </a:lnTo>
                  <a:close/>
                </a:path>
                <a:path w="317500" h="314325">
                  <a:moveTo>
                    <a:pt x="314071" y="255650"/>
                  </a:moveTo>
                  <a:lnTo>
                    <a:pt x="307594" y="255650"/>
                  </a:lnTo>
                  <a:lnTo>
                    <a:pt x="305053" y="258445"/>
                  </a:lnTo>
                  <a:lnTo>
                    <a:pt x="305053" y="264540"/>
                  </a:lnTo>
                  <a:lnTo>
                    <a:pt x="307594" y="267462"/>
                  </a:lnTo>
                  <a:lnTo>
                    <a:pt x="314071" y="267462"/>
                  </a:lnTo>
                  <a:lnTo>
                    <a:pt x="316992" y="264540"/>
                  </a:lnTo>
                  <a:lnTo>
                    <a:pt x="316992" y="258445"/>
                  </a:lnTo>
                  <a:lnTo>
                    <a:pt x="314071" y="255650"/>
                  </a:lnTo>
                  <a:close/>
                </a:path>
                <a:path w="317500" h="314325">
                  <a:moveTo>
                    <a:pt x="290956" y="255650"/>
                  </a:moveTo>
                  <a:lnTo>
                    <a:pt x="284606" y="255650"/>
                  </a:lnTo>
                  <a:lnTo>
                    <a:pt x="281940" y="258190"/>
                  </a:lnTo>
                  <a:lnTo>
                    <a:pt x="281940" y="264795"/>
                  </a:lnTo>
                  <a:lnTo>
                    <a:pt x="284606" y="267462"/>
                  </a:lnTo>
                  <a:lnTo>
                    <a:pt x="290956" y="267462"/>
                  </a:lnTo>
                  <a:lnTo>
                    <a:pt x="293497" y="264795"/>
                  </a:lnTo>
                  <a:lnTo>
                    <a:pt x="293497" y="258190"/>
                  </a:lnTo>
                  <a:lnTo>
                    <a:pt x="290956" y="255650"/>
                  </a:lnTo>
                  <a:close/>
                </a:path>
                <a:path w="317500" h="314325">
                  <a:moveTo>
                    <a:pt x="32639" y="255650"/>
                  </a:moveTo>
                  <a:lnTo>
                    <a:pt x="26162" y="255650"/>
                  </a:lnTo>
                  <a:lnTo>
                    <a:pt x="23622" y="258190"/>
                  </a:lnTo>
                  <a:lnTo>
                    <a:pt x="23622" y="264795"/>
                  </a:lnTo>
                  <a:lnTo>
                    <a:pt x="26162" y="267462"/>
                  </a:lnTo>
                  <a:lnTo>
                    <a:pt x="32639" y="267462"/>
                  </a:lnTo>
                  <a:lnTo>
                    <a:pt x="35178" y="264795"/>
                  </a:lnTo>
                  <a:lnTo>
                    <a:pt x="35178" y="258190"/>
                  </a:lnTo>
                  <a:lnTo>
                    <a:pt x="32639" y="255650"/>
                  </a:lnTo>
                  <a:close/>
                </a:path>
                <a:path w="317500" h="314325">
                  <a:moveTo>
                    <a:pt x="9017" y="255650"/>
                  </a:moveTo>
                  <a:lnTo>
                    <a:pt x="2540" y="255650"/>
                  </a:lnTo>
                  <a:lnTo>
                    <a:pt x="0" y="258190"/>
                  </a:lnTo>
                  <a:lnTo>
                    <a:pt x="0" y="264795"/>
                  </a:lnTo>
                  <a:lnTo>
                    <a:pt x="2540" y="267462"/>
                  </a:lnTo>
                  <a:lnTo>
                    <a:pt x="9017" y="267462"/>
                  </a:lnTo>
                  <a:lnTo>
                    <a:pt x="11556" y="264795"/>
                  </a:lnTo>
                  <a:lnTo>
                    <a:pt x="11556" y="258190"/>
                  </a:lnTo>
                  <a:lnTo>
                    <a:pt x="9017" y="255650"/>
                  </a:lnTo>
                  <a:close/>
                </a:path>
                <a:path w="317500" h="314325">
                  <a:moveTo>
                    <a:pt x="314071" y="232537"/>
                  </a:moveTo>
                  <a:lnTo>
                    <a:pt x="307594" y="232537"/>
                  </a:lnTo>
                  <a:lnTo>
                    <a:pt x="305053" y="235076"/>
                  </a:lnTo>
                  <a:lnTo>
                    <a:pt x="305053" y="241680"/>
                  </a:lnTo>
                  <a:lnTo>
                    <a:pt x="307594" y="244093"/>
                  </a:lnTo>
                  <a:lnTo>
                    <a:pt x="314071" y="244093"/>
                  </a:lnTo>
                  <a:lnTo>
                    <a:pt x="316992" y="241680"/>
                  </a:lnTo>
                  <a:lnTo>
                    <a:pt x="316992" y="235076"/>
                  </a:lnTo>
                  <a:lnTo>
                    <a:pt x="314071" y="232537"/>
                  </a:lnTo>
                  <a:close/>
                </a:path>
                <a:path w="317500" h="314325">
                  <a:moveTo>
                    <a:pt x="290956" y="232537"/>
                  </a:moveTo>
                  <a:lnTo>
                    <a:pt x="284606" y="232537"/>
                  </a:lnTo>
                  <a:lnTo>
                    <a:pt x="281940" y="235203"/>
                  </a:lnTo>
                  <a:lnTo>
                    <a:pt x="281940" y="241553"/>
                  </a:lnTo>
                  <a:lnTo>
                    <a:pt x="284606" y="244093"/>
                  </a:lnTo>
                  <a:lnTo>
                    <a:pt x="290956" y="244093"/>
                  </a:lnTo>
                  <a:lnTo>
                    <a:pt x="293497" y="241553"/>
                  </a:lnTo>
                  <a:lnTo>
                    <a:pt x="293497" y="235203"/>
                  </a:lnTo>
                  <a:lnTo>
                    <a:pt x="290956" y="232537"/>
                  </a:lnTo>
                  <a:close/>
                </a:path>
                <a:path w="317500" h="314325">
                  <a:moveTo>
                    <a:pt x="32639" y="232537"/>
                  </a:moveTo>
                  <a:lnTo>
                    <a:pt x="26162" y="232537"/>
                  </a:lnTo>
                  <a:lnTo>
                    <a:pt x="23622" y="235203"/>
                  </a:lnTo>
                  <a:lnTo>
                    <a:pt x="23622" y="241553"/>
                  </a:lnTo>
                  <a:lnTo>
                    <a:pt x="26162" y="244093"/>
                  </a:lnTo>
                  <a:lnTo>
                    <a:pt x="32639" y="244093"/>
                  </a:lnTo>
                  <a:lnTo>
                    <a:pt x="35178" y="241553"/>
                  </a:lnTo>
                  <a:lnTo>
                    <a:pt x="35178" y="235203"/>
                  </a:lnTo>
                  <a:lnTo>
                    <a:pt x="32639" y="232537"/>
                  </a:lnTo>
                  <a:close/>
                </a:path>
                <a:path w="317500" h="314325">
                  <a:moveTo>
                    <a:pt x="9017" y="232537"/>
                  </a:moveTo>
                  <a:lnTo>
                    <a:pt x="2540" y="232537"/>
                  </a:lnTo>
                  <a:lnTo>
                    <a:pt x="0" y="235203"/>
                  </a:lnTo>
                  <a:lnTo>
                    <a:pt x="0" y="241553"/>
                  </a:lnTo>
                  <a:lnTo>
                    <a:pt x="2540" y="244093"/>
                  </a:lnTo>
                  <a:lnTo>
                    <a:pt x="9017" y="244093"/>
                  </a:lnTo>
                  <a:lnTo>
                    <a:pt x="11556" y="241553"/>
                  </a:lnTo>
                  <a:lnTo>
                    <a:pt x="11556" y="235203"/>
                  </a:lnTo>
                  <a:lnTo>
                    <a:pt x="9017" y="232537"/>
                  </a:lnTo>
                  <a:close/>
                </a:path>
                <a:path w="317500" h="314325">
                  <a:moveTo>
                    <a:pt x="314071" y="209041"/>
                  </a:moveTo>
                  <a:lnTo>
                    <a:pt x="307594" y="209041"/>
                  </a:lnTo>
                  <a:lnTo>
                    <a:pt x="305053" y="211582"/>
                  </a:lnTo>
                  <a:lnTo>
                    <a:pt x="305053" y="218186"/>
                  </a:lnTo>
                  <a:lnTo>
                    <a:pt x="307594" y="220599"/>
                  </a:lnTo>
                  <a:lnTo>
                    <a:pt x="314071" y="220599"/>
                  </a:lnTo>
                  <a:lnTo>
                    <a:pt x="316992" y="218186"/>
                  </a:lnTo>
                  <a:lnTo>
                    <a:pt x="316992" y="211582"/>
                  </a:lnTo>
                  <a:lnTo>
                    <a:pt x="314071" y="209041"/>
                  </a:lnTo>
                  <a:close/>
                </a:path>
                <a:path w="317500" h="314325">
                  <a:moveTo>
                    <a:pt x="290956" y="209041"/>
                  </a:moveTo>
                  <a:lnTo>
                    <a:pt x="284606" y="209041"/>
                  </a:lnTo>
                  <a:lnTo>
                    <a:pt x="281940" y="211709"/>
                  </a:lnTo>
                  <a:lnTo>
                    <a:pt x="281940" y="218059"/>
                  </a:lnTo>
                  <a:lnTo>
                    <a:pt x="284606" y="220599"/>
                  </a:lnTo>
                  <a:lnTo>
                    <a:pt x="290956" y="220599"/>
                  </a:lnTo>
                  <a:lnTo>
                    <a:pt x="293497" y="218059"/>
                  </a:lnTo>
                  <a:lnTo>
                    <a:pt x="293497" y="211709"/>
                  </a:lnTo>
                  <a:lnTo>
                    <a:pt x="290956" y="209041"/>
                  </a:lnTo>
                  <a:close/>
                </a:path>
                <a:path w="317500" h="314325">
                  <a:moveTo>
                    <a:pt x="32639" y="209041"/>
                  </a:moveTo>
                  <a:lnTo>
                    <a:pt x="26162" y="209041"/>
                  </a:lnTo>
                  <a:lnTo>
                    <a:pt x="23622" y="211709"/>
                  </a:lnTo>
                  <a:lnTo>
                    <a:pt x="23622" y="218059"/>
                  </a:lnTo>
                  <a:lnTo>
                    <a:pt x="26162" y="220599"/>
                  </a:lnTo>
                  <a:lnTo>
                    <a:pt x="32639" y="220599"/>
                  </a:lnTo>
                  <a:lnTo>
                    <a:pt x="35178" y="218059"/>
                  </a:lnTo>
                  <a:lnTo>
                    <a:pt x="35178" y="211709"/>
                  </a:lnTo>
                  <a:lnTo>
                    <a:pt x="32639" y="209041"/>
                  </a:lnTo>
                  <a:close/>
                </a:path>
                <a:path w="317500" h="314325">
                  <a:moveTo>
                    <a:pt x="9017" y="209041"/>
                  </a:moveTo>
                  <a:lnTo>
                    <a:pt x="2540" y="209041"/>
                  </a:lnTo>
                  <a:lnTo>
                    <a:pt x="0" y="211709"/>
                  </a:lnTo>
                  <a:lnTo>
                    <a:pt x="0" y="218059"/>
                  </a:lnTo>
                  <a:lnTo>
                    <a:pt x="2540" y="220599"/>
                  </a:lnTo>
                  <a:lnTo>
                    <a:pt x="9017" y="220599"/>
                  </a:lnTo>
                  <a:lnTo>
                    <a:pt x="11556" y="218059"/>
                  </a:lnTo>
                  <a:lnTo>
                    <a:pt x="11556" y="211709"/>
                  </a:lnTo>
                  <a:lnTo>
                    <a:pt x="9017" y="209041"/>
                  </a:lnTo>
                  <a:close/>
                </a:path>
                <a:path w="317500" h="314325">
                  <a:moveTo>
                    <a:pt x="314071" y="185800"/>
                  </a:moveTo>
                  <a:lnTo>
                    <a:pt x="307594" y="185800"/>
                  </a:lnTo>
                  <a:lnTo>
                    <a:pt x="305053" y="188595"/>
                  </a:lnTo>
                  <a:lnTo>
                    <a:pt x="305053" y="195072"/>
                  </a:lnTo>
                  <a:lnTo>
                    <a:pt x="307594" y="197612"/>
                  </a:lnTo>
                  <a:lnTo>
                    <a:pt x="314071" y="197612"/>
                  </a:lnTo>
                  <a:lnTo>
                    <a:pt x="316992" y="195072"/>
                  </a:lnTo>
                  <a:lnTo>
                    <a:pt x="316992" y="188595"/>
                  </a:lnTo>
                  <a:lnTo>
                    <a:pt x="314071" y="185800"/>
                  </a:lnTo>
                  <a:close/>
                </a:path>
                <a:path w="317500" h="314325">
                  <a:moveTo>
                    <a:pt x="290702" y="185800"/>
                  </a:moveTo>
                  <a:lnTo>
                    <a:pt x="284479" y="185800"/>
                  </a:lnTo>
                  <a:lnTo>
                    <a:pt x="281940" y="188595"/>
                  </a:lnTo>
                  <a:lnTo>
                    <a:pt x="281940" y="195072"/>
                  </a:lnTo>
                  <a:lnTo>
                    <a:pt x="284479" y="197612"/>
                  </a:lnTo>
                  <a:lnTo>
                    <a:pt x="290702" y="197612"/>
                  </a:lnTo>
                  <a:lnTo>
                    <a:pt x="293497" y="195072"/>
                  </a:lnTo>
                  <a:lnTo>
                    <a:pt x="293497" y="188595"/>
                  </a:lnTo>
                  <a:lnTo>
                    <a:pt x="290702" y="185800"/>
                  </a:lnTo>
                  <a:close/>
                </a:path>
                <a:path w="317500" h="314325">
                  <a:moveTo>
                    <a:pt x="32766" y="185800"/>
                  </a:moveTo>
                  <a:lnTo>
                    <a:pt x="26543" y="185800"/>
                  </a:lnTo>
                  <a:lnTo>
                    <a:pt x="23622" y="188595"/>
                  </a:lnTo>
                  <a:lnTo>
                    <a:pt x="23622" y="195072"/>
                  </a:lnTo>
                  <a:lnTo>
                    <a:pt x="26543" y="197612"/>
                  </a:lnTo>
                  <a:lnTo>
                    <a:pt x="32766" y="197612"/>
                  </a:lnTo>
                  <a:lnTo>
                    <a:pt x="35178" y="195072"/>
                  </a:lnTo>
                  <a:lnTo>
                    <a:pt x="35178" y="188595"/>
                  </a:lnTo>
                  <a:lnTo>
                    <a:pt x="32766" y="185800"/>
                  </a:lnTo>
                  <a:close/>
                </a:path>
                <a:path w="317500" h="314325">
                  <a:moveTo>
                    <a:pt x="9144" y="185800"/>
                  </a:moveTo>
                  <a:lnTo>
                    <a:pt x="2921" y="185800"/>
                  </a:lnTo>
                  <a:lnTo>
                    <a:pt x="0" y="188595"/>
                  </a:lnTo>
                  <a:lnTo>
                    <a:pt x="0" y="195072"/>
                  </a:lnTo>
                  <a:lnTo>
                    <a:pt x="2921" y="197612"/>
                  </a:lnTo>
                  <a:lnTo>
                    <a:pt x="9144" y="197612"/>
                  </a:lnTo>
                  <a:lnTo>
                    <a:pt x="11556" y="195072"/>
                  </a:lnTo>
                  <a:lnTo>
                    <a:pt x="11556" y="188595"/>
                  </a:lnTo>
                  <a:lnTo>
                    <a:pt x="9144" y="185800"/>
                  </a:lnTo>
                  <a:close/>
                </a:path>
                <a:path w="317500" h="314325">
                  <a:moveTo>
                    <a:pt x="314071" y="162687"/>
                  </a:moveTo>
                  <a:lnTo>
                    <a:pt x="307594" y="162687"/>
                  </a:lnTo>
                  <a:lnTo>
                    <a:pt x="305053" y="165608"/>
                  </a:lnTo>
                  <a:lnTo>
                    <a:pt x="305053" y="171830"/>
                  </a:lnTo>
                  <a:lnTo>
                    <a:pt x="307594" y="174243"/>
                  </a:lnTo>
                  <a:lnTo>
                    <a:pt x="314071" y="174243"/>
                  </a:lnTo>
                  <a:lnTo>
                    <a:pt x="316992" y="171830"/>
                  </a:lnTo>
                  <a:lnTo>
                    <a:pt x="316992" y="165608"/>
                  </a:lnTo>
                  <a:lnTo>
                    <a:pt x="314071" y="162687"/>
                  </a:lnTo>
                  <a:close/>
                </a:path>
                <a:path w="317500" h="314325">
                  <a:moveTo>
                    <a:pt x="290956" y="162687"/>
                  </a:moveTo>
                  <a:lnTo>
                    <a:pt x="284606" y="162687"/>
                  </a:lnTo>
                  <a:lnTo>
                    <a:pt x="281940" y="165353"/>
                  </a:lnTo>
                  <a:lnTo>
                    <a:pt x="281940" y="171703"/>
                  </a:lnTo>
                  <a:lnTo>
                    <a:pt x="284606" y="174243"/>
                  </a:lnTo>
                  <a:lnTo>
                    <a:pt x="290956" y="174243"/>
                  </a:lnTo>
                  <a:lnTo>
                    <a:pt x="293497" y="171703"/>
                  </a:lnTo>
                  <a:lnTo>
                    <a:pt x="293497" y="165353"/>
                  </a:lnTo>
                  <a:lnTo>
                    <a:pt x="290956" y="162687"/>
                  </a:lnTo>
                  <a:close/>
                </a:path>
                <a:path w="317500" h="314325">
                  <a:moveTo>
                    <a:pt x="32639" y="162687"/>
                  </a:moveTo>
                  <a:lnTo>
                    <a:pt x="26162" y="162687"/>
                  </a:lnTo>
                  <a:lnTo>
                    <a:pt x="23622" y="165353"/>
                  </a:lnTo>
                  <a:lnTo>
                    <a:pt x="23622" y="171703"/>
                  </a:lnTo>
                  <a:lnTo>
                    <a:pt x="26162" y="174243"/>
                  </a:lnTo>
                  <a:lnTo>
                    <a:pt x="32639" y="174243"/>
                  </a:lnTo>
                  <a:lnTo>
                    <a:pt x="35178" y="171703"/>
                  </a:lnTo>
                  <a:lnTo>
                    <a:pt x="35178" y="165353"/>
                  </a:lnTo>
                  <a:lnTo>
                    <a:pt x="32639" y="162687"/>
                  </a:lnTo>
                  <a:close/>
                </a:path>
                <a:path w="317500" h="314325">
                  <a:moveTo>
                    <a:pt x="9017" y="162687"/>
                  </a:moveTo>
                  <a:lnTo>
                    <a:pt x="2540" y="162687"/>
                  </a:lnTo>
                  <a:lnTo>
                    <a:pt x="0" y="165353"/>
                  </a:lnTo>
                  <a:lnTo>
                    <a:pt x="0" y="171703"/>
                  </a:lnTo>
                  <a:lnTo>
                    <a:pt x="2540" y="174243"/>
                  </a:lnTo>
                  <a:lnTo>
                    <a:pt x="9017" y="174243"/>
                  </a:lnTo>
                  <a:lnTo>
                    <a:pt x="11556" y="171703"/>
                  </a:lnTo>
                  <a:lnTo>
                    <a:pt x="11556" y="165353"/>
                  </a:lnTo>
                  <a:lnTo>
                    <a:pt x="9017" y="162687"/>
                  </a:lnTo>
                  <a:close/>
                </a:path>
                <a:path w="317500" h="314325">
                  <a:moveTo>
                    <a:pt x="314071" y="139700"/>
                  </a:moveTo>
                  <a:lnTo>
                    <a:pt x="307594" y="139700"/>
                  </a:lnTo>
                  <a:lnTo>
                    <a:pt x="305053" y="142112"/>
                  </a:lnTo>
                  <a:lnTo>
                    <a:pt x="305053" y="148336"/>
                  </a:lnTo>
                  <a:lnTo>
                    <a:pt x="307594" y="151257"/>
                  </a:lnTo>
                  <a:lnTo>
                    <a:pt x="314071" y="151257"/>
                  </a:lnTo>
                  <a:lnTo>
                    <a:pt x="316992" y="148336"/>
                  </a:lnTo>
                  <a:lnTo>
                    <a:pt x="316992" y="142112"/>
                  </a:lnTo>
                  <a:lnTo>
                    <a:pt x="314071" y="139700"/>
                  </a:lnTo>
                  <a:close/>
                </a:path>
                <a:path w="317500" h="314325">
                  <a:moveTo>
                    <a:pt x="290956" y="139700"/>
                  </a:moveTo>
                  <a:lnTo>
                    <a:pt x="284606" y="139700"/>
                  </a:lnTo>
                  <a:lnTo>
                    <a:pt x="281940" y="142239"/>
                  </a:lnTo>
                  <a:lnTo>
                    <a:pt x="281940" y="148589"/>
                  </a:lnTo>
                  <a:lnTo>
                    <a:pt x="284606" y="151257"/>
                  </a:lnTo>
                  <a:lnTo>
                    <a:pt x="290956" y="151257"/>
                  </a:lnTo>
                  <a:lnTo>
                    <a:pt x="293497" y="148589"/>
                  </a:lnTo>
                  <a:lnTo>
                    <a:pt x="293497" y="142239"/>
                  </a:lnTo>
                  <a:lnTo>
                    <a:pt x="290956" y="139700"/>
                  </a:lnTo>
                  <a:close/>
                </a:path>
                <a:path w="317500" h="314325">
                  <a:moveTo>
                    <a:pt x="32639" y="139700"/>
                  </a:moveTo>
                  <a:lnTo>
                    <a:pt x="26162" y="139700"/>
                  </a:lnTo>
                  <a:lnTo>
                    <a:pt x="23622" y="142239"/>
                  </a:lnTo>
                  <a:lnTo>
                    <a:pt x="23622" y="148589"/>
                  </a:lnTo>
                  <a:lnTo>
                    <a:pt x="26162" y="151257"/>
                  </a:lnTo>
                  <a:lnTo>
                    <a:pt x="32639" y="151257"/>
                  </a:lnTo>
                  <a:lnTo>
                    <a:pt x="35178" y="148589"/>
                  </a:lnTo>
                  <a:lnTo>
                    <a:pt x="35178" y="142239"/>
                  </a:lnTo>
                  <a:lnTo>
                    <a:pt x="32639" y="139700"/>
                  </a:lnTo>
                  <a:close/>
                </a:path>
                <a:path w="317500" h="314325">
                  <a:moveTo>
                    <a:pt x="9017" y="139700"/>
                  </a:moveTo>
                  <a:lnTo>
                    <a:pt x="2540" y="139700"/>
                  </a:lnTo>
                  <a:lnTo>
                    <a:pt x="0" y="142239"/>
                  </a:lnTo>
                  <a:lnTo>
                    <a:pt x="0" y="148589"/>
                  </a:lnTo>
                  <a:lnTo>
                    <a:pt x="2540" y="151257"/>
                  </a:lnTo>
                  <a:lnTo>
                    <a:pt x="9017" y="151257"/>
                  </a:lnTo>
                  <a:lnTo>
                    <a:pt x="11556" y="148589"/>
                  </a:lnTo>
                  <a:lnTo>
                    <a:pt x="11556" y="142239"/>
                  </a:lnTo>
                  <a:lnTo>
                    <a:pt x="9017" y="139700"/>
                  </a:lnTo>
                  <a:close/>
                </a:path>
                <a:path w="317500" h="314325">
                  <a:moveTo>
                    <a:pt x="314071" y="116204"/>
                  </a:moveTo>
                  <a:lnTo>
                    <a:pt x="307594" y="116204"/>
                  </a:lnTo>
                  <a:lnTo>
                    <a:pt x="305053" y="118617"/>
                  </a:lnTo>
                  <a:lnTo>
                    <a:pt x="305053" y="125222"/>
                  </a:lnTo>
                  <a:lnTo>
                    <a:pt x="307594" y="127762"/>
                  </a:lnTo>
                  <a:lnTo>
                    <a:pt x="314071" y="127762"/>
                  </a:lnTo>
                  <a:lnTo>
                    <a:pt x="316992" y="125222"/>
                  </a:lnTo>
                  <a:lnTo>
                    <a:pt x="316992" y="118617"/>
                  </a:lnTo>
                  <a:lnTo>
                    <a:pt x="314071" y="116204"/>
                  </a:lnTo>
                  <a:close/>
                </a:path>
                <a:path w="317500" h="314325">
                  <a:moveTo>
                    <a:pt x="290956" y="116204"/>
                  </a:moveTo>
                  <a:lnTo>
                    <a:pt x="284606" y="116204"/>
                  </a:lnTo>
                  <a:lnTo>
                    <a:pt x="281940" y="118745"/>
                  </a:lnTo>
                  <a:lnTo>
                    <a:pt x="281940" y="125095"/>
                  </a:lnTo>
                  <a:lnTo>
                    <a:pt x="284606" y="127762"/>
                  </a:lnTo>
                  <a:lnTo>
                    <a:pt x="290956" y="127762"/>
                  </a:lnTo>
                  <a:lnTo>
                    <a:pt x="293497" y="125095"/>
                  </a:lnTo>
                  <a:lnTo>
                    <a:pt x="293497" y="118745"/>
                  </a:lnTo>
                  <a:lnTo>
                    <a:pt x="290956" y="116204"/>
                  </a:lnTo>
                  <a:close/>
                </a:path>
                <a:path w="317500" h="314325">
                  <a:moveTo>
                    <a:pt x="32639" y="116204"/>
                  </a:moveTo>
                  <a:lnTo>
                    <a:pt x="26162" y="116204"/>
                  </a:lnTo>
                  <a:lnTo>
                    <a:pt x="23622" y="118745"/>
                  </a:lnTo>
                  <a:lnTo>
                    <a:pt x="23622" y="125095"/>
                  </a:lnTo>
                  <a:lnTo>
                    <a:pt x="26162" y="127762"/>
                  </a:lnTo>
                  <a:lnTo>
                    <a:pt x="32639" y="127762"/>
                  </a:lnTo>
                  <a:lnTo>
                    <a:pt x="35178" y="125095"/>
                  </a:lnTo>
                  <a:lnTo>
                    <a:pt x="35178" y="118745"/>
                  </a:lnTo>
                  <a:lnTo>
                    <a:pt x="32639" y="116204"/>
                  </a:lnTo>
                  <a:close/>
                </a:path>
                <a:path w="317500" h="314325">
                  <a:moveTo>
                    <a:pt x="9017" y="116204"/>
                  </a:moveTo>
                  <a:lnTo>
                    <a:pt x="2540" y="116204"/>
                  </a:lnTo>
                  <a:lnTo>
                    <a:pt x="0" y="118745"/>
                  </a:lnTo>
                  <a:lnTo>
                    <a:pt x="0" y="125095"/>
                  </a:lnTo>
                  <a:lnTo>
                    <a:pt x="2540" y="127762"/>
                  </a:lnTo>
                  <a:lnTo>
                    <a:pt x="9017" y="127762"/>
                  </a:lnTo>
                  <a:lnTo>
                    <a:pt x="11556" y="125095"/>
                  </a:lnTo>
                  <a:lnTo>
                    <a:pt x="11556" y="118745"/>
                  </a:lnTo>
                  <a:lnTo>
                    <a:pt x="9017" y="116204"/>
                  </a:lnTo>
                  <a:close/>
                </a:path>
                <a:path w="317500" h="314325">
                  <a:moveTo>
                    <a:pt x="314071" y="92837"/>
                  </a:moveTo>
                  <a:lnTo>
                    <a:pt x="307594" y="92837"/>
                  </a:lnTo>
                  <a:lnTo>
                    <a:pt x="305053" y="95376"/>
                  </a:lnTo>
                  <a:lnTo>
                    <a:pt x="305053" y="102235"/>
                  </a:lnTo>
                  <a:lnTo>
                    <a:pt x="307594" y="104648"/>
                  </a:lnTo>
                  <a:lnTo>
                    <a:pt x="314071" y="104648"/>
                  </a:lnTo>
                  <a:lnTo>
                    <a:pt x="316992" y="102235"/>
                  </a:lnTo>
                  <a:lnTo>
                    <a:pt x="316992" y="95376"/>
                  </a:lnTo>
                  <a:lnTo>
                    <a:pt x="314071" y="92837"/>
                  </a:lnTo>
                  <a:close/>
                </a:path>
                <a:path w="317500" h="314325">
                  <a:moveTo>
                    <a:pt x="290956" y="92837"/>
                  </a:moveTo>
                  <a:lnTo>
                    <a:pt x="284606" y="92837"/>
                  </a:lnTo>
                  <a:lnTo>
                    <a:pt x="281940" y="95503"/>
                  </a:lnTo>
                  <a:lnTo>
                    <a:pt x="281940" y="102108"/>
                  </a:lnTo>
                  <a:lnTo>
                    <a:pt x="284606" y="104648"/>
                  </a:lnTo>
                  <a:lnTo>
                    <a:pt x="290956" y="104648"/>
                  </a:lnTo>
                  <a:lnTo>
                    <a:pt x="293497" y="102108"/>
                  </a:lnTo>
                  <a:lnTo>
                    <a:pt x="293497" y="95503"/>
                  </a:lnTo>
                  <a:lnTo>
                    <a:pt x="290956" y="92837"/>
                  </a:lnTo>
                  <a:close/>
                </a:path>
                <a:path w="317500" h="314325">
                  <a:moveTo>
                    <a:pt x="32639" y="92837"/>
                  </a:moveTo>
                  <a:lnTo>
                    <a:pt x="26162" y="92837"/>
                  </a:lnTo>
                  <a:lnTo>
                    <a:pt x="23622" y="95503"/>
                  </a:lnTo>
                  <a:lnTo>
                    <a:pt x="23622" y="102108"/>
                  </a:lnTo>
                  <a:lnTo>
                    <a:pt x="26162" y="104648"/>
                  </a:lnTo>
                  <a:lnTo>
                    <a:pt x="32639" y="104648"/>
                  </a:lnTo>
                  <a:lnTo>
                    <a:pt x="35178" y="102108"/>
                  </a:lnTo>
                  <a:lnTo>
                    <a:pt x="35178" y="95503"/>
                  </a:lnTo>
                  <a:lnTo>
                    <a:pt x="32639" y="92837"/>
                  </a:lnTo>
                  <a:close/>
                </a:path>
                <a:path w="317500" h="314325">
                  <a:moveTo>
                    <a:pt x="9017" y="92837"/>
                  </a:moveTo>
                  <a:lnTo>
                    <a:pt x="2540" y="92837"/>
                  </a:lnTo>
                  <a:lnTo>
                    <a:pt x="0" y="95503"/>
                  </a:lnTo>
                  <a:lnTo>
                    <a:pt x="0" y="102108"/>
                  </a:lnTo>
                  <a:lnTo>
                    <a:pt x="2540" y="104648"/>
                  </a:lnTo>
                  <a:lnTo>
                    <a:pt x="9017" y="104648"/>
                  </a:lnTo>
                  <a:lnTo>
                    <a:pt x="11556" y="102108"/>
                  </a:lnTo>
                  <a:lnTo>
                    <a:pt x="11556" y="95503"/>
                  </a:lnTo>
                  <a:lnTo>
                    <a:pt x="9017" y="92837"/>
                  </a:lnTo>
                  <a:close/>
                </a:path>
                <a:path w="317500" h="314325">
                  <a:moveTo>
                    <a:pt x="314071" y="69850"/>
                  </a:moveTo>
                  <a:lnTo>
                    <a:pt x="307594" y="69850"/>
                  </a:lnTo>
                  <a:lnTo>
                    <a:pt x="305053" y="72262"/>
                  </a:lnTo>
                  <a:lnTo>
                    <a:pt x="305053" y="78866"/>
                  </a:lnTo>
                  <a:lnTo>
                    <a:pt x="307594" y="81407"/>
                  </a:lnTo>
                  <a:lnTo>
                    <a:pt x="314071" y="81407"/>
                  </a:lnTo>
                  <a:lnTo>
                    <a:pt x="316992" y="78866"/>
                  </a:lnTo>
                  <a:lnTo>
                    <a:pt x="316992" y="72262"/>
                  </a:lnTo>
                  <a:lnTo>
                    <a:pt x="314071" y="69850"/>
                  </a:lnTo>
                  <a:close/>
                </a:path>
                <a:path w="317500" h="314325">
                  <a:moveTo>
                    <a:pt x="290956" y="69850"/>
                  </a:moveTo>
                  <a:lnTo>
                    <a:pt x="284606" y="69850"/>
                  </a:lnTo>
                  <a:lnTo>
                    <a:pt x="281940" y="72389"/>
                  </a:lnTo>
                  <a:lnTo>
                    <a:pt x="281940" y="78739"/>
                  </a:lnTo>
                  <a:lnTo>
                    <a:pt x="284606" y="81407"/>
                  </a:lnTo>
                  <a:lnTo>
                    <a:pt x="290956" y="81407"/>
                  </a:lnTo>
                  <a:lnTo>
                    <a:pt x="293497" y="78739"/>
                  </a:lnTo>
                  <a:lnTo>
                    <a:pt x="293497" y="72389"/>
                  </a:lnTo>
                  <a:lnTo>
                    <a:pt x="290956" y="69850"/>
                  </a:lnTo>
                  <a:close/>
                </a:path>
                <a:path w="317500" h="314325">
                  <a:moveTo>
                    <a:pt x="32639" y="69850"/>
                  </a:moveTo>
                  <a:lnTo>
                    <a:pt x="26162" y="69850"/>
                  </a:lnTo>
                  <a:lnTo>
                    <a:pt x="23622" y="72389"/>
                  </a:lnTo>
                  <a:lnTo>
                    <a:pt x="23622" y="78739"/>
                  </a:lnTo>
                  <a:lnTo>
                    <a:pt x="26162" y="81407"/>
                  </a:lnTo>
                  <a:lnTo>
                    <a:pt x="32639" y="81407"/>
                  </a:lnTo>
                  <a:lnTo>
                    <a:pt x="35178" y="78739"/>
                  </a:lnTo>
                  <a:lnTo>
                    <a:pt x="35178" y="72389"/>
                  </a:lnTo>
                  <a:lnTo>
                    <a:pt x="32639" y="69850"/>
                  </a:lnTo>
                  <a:close/>
                </a:path>
                <a:path w="317500" h="314325">
                  <a:moveTo>
                    <a:pt x="9017" y="69850"/>
                  </a:moveTo>
                  <a:lnTo>
                    <a:pt x="2540" y="69850"/>
                  </a:lnTo>
                  <a:lnTo>
                    <a:pt x="0" y="72389"/>
                  </a:lnTo>
                  <a:lnTo>
                    <a:pt x="0" y="78739"/>
                  </a:lnTo>
                  <a:lnTo>
                    <a:pt x="2540" y="81407"/>
                  </a:lnTo>
                  <a:lnTo>
                    <a:pt x="9017" y="81407"/>
                  </a:lnTo>
                  <a:lnTo>
                    <a:pt x="11556" y="78739"/>
                  </a:lnTo>
                  <a:lnTo>
                    <a:pt x="11556" y="72389"/>
                  </a:lnTo>
                  <a:lnTo>
                    <a:pt x="9017" y="69850"/>
                  </a:lnTo>
                  <a:close/>
                </a:path>
                <a:path w="317500" h="314325">
                  <a:moveTo>
                    <a:pt x="314071" y="46354"/>
                  </a:moveTo>
                  <a:lnTo>
                    <a:pt x="307594" y="46354"/>
                  </a:lnTo>
                  <a:lnTo>
                    <a:pt x="305053" y="49275"/>
                  </a:lnTo>
                  <a:lnTo>
                    <a:pt x="305053" y="55372"/>
                  </a:lnTo>
                  <a:lnTo>
                    <a:pt x="307594" y="57912"/>
                  </a:lnTo>
                  <a:lnTo>
                    <a:pt x="314071" y="57912"/>
                  </a:lnTo>
                  <a:lnTo>
                    <a:pt x="316992" y="55372"/>
                  </a:lnTo>
                  <a:lnTo>
                    <a:pt x="316992" y="49275"/>
                  </a:lnTo>
                  <a:lnTo>
                    <a:pt x="314071" y="46354"/>
                  </a:lnTo>
                  <a:close/>
                </a:path>
                <a:path w="317500" h="314325">
                  <a:moveTo>
                    <a:pt x="290956" y="46354"/>
                  </a:moveTo>
                  <a:lnTo>
                    <a:pt x="284606" y="46354"/>
                  </a:lnTo>
                  <a:lnTo>
                    <a:pt x="281940" y="48895"/>
                  </a:lnTo>
                  <a:lnTo>
                    <a:pt x="281940" y="55245"/>
                  </a:lnTo>
                  <a:lnTo>
                    <a:pt x="284606" y="57912"/>
                  </a:lnTo>
                  <a:lnTo>
                    <a:pt x="290956" y="57912"/>
                  </a:lnTo>
                  <a:lnTo>
                    <a:pt x="293497" y="55245"/>
                  </a:lnTo>
                  <a:lnTo>
                    <a:pt x="293497" y="48895"/>
                  </a:lnTo>
                  <a:lnTo>
                    <a:pt x="290956" y="46354"/>
                  </a:lnTo>
                  <a:close/>
                </a:path>
                <a:path w="317500" h="314325">
                  <a:moveTo>
                    <a:pt x="32639" y="46354"/>
                  </a:moveTo>
                  <a:lnTo>
                    <a:pt x="26162" y="46354"/>
                  </a:lnTo>
                  <a:lnTo>
                    <a:pt x="23622" y="48895"/>
                  </a:lnTo>
                  <a:lnTo>
                    <a:pt x="23622" y="55245"/>
                  </a:lnTo>
                  <a:lnTo>
                    <a:pt x="26162" y="57912"/>
                  </a:lnTo>
                  <a:lnTo>
                    <a:pt x="32639" y="57912"/>
                  </a:lnTo>
                  <a:lnTo>
                    <a:pt x="35178" y="55245"/>
                  </a:lnTo>
                  <a:lnTo>
                    <a:pt x="35178" y="48895"/>
                  </a:lnTo>
                  <a:lnTo>
                    <a:pt x="32639" y="46354"/>
                  </a:lnTo>
                  <a:close/>
                </a:path>
                <a:path w="317500" h="314325">
                  <a:moveTo>
                    <a:pt x="9017" y="46354"/>
                  </a:moveTo>
                  <a:lnTo>
                    <a:pt x="2540" y="46354"/>
                  </a:lnTo>
                  <a:lnTo>
                    <a:pt x="0" y="48895"/>
                  </a:lnTo>
                  <a:lnTo>
                    <a:pt x="0" y="55245"/>
                  </a:lnTo>
                  <a:lnTo>
                    <a:pt x="2540" y="57912"/>
                  </a:lnTo>
                  <a:lnTo>
                    <a:pt x="9017" y="57912"/>
                  </a:lnTo>
                  <a:lnTo>
                    <a:pt x="11556" y="55245"/>
                  </a:lnTo>
                  <a:lnTo>
                    <a:pt x="11556" y="48895"/>
                  </a:lnTo>
                  <a:lnTo>
                    <a:pt x="9017" y="46354"/>
                  </a:lnTo>
                  <a:close/>
                </a:path>
                <a:path w="317500" h="314325">
                  <a:moveTo>
                    <a:pt x="314071" y="23367"/>
                  </a:moveTo>
                  <a:lnTo>
                    <a:pt x="307594" y="23367"/>
                  </a:lnTo>
                  <a:lnTo>
                    <a:pt x="305053" y="25780"/>
                  </a:lnTo>
                  <a:lnTo>
                    <a:pt x="305053" y="32003"/>
                  </a:lnTo>
                  <a:lnTo>
                    <a:pt x="307594" y="34798"/>
                  </a:lnTo>
                  <a:lnTo>
                    <a:pt x="314071" y="34798"/>
                  </a:lnTo>
                  <a:lnTo>
                    <a:pt x="316992" y="32003"/>
                  </a:lnTo>
                  <a:lnTo>
                    <a:pt x="316992" y="25780"/>
                  </a:lnTo>
                  <a:lnTo>
                    <a:pt x="314071" y="23367"/>
                  </a:lnTo>
                  <a:close/>
                </a:path>
                <a:path w="317500" h="314325">
                  <a:moveTo>
                    <a:pt x="290956" y="23367"/>
                  </a:moveTo>
                  <a:lnTo>
                    <a:pt x="284606" y="23367"/>
                  </a:lnTo>
                  <a:lnTo>
                    <a:pt x="281940" y="25908"/>
                  </a:lnTo>
                  <a:lnTo>
                    <a:pt x="281940" y="32258"/>
                  </a:lnTo>
                  <a:lnTo>
                    <a:pt x="284606" y="34798"/>
                  </a:lnTo>
                  <a:lnTo>
                    <a:pt x="290956" y="34798"/>
                  </a:lnTo>
                  <a:lnTo>
                    <a:pt x="293497" y="32258"/>
                  </a:lnTo>
                  <a:lnTo>
                    <a:pt x="293497" y="25908"/>
                  </a:lnTo>
                  <a:lnTo>
                    <a:pt x="290956" y="23367"/>
                  </a:lnTo>
                  <a:close/>
                </a:path>
                <a:path w="317500" h="314325">
                  <a:moveTo>
                    <a:pt x="267462" y="23367"/>
                  </a:moveTo>
                  <a:lnTo>
                    <a:pt x="261112" y="23367"/>
                  </a:lnTo>
                  <a:lnTo>
                    <a:pt x="258445" y="25908"/>
                  </a:lnTo>
                  <a:lnTo>
                    <a:pt x="258445" y="32258"/>
                  </a:lnTo>
                  <a:lnTo>
                    <a:pt x="261112" y="34798"/>
                  </a:lnTo>
                  <a:lnTo>
                    <a:pt x="267462" y="34798"/>
                  </a:lnTo>
                  <a:lnTo>
                    <a:pt x="270128" y="32258"/>
                  </a:lnTo>
                  <a:lnTo>
                    <a:pt x="270128" y="25908"/>
                  </a:lnTo>
                  <a:lnTo>
                    <a:pt x="267462" y="23367"/>
                  </a:lnTo>
                  <a:close/>
                </a:path>
                <a:path w="317500" h="314325">
                  <a:moveTo>
                    <a:pt x="243840" y="23367"/>
                  </a:moveTo>
                  <a:lnTo>
                    <a:pt x="237236" y="23367"/>
                  </a:lnTo>
                  <a:lnTo>
                    <a:pt x="234569" y="25908"/>
                  </a:lnTo>
                  <a:lnTo>
                    <a:pt x="234569" y="32258"/>
                  </a:lnTo>
                  <a:lnTo>
                    <a:pt x="237236" y="34798"/>
                  </a:lnTo>
                  <a:lnTo>
                    <a:pt x="243840" y="34798"/>
                  </a:lnTo>
                  <a:lnTo>
                    <a:pt x="246506" y="32258"/>
                  </a:lnTo>
                  <a:lnTo>
                    <a:pt x="246506" y="25908"/>
                  </a:lnTo>
                  <a:lnTo>
                    <a:pt x="243840" y="23367"/>
                  </a:lnTo>
                  <a:close/>
                </a:path>
                <a:path w="317500" h="314325">
                  <a:moveTo>
                    <a:pt x="220345" y="23367"/>
                  </a:moveTo>
                  <a:lnTo>
                    <a:pt x="213614" y="23367"/>
                  </a:lnTo>
                  <a:lnTo>
                    <a:pt x="210947" y="25908"/>
                  </a:lnTo>
                  <a:lnTo>
                    <a:pt x="210947" y="32258"/>
                  </a:lnTo>
                  <a:lnTo>
                    <a:pt x="213614" y="34798"/>
                  </a:lnTo>
                  <a:lnTo>
                    <a:pt x="220345" y="34798"/>
                  </a:lnTo>
                  <a:lnTo>
                    <a:pt x="223012" y="32258"/>
                  </a:lnTo>
                  <a:lnTo>
                    <a:pt x="223012" y="25908"/>
                  </a:lnTo>
                  <a:lnTo>
                    <a:pt x="220345" y="23367"/>
                  </a:lnTo>
                  <a:close/>
                </a:path>
                <a:path w="317500" h="314325">
                  <a:moveTo>
                    <a:pt x="196850" y="23367"/>
                  </a:moveTo>
                  <a:lnTo>
                    <a:pt x="190373" y="23367"/>
                  </a:lnTo>
                  <a:lnTo>
                    <a:pt x="187833" y="25908"/>
                  </a:lnTo>
                  <a:lnTo>
                    <a:pt x="187833" y="32258"/>
                  </a:lnTo>
                  <a:lnTo>
                    <a:pt x="190373" y="34798"/>
                  </a:lnTo>
                  <a:lnTo>
                    <a:pt x="196850" y="34798"/>
                  </a:lnTo>
                  <a:lnTo>
                    <a:pt x="199390" y="32258"/>
                  </a:lnTo>
                  <a:lnTo>
                    <a:pt x="199390" y="25908"/>
                  </a:lnTo>
                  <a:lnTo>
                    <a:pt x="196850" y="23367"/>
                  </a:lnTo>
                  <a:close/>
                </a:path>
                <a:path w="317500" h="314325">
                  <a:moveTo>
                    <a:pt x="173354" y="23367"/>
                  </a:moveTo>
                  <a:lnTo>
                    <a:pt x="167004" y="23367"/>
                  </a:lnTo>
                  <a:lnTo>
                    <a:pt x="164338" y="25908"/>
                  </a:lnTo>
                  <a:lnTo>
                    <a:pt x="164338" y="32258"/>
                  </a:lnTo>
                  <a:lnTo>
                    <a:pt x="167004" y="34798"/>
                  </a:lnTo>
                  <a:lnTo>
                    <a:pt x="173354" y="34798"/>
                  </a:lnTo>
                  <a:lnTo>
                    <a:pt x="175895" y="32258"/>
                  </a:lnTo>
                  <a:lnTo>
                    <a:pt x="175895" y="25908"/>
                  </a:lnTo>
                  <a:lnTo>
                    <a:pt x="173354" y="23367"/>
                  </a:lnTo>
                  <a:close/>
                </a:path>
                <a:path w="317500" h="314325">
                  <a:moveTo>
                    <a:pt x="150114" y="23367"/>
                  </a:moveTo>
                  <a:lnTo>
                    <a:pt x="143383" y="23367"/>
                  </a:lnTo>
                  <a:lnTo>
                    <a:pt x="140716" y="25908"/>
                  </a:lnTo>
                  <a:lnTo>
                    <a:pt x="140716" y="32258"/>
                  </a:lnTo>
                  <a:lnTo>
                    <a:pt x="143383" y="34798"/>
                  </a:lnTo>
                  <a:lnTo>
                    <a:pt x="150114" y="34798"/>
                  </a:lnTo>
                  <a:lnTo>
                    <a:pt x="152780" y="32258"/>
                  </a:lnTo>
                  <a:lnTo>
                    <a:pt x="152780" y="25908"/>
                  </a:lnTo>
                  <a:lnTo>
                    <a:pt x="150114" y="23367"/>
                  </a:lnTo>
                  <a:close/>
                </a:path>
                <a:path w="317500" h="314325">
                  <a:moveTo>
                    <a:pt x="126619" y="23367"/>
                  </a:moveTo>
                  <a:lnTo>
                    <a:pt x="120015" y="23367"/>
                  </a:lnTo>
                  <a:lnTo>
                    <a:pt x="117348" y="25908"/>
                  </a:lnTo>
                  <a:lnTo>
                    <a:pt x="117348" y="32258"/>
                  </a:lnTo>
                  <a:lnTo>
                    <a:pt x="120015" y="34798"/>
                  </a:lnTo>
                  <a:lnTo>
                    <a:pt x="126619" y="34798"/>
                  </a:lnTo>
                  <a:lnTo>
                    <a:pt x="129286" y="32258"/>
                  </a:lnTo>
                  <a:lnTo>
                    <a:pt x="129286" y="25908"/>
                  </a:lnTo>
                  <a:lnTo>
                    <a:pt x="126619" y="23367"/>
                  </a:lnTo>
                  <a:close/>
                </a:path>
                <a:path w="317500" h="314325">
                  <a:moveTo>
                    <a:pt x="103124" y="23367"/>
                  </a:moveTo>
                  <a:lnTo>
                    <a:pt x="96774" y="23367"/>
                  </a:lnTo>
                  <a:lnTo>
                    <a:pt x="94106" y="25908"/>
                  </a:lnTo>
                  <a:lnTo>
                    <a:pt x="94106" y="32258"/>
                  </a:lnTo>
                  <a:lnTo>
                    <a:pt x="96774" y="34798"/>
                  </a:lnTo>
                  <a:lnTo>
                    <a:pt x="103124" y="34798"/>
                  </a:lnTo>
                  <a:lnTo>
                    <a:pt x="105664" y="32258"/>
                  </a:lnTo>
                  <a:lnTo>
                    <a:pt x="105664" y="25908"/>
                  </a:lnTo>
                  <a:lnTo>
                    <a:pt x="103124" y="23367"/>
                  </a:lnTo>
                  <a:close/>
                </a:path>
                <a:path w="317500" h="314325">
                  <a:moveTo>
                    <a:pt x="79628" y="23367"/>
                  </a:moveTo>
                  <a:lnTo>
                    <a:pt x="73278" y="23367"/>
                  </a:lnTo>
                  <a:lnTo>
                    <a:pt x="70739" y="25908"/>
                  </a:lnTo>
                  <a:lnTo>
                    <a:pt x="70739" y="32258"/>
                  </a:lnTo>
                  <a:lnTo>
                    <a:pt x="73278" y="34798"/>
                  </a:lnTo>
                  <a:lnTo>
                    <a:pt x="79628" y="34798"/>
                  </a:lnTo>
                  <a:lnTo>
                    <a:pt x="82296" y="32258"/>
                  </a:lnTo>
                  <a:lnTo>
                    <a:pt x="82296" y="25908"/>
                  </a:lnTo>
                  <a:lnTo>
                    <a:pt x="79628" y="23367"/>
                  </a:lnTo>
                  <a:close/>
                </a:path>
                <a:path w="317500" h="314325">
                  <a:moveTo>
                    <a:pt x="56006" y="23367"/>
                  </a:moveTo>
                  <a:lnTo>
                    <a:pt x="49656" y="23367"/>
                  </a:lnTo>
                  <a:lnTo>
                    <a:pt x="47117" y="25908"/>
                  </a:lnTo>
                  <a:lnTo>
                    <a:pt x="47117" y="32258"/>
                  </a:lnTo>
                  <a:lnTo>
                    <a:pt x="49656" y="34798"/>
                  </a:lnTo>
                  <a:lnTo>
                    <a:pt x="56006" y="34798"/>
                  </a:lnTo>
                  <a:lnTo>
                    <a:pt x="58674" y="32258"/>
                  </a:lnTo>
                  <a:lnTo>
                    <a:pt x="58674" y="25908"/>
                  </a:lnTo>
                  <a:lnTo>
                    <a:pt x="56006" y="23367"/>
                  </a:lnTo>
                  <a:close/>
                </a:path>
                <a:path w="317500" h="314325">
                  <a:moveTo>
                    <a:pt x="32639" y="23367"/>
                  </a:moveTo>
                  <a:lnTo>
                    <a:pt x="26162" y="23367"/>
                  </a:lnTo>
                  <a:lnTo>
                    <a:pt x="23622" y="25908"/>
                  </a:lnTo>
                  <a:lnTo>
                    <a:pt x="23622" y="32258"/>
                  </a:lnTo>
                  <a:lnTo>
                    <a:pt x="26162" y="34798"/>
                  </a:lnTo>
                  <a:lnTo>
                    <a:pt x="32639" y="34798"/>
                  </a:lnTo>
                  <a:lnTo>
                    <a:pt x="35178" y="32258"/>
                  </a:lnTo>
                  <a:lnTo>
                    <a:pt x="35178" y="25908"/>
                  </a:lnTo>
                  <a:lnTo>
                    <a:pt x="32639" y="23367"/>
                  </a:lnTo>
                  <a:close/>
                </a:path>
                <a:path w="317500" h="314325">
                  <a:moveTo>
                    <a:pt x="9017" y="23367"/>
                  </a:moveTo>
                  <a:lnTo>
                    <a:pt x="2540" y="23367"/>
                  </a:lnTo>
                  <a:lnTo>
                    <a:pt x="0" y="25908"/>
                  </a:lnTo>
                  <a:lnTo>
                    <a:pt x="0" y="32258"/>
                  </a:lnTo>
                  <a:lnTo>
                    <a:pt x="2540" y="34798"/>
                  </a:lnTo>
                  <a:lnTo>
                    <a:pt x="9017" y="34798"/>
                  </a:lnTo>
                  <a:lnTo>
                    <a:pt x="11556" y="32258"/>
                  </a:lnTo>
                  <a:lnTo>
                    <a:pt x="11556" y="25908"/>
                  </a:lnTo>
                  <a:lnTo>
                    <a:pt x="9017" y="23367"/>
                  </a:lnTo>
                  <a:close/>
                </a:path>
                <a:path w="317500" h="314325">
                  <a:moveTo>
                    <a:pt x="314071" y="0"/>
                  </a:moveTo>
                  <a:lnTo>
                    <a:pt x="307594" y="0"/>
                  </a:lnTo>
                  <a:lnTo>
                    <a:pt x="305053" y="2412"/>
                  </a:lnTo>
                  <a:lnTo>
                    <a:pt x="305053" y="9016"/>
                  </a:lnTo>
                  <a:lnTo>
                    <a:pt x="307594" y="11811"/>
                  </a:lnTo>
                  <a:lnTo>
                    <a:pt x="314071" y="11811"/>
                  </a:lnTo>
                  <a:lnTo>
                    <a:pt x="316992" y="9016"/>
                  </a:lnTo>
                  <a:lnTo>
                    <a:pt x="316992" y="2412"/>
                  </a:lnTo>
                  <a:lnTo>
                    <a:pt x="314071" y="0"/>
                  </a:lnTo>
                  <a:close/>
                </a:path>
                <a:path w="317500" h="314325">
                  <a:moveTo>
                    <a:pt x="290702" y="0"/>
                  </a:moveTo>
                  <a:lnTo>
                    <a:pt x="284479" y="0"/>
                  </a:lnTo>
                  <a:lnTo>
                    <a:pt x="281940" y="2412"/>
                  </a:lnTo>
                  <a:lnTo>
                    <a:pt x="281940" y="9016"/>
                  </a:lnTo>
                  <a:lnTo>
                    <a:pt x="284479" y="11811"/>
                  </a:lnTo>
                  <a:lnTo>
                    <a:pt x="290702" y="11811"/>
                  </a:lnTo>
                  <a:lnTo>
                    <a:pt x="293497" y="9016"/>
                  </a:lnTo>
                  <a:lnTo>
                    <a:pt x="293497" y="2412"/>
                  </a:lnTo>
                  <a:lnTo>
                    <a:pt x="290702" y="0"/>
                  </a:lnTo>
                  <a:close/>
                </a:path>
                <a:path w="317500" h="314325">
                  <a:moveTo>
                    <a:pt x="267208" y="0"/>
                  </a:moveTo>
                  <a:lnTo>
                    <a:pt x="260985" y="0"/>
                  </a:lnTo>
                  <a:lnTo>
                    <a:pt x="258445" y="2412"/>
                  </a:lnTo>
                  <a:lnTo>
                    <a:pt x="258445" y="9016"/>
                  </a:lnTo>
                  <a:lnTo>
                    <a:pt x="260985" y="11811"/>
                  </a:lnTo>
                  <a:lnTo>
                    <a:pt x="267208" y="11811"/>
                  </a:lnTo>
                  <a:lnTo>
                    <a:pt x="270128" y="9016"/>
                  </a:lnTo>
                  <a:lnTo>
                    <a:pt x="270128" y="2412"/>
                  </a:lnTo>
                  <a:lnTo>
                    <a:pt x="267208" y="0"/>
                  </a:lnTo>
                  <a:close/>
                </a:path>
                <a:path w="317500" h="314325">
                  <a:moveTo>
                    <a:pt x="243586" y="0"/>
                  </a:moveTo>
                  <a:lnTo>
                    <a:pt x="237490" y="0"/>
                  </a:lnTo>
                  <a:lnTo>
                    <a:pt x="234569" y="2412"/>
                  </a:lnTo>
                  <a:lnTo>
                    <a:pt x="234569" y="9016"/>
                  </a:lnTo>
                  <a:lnTo>
                    <a:pt x="237490" y="11811"/>
                  </a:lnTo>
                  <a:lnTo>
                    <a:pt x="243586" y="11811"/>
                  </a:lnTo>
                  <a:lnTo>
                    <a:pt x="246506" y="9016"/>
                  </a:lnTo>
                  <a:lnTo>
                    <a:pt x="246506" y="2412"/>
                  </a:lnTo>
                  <a:lnTo>
                    <a:pt x="243586" y="0"/>
                  </a:lnTo>
                  <a:close/>
                </a:path>
                <a:path w="317500" h="314325">
                  <a:moveTo>
                    <a:pt x="220472" y="0"/>
                  </a:moveTo>
                  <a:lnTo>
                    <a:pt x="213868" y="0"/>
                  </a:lnTo>
                  <a:lnTo>
                    <a:pt x="210947" y="2412"/>
                  </a:lnTo>
                  <a:lnTo>
                    <a:pt x="210947" y="9016"/>
                  </a:lnTo>
                  <a:lnTo>
                    <a:pt x="213868" y="11811"/>
                  </a:lnTo>
                  <a:lnTo>
                    <a:pt x="220472" y="11811"/>
                  </a:lnTo>
                  <a:lnTo>
                    <a:pt x="223012" y="9016"/>
                  </a:lnTo>
                  <a:lnTo>
                    <a:pt x="223012" y="2412"/>
                  </a:lnTo>
                  <a:lnTo>
                    <a:pt x="220472" y="0"/>
                  </a:lnTo>
                  <a:close/>
                </a:path>
                <a:path w="317500" h="314325">
                  <a:moveTo>
                    <a:pt x="196850" y="0"/>
                  </a:moveTo>
                  <a:lnTo>
                    <a:pt x="190246" y="0"/>
                  </a:lnTo>
                  <a:lnTo>
                    <a:pt x="187833" y="2412"/>
                  </a:lnTo>
                  <a:lnTo>
                    <a:pt x="187833" y="9016"/>
                  </a:lnTo>
                  <a:lnTo>
                    <a:pt x="190246" y="11811"/>
                  </a:lnTo>
                  <a:lnTo>
                    <a:pt x="196850" y="11811"/>
                  </a:lnTo>
                  <a:lnTo>
                    <a:pt x="199390" y="9016"/>
                  </a:lnTo>
                  <a:lnTo>
                    <a:pt x="199390" y="2412"/>
                  </a:lnTo>
                  <a:lnTo>
                    <a:pt x="196850" y="0"/>
                  </a:lnTo>
                  <a:close/>
                </a:path>
                <a:path w="317500" h="314325">
                  <a:moveTo>
                    <a:pt x="173481" y="0"/>
                  </a:moveTo>
                  <a:lnTo>
                    <a:pt x="166877" y="0"/>
                  </a:lnTo>
                  <a:lnTo>
                    <a:pt x="164338" y="2412"/>
                  </a:lnTo>
                  <a:lnTo>
                    <a:pt x="164338" y="9016"/>
                  </a:lnTo>
                  <a:lnTo>
                    <a:pt x="166877" y="11811"/>
                  </a:lnTo>
                  <a:lnTo>
                    <a:pt x="173481" y="11811"/>
                  </a:lnTo>
                  <a:lnTo>
                    <a:pt x="175895" y="9016"/>
                  </a:lnTo>
                  <a:lnTo>
                    <a:pt x="175895" y="2412"/>
                  </a:lnTo>
                  <a:lnTo>
                    <a:pt x="173481" y="0"/>
                  </a:lnTo>
                  <a:close/>
                </a:path>
                <a:path w="317500" h="314325">
                  <a:moveTo>
                    <a:pt x="150241" y="0"/>
                  </a:moveTo>
                  <a:lnTo>
                    <a:pt x="143255" y="0"/>
                  </a:lnTo>
                  <a:lnTo>
                    <a:pt x="140716" y="2412"/>
                  </a:lnTo>
                  <a:lnTo>
                    <a:pt x="140716" y="9016"/>
                  </a:lnTo>
                  <a:lnTo>
                    <a:pt x="143255" y="11811"/>
                  </a:lnTo>
                  <a:lnTo>
                    <a:pt x="150241" y="11811"/>
                  </a:lnTo>
                  <a:lnTo>
                    <a:pt x="152780" y="9016"/>
                  </a:lnTo>
                  <a:lnTo>
                    <a:pt x="152780" y="2412"/>
                  </a:lnTo>
                  <a:lnTo>
                    <a:pt x="150241" y="0"/>
                  </a:lnTo>
                  <a:close/>
                </a:path>
                <a:path w="317500" h="314325">
                  <a:moveTo>
                    <a:pt x="126873" y="0"/>
                  </a:moveTo>
                  <a:lnTo>
                    <a:pt x="119761" y="0"/>
                  </a:lnTo>
                  <a:lnTo>
                    <a:pt x="117348" y="2412"/>
                  </a:lnTo>
                  <a:lnTo>
                    <a:pt x="117348" y="9016"/>
                  </a:lnTo>
                  <a:lnTo>
                    <a:pt x="119761" y="11811"/>
                  </a:lnTo>
                  <a:lnTo>
                    <a:pt x="126873" y="11811"/>
                  </a:lnTo>
                  <a:lnTo>
                    <a:pt x="129286" y="9016"/>
                  </a:lnTo>
                  <a:lnTo>
                    <a:pt x="129286" y="2412"/>
                  </a:lnTo>
                  <a:lnTo>
                    <a:pt x="126873" y="0"/>
                  </a:lnTo>
                  <a:close/>
                </a:path>
                <a:path w="317500" h="314325">
                  <a:moveTo>
                    <a:pt x="102870" y="0"/>
                  </a:moveTo>
                  <a:lnTo>
                    <a:pt x="96647" y="0"/>
                  </a:lnTo>
                  <a:lnTo>
                    <a:pt x="94106" y="2412"/>
                  </a:lnTo>
                  <a:lnTo>
                    <a:pt x="94106" y="9016"/>
                  </a:lnTo>
                  <a:lnTo>
                    <a:pt x="96647" y="11811"/>
                  </a:lnTo>
                  <a:lnTo>
                    <a:pt x="102870" y="11811"/>
                  </a:lnTo>
                  <a:lnTo>
                    <a:pt x="105664" y="9016"/>
                  </a:lnTo>
                  <a:lnTo>
                    <a:pt x="105664" y="2412"/>
                  </a:lnTo>
                  <a:lnTo>
                    <a:pt x="102870" y="0"/>
                  </a:lnTo>
                  <a:close/>
                </a:path>
                <a:path w="317500" h="314325">
                  <a:moveTo>
                    <a:pt x="79375" y="0"/>
                  </a:moveTo>
                  <a:lnTo>
                    <a:pt x="73151" y="0"/>
                  </a:lnTo>
                  <a:lnTo>
                    <a:pt x="70739" y="2412"/>
                  </a:lnTo>
                  <a:lnTo>
                    <a:pt x="70739" y="9016"/>
                  </a:lnTo>
                  <a:lnTo>
                    <a:pt x="73151" y="11811"/>
                  </a:lnTo>
                  <a:lnTo>
                    <a:pt x="79375" y="11811"/>
                  </a:lnTo>
                  <a:lnTo>
                    <a:pt x="82296" y="9016"/>
                  </a:lnTo>
                  <a:lnTo>
                    <a:pt x="82296" y="2412"/>
                  </a:lnTo>
                  <a:lnTo>
                    <a:pt x="79375" y="0"/>
                  </a:lnTo>
                  <a:close/>
                </a:path>
                <a:path w="317500" h="314325">
                  <a:moveTo>
                    <a:pt x="56134" y="0"/>
                  </a:moveTo>
                  <a:lnTo>
                    <a:pt x="49529" y="0"/>
                  </a:lnTo>
                  <a:lnTo>
                    <a:pt x="47117" y="2412"/>
                  </a:lnTo>
                  <a:lnTo>
                    <a:pt x="47117" y="9016"/>
                  </a:lnTo>
                  <a:lnTo>
                    <a:pt x="49529" y="11811"/>
                  </a:lnTo>
                  <a:lnTo>
                    <a:pt x="56134" y="11811"/>
                  </a:lnTo>
                  <a:lnTo>
                    <a:pt x="58674" y="9016"/>
                  </a:lnTo>
                  <a:lnTo>
                    <a:pt x="58674" y="2412"/>
                  </a:lnTo>
                  <a:lnTo>
                    <a:pt x="56134" y="0"/>
                  </a:lnTo>
                  <a:close/>
                </a:path>
                <a:path w="317500" h="314325">
                  <a:moveTo>
                    <a:pt x="32766" y="0"/>
                  </a:moveTo>
                  <a:lnTo>
                    <a:pt x="26543" y="0"/>
                  </a:lnTo>
                  <a:lnTo>
                    <a:pt x="23622" y="2412"/>
                  </a:lnTo>
                  <a:lnTo>
                    <a:pt x="23622" y="9016"/>
                  </a:lnTo>
                  <a:lnTo>
                    <a:pt x="26543" y="11811"/>
                  </a:lnTo>
                  <a:lnTo>
                    <a:pt x="32766" y="11811"/>
                  </a:lnTo>
                  <a:lnTo>
                    <a:pt x="35178" y="9016"/>
                  </a:lnTo>
                  <a:lnTo>
                    <a:pt x="35178" y="2412"/>
                  </a:lnTo>
                  <a:lnTo>
                    <a:pt x="32766" y="0"/>
                  </a:lnTo>
                  <a:close/>
                </a:path>
                <a:path w="317500" h="314325">
                  <a:moveTo>
                    <a:pt x="9144" y="0"/>
                  </a:moveTo>
                  <a:lnTo>
                    <a:pt x="2921" y="0"/>
                  </a:lnTo>
                  <a:lnTo>
                    <a:pt x="0" y="2412"/>
                  </a:lnTo>
                  <a:lnTo>
                    <a:pt x="0" y="9016"/>
                  </a:lnTo>
                  <a:lnTo>
                    <a:pt x="2921" y="11811"/>
                  </a:lnTo>
                  <a:lnTo>
                    <a:pt x="9144" y="11811"/>
                  </a:lnTo>
                  <a:lnTo>
                    <a:pt x="11556" y="9016"/>
                  </a:lnTo>
                  <a:lnTo>
                    <a:pt x="11556" y="241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8" name="文本框 47"/>
          <p:cNvSpPr txBox="1"/>
          <p:nvPr/>
        </p:nvSpPr>
        <p:spPr>
          <a:xfrm>
            <a:off x="2124943" y="3331613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音旋风一代</a:t>
            </a:r>
            <a:endParaRPr kumimoji="1" lang="zh-CN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2124943" y="4900969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音旋风二代</a:t>
            </a:r>
            <a:endParaRPr kumimoji="1" lang="zh-CN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文本框 49"/>
          <p:cNvSpPr txBox="1"/>
          <p:nvPr/>
        </p:nvSpPr>
        <p:spPr>
          <a:xfrm>
            <a:off x="4344499" y="3280919"/>
            <a:ext cx="9594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kumimoji="1"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I611</a:t>
            </a:r>
            <a:endParaRPr kumimoji="1" lang="en-US" altLang="zh-CN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dist"/>
            <a:r>
              <a:rPr kumimoji="1"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标准版</a:t>
            </a:r>
            <a:endParaRPr kumimoji="1" lang="zh-CN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4334094" y="4749222"/>
            <a:ext cx="9436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kumimoji="1"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I311</a:t>
            </a:r>
            <a:endParaRPr kumimoji="1" lang="en-US" altLang="zh-CN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dist"/>
            <a:r>
              <a:rPr kumimoji="1"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轻量版</a:t>
            </a:r>
            <a:endParaRPr kumimoji="1" lang="zh-CN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9074489" y="4777858"/>
            <a:ext cx="10283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kumimoji="1"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I721</a:t>
            </a:r>
            <a:endParaRPr kumimoji="1" lang="en-US" altLang="zh-CN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dist"/>
            <a:r>
              <a:rPr kumimoji="1"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增强版</a:t>
            </a:r>
            <a:endParaRPr kumimoji="1" lang="zh-CN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文本框 55"/>
          <p:cNvSpPr txBox="1"/>
          <p:nvPr/>
        </p:nvSpPr>
        <p:spPr>
          <a:xfrm>
            <a:off x="6710173" y="4790239"/>
            <a:ext cx="9869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kumimoji="1"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I621</a:t>
            </a:r>
            <a:endParaRPr kumimoji="1" lang="en-US" altLang="zh-CN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dist"/>
            <a:r>
              <a:rPr kumimoji="1"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升级版</a:t>
            </a:r>
            <a:endParaRPr kumimoji="1" lang="zh-CN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23" name="直线连接符 22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矩形 28"/>
          <p:cNvSpPr/>
          <p:nvPr/>
        </p:nvSpPr>
        <p:spPr>
          <a:xfrm>
            <a:off x="-24680" y="60"/>
            <a:ext cx="12216680" cy="6858000"/>
          </a:xfrm>
          <a:prstGeom prst="rect">
            <a:avLst/>
          </a:prstGeom>
          <a:solidFill>
            <a:srgbClr val="009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30" name="组合 29"/>
          <p:cNvGrpSpPr/>
          <p:nvPr/>
        </p:nvGrpSpPr>
        <p:grpSpPr>
          <a:xfrm>
            <a:off x="8922172" y="-387424"/>
            <a:ext cx="3310672" cy="12922418"/>
            <a:chOff x="7037618" y="-36651"/>
            <a:chExt cx="5193828" cy="12922418"/>
          </a:xfrm>
        </p:grpSpPr>
        <p:sp>
          <p:nvSpPr>
            <p:cNvPr id="31" name="平行四边形 30"/>
            <p:cNvSpPr/>
            <p:nvPr/>
          </p:nvSpPr>
          <p:spPr>
            <a:xfrm rot="16200000" flipH="1">
              <a:off x="4831933" y="2169034"/>
              <a:ext cx="9605197" cy="5193828"/>
            </a:xfrm>
            <a:prstGeom prst="parallelogram">
              <a:avLst>
                <a:gd name="adj" fmla="val 51115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  <a:alpha val="20000"/>
                  </a:schemeClr>
                </a:gs>
                <a:gs pos="100000">
                  <a:schemeClr val="bg2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2" name="平行四边形 31"/>
            <p:cNvSpPr/>
            <p:nvPr/>
          </p:nvSpPr>
          <p:spPr>
            <a:xfrm rot="16200000" flipH="1">
              <a:off x="4831933" y="5486255"/>
              <a:ext cx="9605197" cy="5193828"/>
            </a:xfrm>
            <a:prstGeom prst="parallelogram">
              <a:avLst>
                <a:gd name="adj" fmla="val 51115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  <a:alpha val="20000"/>
                  </a:schemeClr>
                </a:gs>
                <a:gs pos="100000">
                  <a:schemeClr val="bg2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33" name="文本框 32"/>
          <p:cNvSpPr txBox="1"/>
          <p:nvPr/>
        </p:nvSpPr>
        <p:spPr>
          <a:xfrm>
            <a:off x="-24680" y="1058376"/>
            <a:ext cx="1216765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音旋风一代</a:t>
            </a:r>
            <a:r>
              <a:rPr kumimoji="1"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I611</a:t>
            </a:r>
            <a:endParaRPr kumimoji="1" lang="en-US" altLang="zh-CN" sz="3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7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芯片介绍</a:t>
            </a:r>
            <a:endParaRPr kumimoji="1" lang="zh-CN" altLang="en-US" sz="7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2883350" y="4312512"/>
            <a:ext cx="1272006" cy="1316975"/>
            <a:chOff x="2883350" y="4312512"/>
            <a:chExt cx="1272006" cy="1316975"/>
          </a:xfrm>
        </p:grpSpPr>
        <p:sp>
          <p:nvSpPr>
            <p:cNvPr id="35" name="文本框 34"/>
            <p:cNvSpPr txBox="1"/>
            <p:nvPr/>
          </p:nvSpPr>
          <p:spPr>
            <a:xfrm>
              <a:off x="2883350" y="5229377"/>
              <a:ext cx="1272006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zh-CN" altLang="en-U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识别好</a:t>
              </a:r>
              <a:endParaRPr kumimoji="1"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36" name="组 22"/>
            <p:cNvGrpSpPr/>
            <p:nvPr/>
          </p:nvGrpSpPr>
          <p:grpSpPr>
            <a:xfrm>
              <a:off x="3301203" y="4312512"/>
              <a:ext cx="436300" cy="699687"/>
              <a:chOff x="1736726" y="5856288"/>
              <a:chExt cx="344488" cy="552450"/>
            </a:xfrm>
            <a:noFill/>
          </p:grpSpPr>
          <p:sp>
            <p:nvSpPr>
              <p:cNvPr id="37" name="Freeform 240"/>
              <p:cNvSpPr/>
              <p:nvPr/>
            </p:nvSpPr>
            <p:spPr bwMode="auto">
              <a:xfrm>
                <a:off x="1797051" y="5856288"/>
                <a:ext cx="227013" cy="357188"/>
              </a:xfrm>
              <a:custGeom>
                <a:avLst/>
                <a:gdLst>
                  <a:gd name="T0" fmla="*/ 79 w 79"/>
                  <a:gd name="T1" fmla="*/ 85 h 124"/>
                  <a:gd name="T2" fmla="*/ 40 w 79"/>
                  <a:gd name="T3" fmla="*/ 124 h 124"/>
                  <a:gd name="T4" fmla="*/ 39 w 79"/>
                  <a:gd name="T5" fmla="*/ 124 h 124"/>
                  <a:gd name="T6" fmla="*/ 0 w 79"/>
                  <a:gd name="T7" fmla="*/ 85 h 124"/>
                  <a:gd name="T8" fmla="*/ 0 w 79"/>
                  <a:gd name="T9" fmla="*/ 39 h 124"/>
                  <a:gd name="T10" fmla="*/ 39 w 79"/>
                  <a:gd name="T11" fmla="*/ 0 h 124"/>
                  <a:gd name="T12" fmla="*/ 40 w 79"/>
                  <a:gd name="T13" fmla="*/ 0 h 124"/>
                  <a:gd name="T14" fmla="*/ 79 w 79"/>
                  <a:gd name="T15" fmla="*/ 39 h 124"/>
                  <a:gd name="T16" fmla="*/ 79 w 79"/>
                  <a:gd name="T17" fmla="*/ 8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124">
                    <a:moveTo>
                      <a:pt x="79" y="85"/>
                    </a:moveTo>
                    <a:cubicBezTo>
                      <a:pt x="79" y="106"/>
                      <a:pt x="61" y="124"/>
                      <a:pt x="40" y="124"/>
                    </a:cubicBezTo>
                    <a:cubicBezTo>
                      <a:pt x="39" y="124"/>
                      <a:pt x="39" y="124"/>
                      <a:pt x="39" y="124"/>
                    </a:cubicBezTo>
                    <a:cubicBezTo>
                      <a:pt x="17" y="124"/>
                      <a:pt x="0" y="106"/>
                      <a:pt x="0" y="8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61" y="0"/>
                      <a:pt x="79" y="18"/>
                      <a:pt x="79" y="39"/>
                    </a:cubicBezTo>
                    <a:lnTo>
                      <a:pt x="79" y="85"/>
                    </a:lnTo>
                    <a:close/>
                  </a:path>
                </a:pathLst>
              </a:custGeom>
              <a:grpFill/>
              <a:ln w="38100" cap="rnd" cmpd="sng">
                <a:solidFill>
                  <a:srgbClr val="20B9CE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8" name="Freeform 241"/>
              <p:cNvSpPr/>
              <p:nvPr/>
            </p:nvSpPr>
            <p:spPr bwMode="auto">
              <a:xfrm>
                <a:off x="1736726" y="6000751"/>
                <a:ext cx="344488" cy="279400"/>
              </a:xfrm>
              <a:custGeom>
                <a:avLst/>
                <a:gdLst>
                  <a:gd name="T0" fmla="*/ 120 w 120"/>
                  <a:gd name="T1" fmla="*/ 0 h 97"/>
                  <a:gd name="T2" fmla="*/ 120 w 120"/>
                  <a:gd name="T3" fmla="*/ 37 h 97"/>
                  <a:gd name="T4" fmla="*/ 61 w 120"/>
                  <a:gd name="T5" fmla="*/ 97 h 97"/>
                  <a:gd name="T6" fmla="*/ 59 w 120"/>
                  <a:gd name="T7" fmla="*/ 97 h 97"/>
                  <a:gd name="T8" fmla="*/ 0 w 120"/>
                  <a:gd name="T9" fmla="*/ 37 h 97"/>
                  <a:gd name="T10" fmla="*/ 0 w 120"/>
                  <a:gd name="T11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" h="97">
                    <a:moveTo>
                      <a:pt x="120" y="0"/>
                    </a:move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70"/>
                      <a:pt x="94" y="97"/>
                      <a:pt x="61" y="97"/>
                    </a:cubicBezTo>
                    <a:cubicBezTo>
                      <a:pt x="59" y="97"/>
                      <a:pt x="59" y="97"/>
                      <a:pt x="59" y="97"/>
                    </a:cubicBezTo>
                    <a:cubicBezTo>
                      <a:pt x="27" y="97"/>
                      <a:pt x="0" y="70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38100" cap="rnd" cmpd="sng">
                <a:solidFill>
                  <a:srgbClr val="20B9CE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dirty="0"/>
              </a:p>
            </p:txBody>
          </p:sp>
          <p:sp>
            <p:nvSpPr>
              <p:cNvPr id="39" name="Line 242"/>
              <p:cNvSpPr>
                <a:spLocks noChangeShapeType="1"/>
              </p:cNvSpPr>
              <p:nvPr/>
            </p:nvSpPr>
            <p:spPr bwMode="auto">
              <a:xfrm>
                <a:off x="1908176" y="6284913"/>
                <a:ext cx="0" cy="123825"/>
              </a:xfrm>
              <a:prstGeom prst="line">
                <a:avLst/>
              </a:prstGeom>
              <a:grpFill/>
              <a:ln w="38100" cap="rnd" cmpd="sng">
                <a:solidFill>
                  <a:srgbClr val="20B9CE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0" name="Line 243"/>
              <p:cNvSpPr>
                <a:spLocks noChangeShapeType="1"/>
              </p:cNvSpPr>
              <p:nvPr/>
            </p:nvSpPr>
            <p:spPr bwMode="auto">
              <a:xfrm>
                <a:off x="1819276" y="6408738"/>
                <a:ext cx="179388" cy="0"/>
              </a:xfrm>
              <a:prstGeom prst="line">
                <a:avLst/>
              </a:prstGeom>
              <a:grpFill/>
              <a:ln w="38100" cap="rnd" cmpd="sng">
                <a:solidFill>
                  <a:srgbClr val="20B9CE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1" name="Line 244"/>
              <p:cNvSpPr>
                <a:spLocks noChangeShapeType="1"/>
              </p:cNvSpPr>
              <p:nvPr/>
            </p:nvSpPr>
            <p:spPr bwMode="auto">
              <a:xfrm>
                <a:off x="1808163" y="5992813"/>
                <a:ext cx="52388" cy="0"/>
              </a:xfrm>
              <a:prstGeom prst="line">
                <a:avLst/>
              </a:prstGeom>
              <a:grpFill/>
              <a:ln w="38100" cap="rnd" cmpd="sng">
                <a:solidFill>
                  <a:srgbClr val="20B9CE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2" name="Line 245"/>
              <p:cNvSpPr>
                <a:spLocks noChangeShapeType="1"/>
              </p:cNvSpPr>
              <p:nvPr/>
            </p:nvSpPr>
            <p:spPr bwMode="auto">
              <a:xfrm>
                <a:off x="1808163" y="6078538"/>
                <a:ext cx="52388" cy="0"/>
              </a:xfrm>
              <a:prstGeom prst="line">
                <a:avLst/>
              </a:prstGeom>
              <a:grpFill/>
              <a:ln w="38100" cap="rnd" cmpd="sng">
                <a:solidFill>
                  <a:srgbClr val="20B9CE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3" name="Line 246"/>
              <p:cNvSpPr>
                <a:spLocks noChangeShapeType="1"/>
              </p:cNvSpPr>
              <p:nvPr/>
            </p:nvSpPr>
            <p:spPr bwMode="auto">
              <a:xfrm>
                <a:off x="1960563" y="5992813"/>
                <a:ext cx="49213" cy="0"/>
              </a:xfrm>
              <a:prstGeom prst="line">
                <a:avLst/>
              </a:prstGeom>
              <a:grpFill/>
              <a:ln w="38100" cap="rnd" cmpd="sng">
                <a:solidFill>
                  <a:srgbClr val="20B9CE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4" name="Line 247"/>
              <p:cNvSpPr>
                <a:spLocks noChangeShapeType="1"/>
              </p:cNvSpPr>
              <p:nvPr/>
            </p:nvSpPr>
            <p:spPr bwMode="auto">
              <a:xfrm>
                <a:off x="1960563" y="6078538"/>
                <a:ext cx="49213" cy="0"/>
              </a:xfrm>
              <a:prstGeom prst="line">
                <a:avLst/>
              </a:prstGeom>
              <a:grpFill/>
              <a:ln w="38100" cap="rnd" cmpd="sng">
                <a:solidFill>
                  <a:srgbClr val="20B9CE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</p:grpSp>
      <p:grpSp>
        <p:nvGrpSpPr>
          <p:cNvPr id="3" name="组合 2"/>
          <p:cNvGrpSpPr/>
          <p:nvPr/>
        </p:nvGrpSpPr>
        <p:grpSpPr>
          <a:xfrm>
            <a:off x="8277599" y="4293096"/>
            <a:ext cx="1031051" cy="1336391"/>
            <a:chOff x="8277599" y="4293096"/>
            <a:chExt cx="1031051" cy="1336391"/>
          </a:xfrm>
        </p:grpSpPr>
        <p:grpSp>
          <p:nvGrpSpPr>
            <p:cNvPr id="45" name="组 114"/>
            <p:cNvGrpSpPr/>
            <p:nvPr/>
          </p:nvGrpSpPr>
          <p:grpSpPr>
            <a:xfrm>
              <a:off x="8418474" y="4293096"/>
              <a:ext cx="749300" cy="744919"/>
              <a:chOff x="3124200" y="5916614"/>
              <a:chExt cx="542925" cy="539750"/>
            </a:xfrm>
            <a:solidFill>
              <a:srgbClr val="20B9CE"/>
            </a:solidFill>
          </p:grpSpPr>
          <p:sp>
            <p:nvSpPr>
              <p:cNvPr id="46" name="Freeform 244"/>
              <p:cNvSpPr>
                <a:spLocks noEditPoints="1"/>
              </p:cNvSpPr>
              <p:nvPr/>
            </p:nvSpPr>
            <p:spPr bwMode="auto">
              <a:xfrm>
                <a:off x="3359150" y="6049964"/>
                <a:ext cx="307975" cy="265113"/>
              </a:xfrm>
              <a:custGeom>
                <a:avLst/>
                <a:gdLst>
                  <a:gd name="T0" fmla="*/ 141 w 194"/>
                  <a:gd name="T1" fmla="*/ 6 h 167"/>
                  <a:gd name="T2" fmla="*/ 141 w 194"/>
                  <a:gd name="T3" fmla="*/ 0 h 167"/>
                  <a:gd name="T4" fmla="*/ 48 w 194"/>
                  <a:gd name="T5" fmla="*/ 0 h 167"/>
                  <a:gd name="T6" fmla="*/ 0 w 194"/>
                  <a:gd name="T7" fmla="*/ 84 h 167"/>
                  <a:gd name="T8" fmla="*/ 49 w 194"/>
                  <a:gd name="T9" fmla="*/ 167 h 167"/>
                  <a:gd name="T10" fmla="*/ 147 w 194"/>
                  <a:gd name="T11" fmla="*/ 167 h 167"/>
                  <a:gd name="T12" fmla="*/ 194 w 194"/>
                  <a:gd name="T13" fmla="*/ 83 h 167"/>
                  <a:gd name="T14" fmla="*/ 144 w 194"/>
                  <a:gd name="T15" fmla="*/ 0 h 167"/>
                  <a:gd name="T16" fmla="*/ 141 w 194"/>
                  <a:gd name="T17" fmla="*/ 0 h 167"/>
                  <a:gd name="T18" fmla="*/ 141 w 194"/>
                  <a:gd name="T19" fmla="*/ 6 h 167"/>
                  <a:gd name="T20" fmla="*/ 136 w 194"/>
                  <a:gd name="T21" fmla="*/ 9 h 167"/>
                  <a:gd name="T22" fmla="*/ 179 w 194"/>
                  <a:gd name="T23" fmla="*/ 83 h 167"/>
                  <a:gd name="T24" fmla="*/ 139 w 194"/>
                  <a:gd name="T25" fmla="*/ 155 h 167"/>
                  <a:gd name="T26" fmla="*/ 56 w 194"/>
                  <a:gd name="T27" fmla="*/ 155 h 167"/>
                  <a:gd name="T28" fmla="*/ 14 w 194"/>
                  <a:gd name="T29" fmla="*/ 84 h 167"/>
                  <a:gd name="T30" fmla="*/ 55 w 194"/>
                  <a:gd name="T31" fmla="*/ 12 h 167"/>
                  <a:gd name="T32" fmla="*/ 141 w 194"/>
                  <a:gd name="T33" fmla="*/ 12 h 167"/>
                  <a:gd name="T34" fmla="*/ 141 w 194"/>
                  <a:gd name="T35" fmla="*/ 6 h 167"/>
                  <a:gd name="T36" fmla="*/ 136 w 194"/>
                  <a:gd name="T37" fmla="*/ 9 h 167"/>
                  <a:gd name="T38" fmla="*/ 141 w 194"/>
                  <a:gd name="T39" fmla="*/ 6 h 167"/>
                  <a:gd name="T40" fmla="*/ 135 w 194"/>
                  <a:gd name="T41" fmla="*/ 148 h 167"/>
                  <a:gd name="T42" fmla="*/ 135 w 194"/>
                  <a:gd name="T43" fmla="*/ 142 h 167"/>
                  <a:gd name="T44" fmla="*/ 64 w 194"/>
                  <a:gd name="T45" fmla="*/ 142 h 167"/>
                  <a:gd name="T46" fmla="*/ 30 w 194"/>
                  <a:gd name="T47" fmla="*/ 84 h 167"/>
                  <a:gd name="T48" fmla="*/ 62 w 194"/>
                  <a:gd name="T49" fmla="*/ 25 h 167"/>
                  <a:gd name="T50" fmla="*/ 130 w 194"/>
                  <a:gd name="T51" fmla="*/ 25 h 167"/>
                  <a:gd name="T52" fmla="*/ 164 w 194"/>
                  <a:gd name="T53" fmla="*/ 83 h 167"/>
                  <a:gd name="T54" fmla="*/ 130 w 194"/>
                  <a:gd name="T55" fmla="*/ 145 h 167"/>
                  <a:gd name="T56" fmla="*/ 135 w 194"/>
                  <a:gd name="T57" fmla="*/ 148 h 167"/>
                  <a:gd name="T58" fmla="*/ 135 w 194"/>
                  <a:gd name="T59" fmla="*/ 142 h 167"/>
                  <a:gd name="T60" fmla="*/ 135 w 194"/>
                  <a:gd name="T61" fmla="*/ 148 h 167"/>
                  <a:gd name="T62" fmla="*/ 141 w 194"/>
                  <a:gd name="T63" fmla="*/ 151 h 167"/>
                  <a:gd name="T64" fmla="*/ 178 w 194"/>
                  <a:gd name="T65" fmla="*/ 83 h 167"/>
                  <a:gd name="T66" fmla="*/ 136 w 194"/>
                  <a:gd name="T67" fmla="*/ 13 h 167"/>
                  <a:gd name="T68" fmla="*/ 56 w 194"/>
                  <a:gd name="T69" fmla="*/ 13 h 167"/>
                  <a:gd name="T70" fmla="*/ 16 w 194"/>
                  <a:gd name="T71" fmla="*/ 84 h 167"/>
                  <a:gd name="T72" fmla="*/ 58 w 194"/>
                  <a:gd name="T73" fmla="*/ 154 h 167"/>
                  <a:gd name="T74" fmla="*/ 138 w 194"/>
                  <a:gd name="T75" fmla="*/ 154 h 167"/>
                  <a:gd name="T76" fmla="*/ 141 w 194"/>
                  <a:gd name="T77" fmla="*/ 151 h 167"/>
                  <a:gd name="T78" fmla="*/ 135 w 194"/>
                  <a:gd name="T79" fmla="*/ 148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94" h="167">
                    <a:moveTo>
                      <a:pt x="141" y="6"/>
                    </a:moveTo>
                    <a:lnTo>
                      <a:pt x="141" y="0"/>
                    </a:lnTo>
                    <a:lnTo>
                      <a:pt x="48" y="0"/>
                    </a:lnTo>
                    <a:lnTo>
                      <a:pt x="0" y="84"/>
                    </a:lnTo>
                    <a:lnTo>
                      <a:pt x="49" y="167"/>
                    </a:lnTo>
                    <a:lnTo>
                      <a:pt x="147" y="167"/>
                    </a:lnTo>
                    <a:lnTo>
                      <a:pt x="194" y="83"/>
                    </a:lnTo>
                    <a:lnTo>
                      <a:pt x="144" y="0"/>
                    </a:lnTo>
                    <a:lnTo>
                      <a:pt x="141" y="0"/>
                    </a:lnTo>
                    <a:lnTo>
                      <a:pt x="141" y="6"/>
                    </a:lnTo>
                    <a:lnTo>
                      <a:pt x="136" y="9"/>
                    </a:lnTo>
                    <a:lnTo>
                      <a:pt x="179" y="83"/>
                    </a:lnTo>
                    <a:lnTo>
                      <a:pt x="139" y="155"/>
                    </a:lnTo>
                    <a:lnTo>
                      <a:pt x="56" y="155"/>
                    </a:lnTo>
                    <a:lnTo>
                      <a:pt x="14" y="84"/>
                    </a:lnTo>
                    <a:lnTo>
                      <a:pt x="55" y="12"/>
                    </a:lnTo>
                    <a:lnTo>
                      <a:pt x="141" y="12"/>
                    </a:lnTo>
                    <a:lnTo>
                      <a:pt x="141" y="6"/>
                    </a:lnTo>
                    <a:lnTo>
                      <a:pt x="136" y="9"/>
                    </a:lnTo>
                    <a:lnTo>
                      <a:pt x="141" y="6"/>
                    </a:lnTo>
                    <a:close/>
                    <a:moveTo>
                      <a:pt x="135" y="148"/>
                    </a:moveTo>
                    <a:lnTo>
                      <a:pt x="135" y="142"/>
                    </a:lnTo>
                    <a:lnTo>
                      <a:pt x="64" y="142"/>
                    </a:lnTo>
                    <a:lnTo>
                      <a:pt x="30" y="84"/>
                    </a:lnTo>
                    <a:lnTo>
                      <a:pt x="62" y="25"/>
                    </a:lnTo>
                    <a:lnTo>
                      <a:pt x="130" y="25"/>
                    </a:lnTo>
                    <a:lnTo>
                      <a:pt x="164" y="83"/>
                    </a:lnTo>
                    <a:lnTo>
                      <a:pt x="130" y="145"/>
                    </a:lnTo>
                    <a:lnTo>
                      <a:pt x="135" y="148"/>
                    </a:lnTo>
                    <a:lnTo>
                      <a:pt x="135" y="142"/>
                    </a:lnTo>
                    <a:lnTo>
                      <a:pt x="135" y="148"/>
                    </a:lnTo>
                    <a:lnTo>
                      <a:pt x="141" y="151"/>
                    </a:lnTo>
                    <a:lnTo>
                      <a:pt x="178" y="83"/>
                    </a:lnTo>
                    <a:lnTo>
                      <a:pt x="136" y="13"/>
                    </a:lnTo>
                    <a:lnTo>
                      <a:pt x="56" y="13"/>
                    </a:lnTo>
                    <a:lnTo>
                      <a:pt x="16" y="84"/>
                    </a:lnTo>
                    <a:lnTo>
                      <a:pt x="58" y="154"/>
                    </a:lnTo>
                    <a:lnTo>
                      <a:pt x="138" y="154"/>
                    </a:lnTo>
                    <a:lnTo>
                      <a:pt x="141" y="151"/>
                    </a:lnTo>
                    <a:lnTo>
                      <a:pt x="135" y="148"/>
                    </a:lnTo>
                    <a:close/>
                  </a:path>
                </a:pathLst>
              </a:custGeom>
              <a:grpFill/>
              <a:ln w="19050">
                <a:noFill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7" name="Freeform 245"/>
              <p:cNvSpPr>
                <a:spLocks noEditPoints="1"/>
              </p:cNvSpPr>
              <p:nvPr/>
            </p:nvSpPr>
            <p:spPr bwMode="auto">
              <a:xfrm>
                <a:off x="3124200" y="5916614"/>
                <a:ext cx="306388" cy="265113"/>
              </a:xfrm>
              <a:custGeom>
                <a:avLst/>
                <a:gdLst>
                  <a:gd name="T0" fmla="*/ 142 w 193"/>
                  <a:gd name="T1" fmla="*/ 161 h 167"/>
                  <a:gd name="T2" fmla="*/ 148 w 193"/>
                  <a:gd name="T3" fmla="*/ 164 h 167"/>
                  <a:gd name="T4" fmla="*/ 193 w 193"/>
                  <a:gd name="T5" fmla="*/ 82 h 167"/>
                  <a:gd name="T6" fmla="*/ 144 w 193"/>
                  <a:gd name="T7" fmla="*/ 0 h 167"/>
                  <a:gd name="T8" fmla="*/ 48 w 193"/>
                  <a:gd name="T9" fmla="*/ 0 h 167"/>
                  <a:gd name="T10" fmla="*/ 0 w 193"/>
                  <a:gd name="T11" fmla="*/ 84 h 167"/>
                  <a:gd name="T12" fmla="*/ 49 w 193"/>
                  <a:gd name="T13" fmla="*/ 167 h 167"/>
                  <a:gd name="T14" fmla="*/ 145 w 193"/>
                  <a:gd name="T15" fmla="*/ 167 h 167"/>
                  <a:gd name="T16" fmla="*/ 148 w 193"/>
                  <a:gd name="T17" fmla="*/ 164 h 167"/>
                  <a:gd name="T18" fmla="*/ 142 w 193"/>
                  <a:gd name="T19" fmla="*/ 161 h 167"/>
                  <a:gd name="T20" fmla="*/ 142 w 193"/>
                  <a:gd name="T21" fmla="*/ 155 h 167"/>
                  <a:gd name="T22" fmla="*/ 56 w 193"/>
                  <a:gd name="T23" fmla="*/ 155 h 167"/>
                  <a:gd name="T24" fmla="*/ 13 w 193"/>
                  <a:gd name="T25" fmla="*/ 84 h 167"/>
                  <a:gd name="T26" fmla="*/ 55 w 193"/>
                  <a:gd name="T27" fmla="*/ 11 h 167"/>
                  <a:gd name="T28" fmla="*/ 138 w 193"/>
                  <a:gd name="T29" fmla="*/ 11 h 167"/>
                  <a:gd name="T30" fmla="*/ 179 w 193"/>
                  <a:gd name="T31" fmla="*/ 82 h 167"/>
                  <a:gd name="T32" fmla="*/ 138 w 193"/>
                  <a:gd name="T33" fmla="*/ 158 h 167"/>
                  <a:gd name="T34" fmla="*/ 142 w 193"/>
                  <a:gd name="T35" fmla="*/ 161 h 167"/>
                  <a:gd name="T36" fmla="*/ 142 w 193"/>
                  <a:gd name="T37" fmla="*/ 155 h 167"/>
                  <a:gd name="T38" fmla="*/ 142 w 193"/>
                  <a:gd name="T39" fmla="*/ 161 h 167"/>
                  <a:gd name="T40" fmla="*/ 59 w 193"/>
                  <a:gd name="T41" fmla="*/ 19 h 167"/>
                  <a:gd name="T42" fmla="*/ 59 w 193"/>
                  <a:gd name="T43" fmla="*/ 25 h 167"/>
                  <a:gd name="T44" fmla="*/ 130 w 193"/>
                  <a:gd name="T45" fmla="*/ 25 h 167"/>
                  <a:gd name="T46" fmla="*/ 164 w 193"/>
                  <a:gd name="T47" fmla="*/ 82 h 167"/>
                  <a:gd name="T48" fmla="*/ 130 w 193"/>
                  <a:gd name="T49" fmla="*/ 142 h 167"/>
                  <a:gd name="T50" fmla="*/ 64 w 193"/>
                  <a:gd name="T51" fmla="*/ 142 h 167"/>
                  <a:gd name="T52" fmla="*/ 30 w 193"/>
                  <a:gd name="T53" fmla="*/ 84 h 167"/>
                  <a:gd name="T54" fmla="*/ 64 w 193"/>
                  <a:gd name="T55" fmla="*/ 22 h 167"/>
                  <a:gd name="T56" fmla="*/ 59 w 193"/>
                  <a:gd name="T57" fmla="*/ 19 h 167"/>
                  <a:gd name="T58" fmla="*/ 59 w 193"/>
                  <a:gd name="T59" fmla="*/ 25 h 167"/>
                  <a:gd name="T60" fmla="*/ 59 w 193"/>
                  <a:gd name="T61" fmla="*/ 19 h 167"/>
                  <a:gd name="T62" fmla="*/ 53 w 193"/>
                  <a:gd name="T63" fmla="*/ 16 h 167"/>
                  <a:gd name="T64" fmla="*/ 15 w 193"/>
                  <a:gd name="T65" fmla="*/ 84 h 167"/>
                  <a:gd name="T66" fmla="*/ 56 w 193"/>
                  <a:gd name="T67" fmla="*/ 154 h 167"/>
                  <a:gd name="T68" fmla="*/ 138 w 193"/>
                  <a:gd name="T69" fmla="*/ 154 h 167"/>
                  <a:gd name="T70" fmla="*/ 178 w 193"/>
                  <a:gd name="T71" fmla="*/ 82 h 167"/>
                  <a:gd name="T72" fmla="*/ 136 w 193"/>
                  <a:gd name="T73" fmla="*/ 13 h 167"/>
                  <a:gd name="T74" fmla="*/ 55 w 193"/>
                  <a:gd name="T75" fmla="*/ 13 h 167"/>
                  <a:gd name="T76" fmla="*/ 53 w 193"/>
                  <a:gd name="T77" fmla="*/ 16 h 167"/>
                  <a:gd name="T78" fmla="*/ 59 w 193"/>
                  <a:gd name="T79" fmla="*/ 1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93" h="167">
                    <a:moveTo>
                      <a:pt x="142" y="161"/>
                    </a:moveTo>
                    <a:lnTo>
                      <a:pt x="148" y="164"/>
                    </a:lnTo>
                    <a:lnTo>
                      <a:pt x="193" y="82"/>
                    </a:lnTo>
                    <a:lnTo>
                      <a:pt x="144" y="0"/>
                    </a:lnTo>
                    <a:lnTo>
                      <a:pt x="48" y="0"/>
                    </a:lnTo>
                    <a:lnTo>
                      <a:pt x="0" y="84"/>
                    </a:lnTo>
                    <a:lnTo>
                      <a:pt x="49" y="167"/>
                    </a:lnTo>
                    <a:lnTo>
                      <a:pt x="145" y="167"/>
                    </a:lnTo>
                    <a:lnTo>
                      <a:pt x="148" y="164"/>
                    </a:lnTo>
                    <a:lnTo>
                      <a:pt x="142" y="161"/>
                    </a:lnTo>
                    <a:lnTo>
                      <a:pt x="142" y="155"/>
                    </a:lnTo>
                    <a:lnTo>
                      <a:pt x="56" y="155"/>
                    </a:lnTo>
                    <a:lnTo>
                      <a:pt x="13" y="84"/>
                    </a:lnTo>
                    <a:lnTo>
                      <a:pt x="55" y="11"/>
                    </a:lnTo>
                    <a:lnTo>
                      <a:pt x="138" y="11"/>
                    </a:lnTo>
                    <a:lnTo>
                      <a:pt x="179" y="82"/>
                    </a:lnTo>
                    <a:lnTo>
                      <a:pt x="138" y="158"/>
                    </a:lnTo>
                    <a:lnTo>
                      <a:pt x="142" y="161"/>
                    </a:lnTo>
                    <a:lnTo>
                      <a:pt x="142" y="155"/>
                    </a:lnTo>
                    <a:lnTo>
                      <a:pt x="142" y="161"/>
                    </a:lnTo>
                    <a:close/>
                    <a:moveTo>
                      <a:pt x="59" y="19"/>
                    </a:moveTo>
                    <a:lnTo>
                      <a:pt x="59" y="25"/>
                    </a:lnTo>
                    <a:lnTo>
                      <a:pt x="130" y="25"/>
                    </a:lnTo>
                    <a:lnTo>
                      <a:pt x="164" y="82"/>
                    </a:lnTo>
                    <a:lnTo>
                      <a:pt x="130" y="142"/>
                    </a:lnTo>
                    <a:lnTo>
                      <a:pt x="64" y="142"/>
                    </a:lnTo>
                    <a:lnTo>
                      <a:pt x="30" y="84"/>
                    </a:lnTo>
                    <a:lnTo>
                      <a:pt x="64" y="22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9" y="19"/>
                    </a:lnTo>
                    <a:lnTo>
                      <a:pt x="53" y="16"/>
                    </a:lnTo>
                    <a:lnTo>
                      <a:pt x="15" y="84"/>
                    </a:lnTo>
                    <a:lnTo>
                      <a:pt x="56" y="154"/>
                    </a:lnTo>
                    <a:lnTo>
                      <a:pt x="138" y="154"/>
                    </a:lnTo>
                    <a:lnTo>
                      <a:pt x="178" y="82"/>
                    </a:lnTo>
                    <a:lnTo>
                      <a:pt x="136" y="13"/>
                    </a:lnTo>
                    <a:lnTo>
                      <a:pt x="55" y="13"/>
                    </a:lnTo>
                    <a:lnTo>
                      <a:pt x="53" y="16"/>
                    </a:lnTo>
                    <a:lnTo>
                      <a:pt x="59" y="19"/>
                    </a:lnTo>
                    <a:close/>
                  </a:path>
                </a:pathLst>
              </a:custGeom>
              <a:grpFill/>
              <a:ln w="19050">
                <a:noFill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8" name="Freeform 246"/>
              <p:cNvSpPr>
                <a:spLocks noEditPoints="1"/>
              </p:cNvSpPr>
              <p:nvPr/>
            </p:nvSpPr>
            <p:spPr bwMode="auto">
              <a:xfrm>
                <a:off x="3127375" y="6188076"/>
                <a:ext cx="307975" cy="268288"/>
              </a:xfrm>
              <a:custGeom>
                <a:avLst/>
                <a:gdLst>
                  <a:gd name="T0" fmla="*/ 51 w 194"/>
                  <a:gd name="T1" fmla="*/ 8 h 169"/>
                  <a:gd name="T2" fmla="*/ 46 w 194"/>
                  <a:gd name="T3" fmla="*/ 5 h 169"/>
                  <a:gd name="T4" fmla="*/ 0 w 194"/>
                  <a:gd name="T5" fmla="*/ 86 h 169"/>
                  <a:gd name="T6" fmla="*/ 50 w 194"/>
                  <a:gd name="T7" fmla="*/ 169 h 169"/>
                  <a:gd name="T8" fmla="*/ 146 w 194"/>
                  <a:gd name="T9" fmla="*/ 168 h 169"/>
                  <a:gd name="T10" fmla="*/ 194 w 194"/>
                  <a:gd name="T11" fmla="*/ 83 h 169"/>
                  <a:gd name="T12" fmla="*/ 145 w 194"/>
                  <a:gd name="T13" fmla="*/ 0 h 169"/>
                  <a:gd name="T14" fmla="*/ 47 w 194"/>
                  <a:gd name="T15" fmla="*/ 2 h 169"/>
                  <a:gd name="T16" fmla="*/ 46 w 194"/>
                  <a:gd name="T17" fmla="*/ 5 h 169"/>
                  <a:gd name="T18" fmla="*/ 51 w 194"/>
                  <a:gd name="T19" fmla="*/ 8 h 169"/>
                  <a:gd name="T20" fmla="*/ 51 w 194"/>
                  <a:gd name="T21" fmla="*/ 14 h 169"/>
                  <a:gd name="T22" fmla="*/ 137 w 194"/>
                  <a:gd name="T23" fmla="*/ 12 h 169"/>
                  <a:gd name="T24" fmla="*/ 180 w 194"/>
                  <a:gd name="T25" fmla="*/ 83 h 169"/>
                  <a:gd name="T26" fmla="*/ 139 w 194"/>
                  <a:gd name="T27" fmla="*/ 156 h 169"/>
                  <a:gd name="T28" fmla="*/ 56 w 194"/>
                  <a:gd name="T29" fmla="*/ 157 h 169"/>
                  <a:gd name="T30" fmla="*/ 14 w 194"/>
                  <a:gd name="T31" fmla="*/ 86 h 169"/>
                  <a:gd name="T32" fmla="*/ 56 w 194"/>
                  <a:gd name="T33" fmla="*/ 11 h 169"/>
                  <a:gd name="T34" fmla="*/ 51 w 194"/>
                  <a:gd name="T35" fmla="*/ 8 h 169"/>
                  <a:gd name="T36" fmla="*/ 51 w 194"/>
                  <a:gd name="T37" fmla="*/ 14 h 169"/>
                  <a:gd name="T38" fmla="*/ 51 w 194"/>
                  <a:gd name="T39" fmla="*/ 8 h 169"/>
                  <a:gd name="T40" fmla="*/ 134 w 194"/>
                  <a:gd name="T41" fmla="*/ 148 h 169"/>
                  <a:gd name="T42" fmla="*/ 134 w 194"/>
                  <a:gd name="T43" fmla="*/ 143 h 169"/>
                  <a:gd name="T44" fmla="*/ 63 w 194"/>
                  <a:gd name="T45" fmla="*/ 144 h 169"/>
                  <a:gd name="T46" fmla="*/ 29 w 194"/>
                  <a:gd name="T47" fmla="*/ 85 h 169"/>
                  <a:gd name="T48" fmla="*/ 62 w 194"/>
                  <a:gd name="T49" fmla="*/ 27 h 169"/>
                  <a:gd name="T50" fmla="*/ 130 w 194"/>
                  <a:gd name="T51" fmla="*/ 26 h 169"/>
                  <a:gd name="T52" fmla="*/ 164 w 194"/>
                  <a:gd name="T53" fmla="*/ 83 h 169"/>
                  <a:gd name="T54" fmla="*/ 130 w 194"/>
                  <a:gd name="T55" fmla="*/ 146 h 169"/>
                  <a:gd name="T56" fmla="*/ 134 w 194"/>
                  <a:gd name="T57" fmla="*/ 148 h 169"/>
                  <a:gd name="T58" fmla="*/ 134 w 194"/>
                  <a:gd name="T59" fmla="*/ 143 h 169"/>
                  <a:gd name="T60" fmla="*/ 134 w 194"/>
                  <a:gd name="T61" fmla="*/ 148 h 169"/>
                  <a:gd name="T62" fmla="*/ 140 w 194"/>
                  <a:gd name="T63" fmla="*/ 151 h 169"/>
                  <a:gd name="T64" fmla="*/ 177 w 194"/>
                  <a:gd name="T65" fmla="*/ 83 h 169"/>
                  <a:gd name="T66" fmla="*/ 136 w 194"/>
                  <a:gd name="T67" fmla="*/ 14 h 169"/>
                  <a:gd name="T68" fmla="*/ 56 w 194"/>
                  <a:gd name="T69" fmla="*/ 15 h 169"/>
                  <a:gd name="T70" fmla="*/ 16 w 194"/>
                  <a:gd name="T71" fmla="*/ 86 h 169"/>
                  <a:gd name="T72" fmla="*/ 57 w 194"/>
                  <a:gd name="T73" fmla="*/ 156 h 169"/>
                  <a:gd name="T74" fmla="*/ 137 w 194"/>
                  <a:gd name="T75" fmla="*/ 154 h 169"/>
                  <a:gd name="T76" fmla="*/ 140 w 194"/>
                  <a:gd name="T77" fmla="*/ 151 h 169"/>
                  <a:gd name="T78" fmla="*/ 134 w 194"/>
                  <a:gd name="T79" fmla="*/ 148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94" h="169">
                    <a:moveTo>
                      <a:pt x="51" y="8"/>
                    </a:moveTo>
                    <a:lnTo>
                      <a:pt x="46" y="5"/>
                    </a:lnTo>
                    <a:lnTo>
                      <a:pt x="0" y="86"/>
                    </a:lnTo>
                    <a:lnTo>
                      <a:pt x="50" y="169"/>
                    </a:lnTo>
                    <a:lnTo>
                      <a:pt x="146" y="168"/>
                    </a:lnTo>
                    <a:lnTo>
                      <a:pt x="194" y="83"/>
                    </a:lnTo>
                    <a:lnTo>
                      <a:pt x="145" y="0"/>
                    </a:lnTo>
                    <a:lnTo>
                      <a:pt x="47" y="2"/>
                    </a:lnTo>
                    <a:lnTo>
                      <a:pt x="46" y="5"/>
                    </a:lnTo>
                    <a:lnTo>
                      <a:pt x="51" y="8"/>
                    </a:lnTo>
                    <a:lnTo>
                      <a:pt x="51" y="14"/>
                    </a:lnTo>
                    <a:lnTo>
                      <a:pt x="137" y="12"/>
                    </a:lnTo>
                    <a:lnTo>
                      <a:pt x="180" y="83"/>
                    </a:lnTo>
                    <a:lnTo>
                      <a:pt x="139" y="156"/>
                    </a:lnTo>
                    <a:lnTo>
                      <a:pt x="56" y="157"/>
                    </a:lnTo>
                    <a:lnTo>
                      <a:pt x="14" y="86"/>
                    </a:lnTo>
                    <a:lnTo>
                      <a:pt x="56" y="11"/>
                    </a:lnTo>
                    <a:lnTo>
                      <a:pt x="51" y="8"/>
                    </a:lnTo>
                    <a:lnTo>
                      <a:pt x="51" y="14"/>
                    </a:lnTo>
                    <a:lnTo>
                      <a:pt x="51" y="8"/>
                    </a:lnTo>
                    <a:close/>
                    <a:moveTo>
                      <a:pt x="134" y="148"/>
                    </a:moveTo>
                    <a:lnTo>
                      <a:pt x="134" y="143"/>
                    </a:lnTo>
                    <a:lnTo>
                      <a:pt x="63" y="144"/>
                    </a:lnTo>
                    <a:lnTo>
                      <a:pt x="29" y="85"/>
                    </a:lnTo>
                    <a:lnTo>
                      <a:pt x="62" y="27"/>
                    </a:lnTo>
                    <a:lnTo>
                      <a:pt x="130" y="26"/>
                    </a:lnTo>
                    <a:lnTo>
                      <a:pt x="164" y="83"/>
                    </a:lnTo>
                    <a:lnTo>
                      <a:pt x="130" y="146"/>
                    </a:lnTo>
                    <a:lnTo>
                      <a:pt x="134" y="148"/>
                    </a:lnTo>
                    <a:lnTo>
                      <a:pt x="134" y="143"/>
                    </a:lnTo>
                    <a:lnTo>
                      <a:pt x="134" y="148"/>
                    </a:lnTo>
                    <a:lnTo>
                      <a:pt x="140" y="151"/>
                    </a:lnTo>
                    <a:lnTo>
                      <a:pt x="177" y="83"/>
                    </a:lnTo>
                    <a:lnTo>
                      <a:pt x="136" y="14"/>
                    </a:lnTo>
                    <a:lnTo>
                      <a:pt x="56" y="15"/>
                    </a:lnTo>
                    <a:lnTo>
                      <a:pt x="16" y="86"/>
                    </a:lnTo>
                    <a:lnTo>
                      <a:pt x="57" y="156"/>
                    </a:lnTo>
                    <a:lnTo>
                      <a:pt x="137" y="154"/>
                    </a:lnTo>
                    <a:lnTo>
                      <a:pt x="140" y="151"/>
                    </a:lnTo>
                    <a:lnTo>
                      <a:pt x="134" y="148"/>
                    </a:lnTo>
                    <a:close/>
                  </a:path>
                </a:pathLst>
              </a:custGeom>
              <a:grpFill/>
              <a:ln w="19050">
                <a:noFill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dirty="0"/>
              </a:p>
            </p:txBody>
          </p:sp>
        </p:grpSp>
        <p:sp>
          <p:nvSpPr>
            <p:cNvPr id="49" name="矩形 48"/>
            <p:cNvSpPr/>
            <p:nvPr/>
          </p:nvSpPr>
          <p:spPr>
            <a:xfrm>
              <a:off x="8277599" y="5229377"/>
              <a:ext cx="1031051" cy="400110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r>
                <a:rPr lang="zh-CN" altLang="en-U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易集成</a:t>
              </a:r>
              <a:r>
                <a:rPr lang="en-US" altLang="zh-CN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5623451" y="4479215"/>
            <a:ext cx="1186052" cy="1150272"/>
            <a:chOff x="5896964" y="4479215"/>
            <a:chExt cx="1186052" cy="1150272"/>
          </a:xfrm>
        </p:grpSpPr>
        <p:sp>
          <p:nvSpPr>
            <p:cNvPr id="34" name="文本框 33"/>
            <p:cNvSpPr txBox="1"/>
            <p:nvPr/>
          </p:nvSpPr>
          <p:spPr>
            <a:xfrm>
              <a:off x="5896964" y="5229377"/>
              <a:ext cx="1186052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zh-CN" altLang="en-U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功耗低</a:t>
              </a:r>
              <a:endParaRPr kumimoji="1"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grpSp>
          <p:nvGrpSpPr>
            <p:cNvPr id="50" name="组合 49"/>
            <p:cNvGrpSpPr/>
            <p:nvPr/>
          </p:nvGrpSpPr>
          <p:grpSpPr>
            <a:xfrm>
              <a:off x="6142325" y="4479215"/>
              <a:ext cx="695331" cy="358499"/>
              <a:chOff x="8604641" y="4140753"/>
              <a:chExt cx="695331" cy="358499"/>
            </a:xfrm>
          </p:grpSpPr>
          <p:sp>
            <p:nvSpPr>
              <p:cNvPr id="51" name="Freeform 280"/>
              <p:cNvSpPr/>
              <p:nvPr/>
            </p:nvSpPr>
            <p:spPr bwMode="auto">
              <a:xfrm>
                <a:off x="8664705" y="4186436"/>
                <a:ext cx="358499" cy="271829"/>
              </a:xfrm>
              <a:custGeom>
                <a:avLst/>
                <a:gdLst>
                  <a:gd name="T0" fmla="*/ 9 w 99"/>
                  <a:gd name="T1" fmla="*/ 0 h 75"/>
                  <a:gd name="T2" fmla="*/ 0 w 99"/>
                  <a:gd name="T3" fmla="*/ 9 h 75"/>
                  <a:gd name="T4" fmla="*/ 0 w 99"/>
                  <a:gd name="T5" fmla="*/ 66 h 75"/>
                  <a:gd name="T6" fmla="*/ 9 w 99"/>
                  <a:gd name="T7" fmla="*/ 75 h 75"/>
                  <a:gd name="T8" fmla="*/ 99 w 99"/>
                  <a:gd name="T9" fmla="*/ 75 h 75"/>
                  <a:gd name="T10" fmla="*/ 75 w 99"/>
                  <a:gd name="T11" fmla="*/ 0 h 75"/>
                  <a:gd name="T12" fmla="*/ 9 w 99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75">
                    <a:moveTo>
                      <a:pt x="9" y="0"/>
                    </a:moveTo>
                    <a:cubicBezTo>
                      <a:pt x="4" y="0"/>
                      <a:pt x="0" y="4"/>
                      <a:pt x="0" y="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71"/>
                      <a:pt x="4" y="75"/>
                      <a:pt x="9" y="75"/>
                    </a:cubicBezTo>
                    <a:cubicBezTo>
                      <a:pt x="99" y="75"/>
                      <a:pt x="99" y="75"/>
                      <a:pt x="99" y="75"/>
                    </a:cubicBezTo>
                    <a:cubicBezTo>
                      <a:pt x="75" y="0"/>
                      <a:pt x="75" y="0"/>
                      <a:pt x="75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noFill/>
              <a:ln w="28575" cap="flat">
                <a:solidFill>
                  <a:srgbClr val="20B9CE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2" name="Freeform 281"/>
              <p:cNvSpPr/>
              <p:nvPr/>
            </p:nvSpPr>
            <p:spPr bwMode="auto">
              <a:xfrm>
                <a:off x="8604641" y="4140753"/>
                <a:ext cx="695331" cy="358499"/>
              </a:xfrm>
              <a:custGeom>
                <a:avLst/>
                <a:gdLst>
                  <a:gd name="T0" fmla="*/ 186 w 192"/>
                  <a:gd name="T1" fmla="*/ 28 h 99"/>
                  <a:gd name="T2" fmla="*/ 169 w 192"/>
                  <a:gd name="T3" fmla="*/ 28 h 99"/>
                  <a:gd name="T4" fmla="*/ 169 w 192"/>
                  <a:gd name="T5" fmla="*/ 21 h 99"/>
                  <a:gd name="T6" fmla="*/ 148 w 192"/>
                  <a:gd name="T7" fmla="*/ 0 h 99"/>
                  <a:gd name="T8" fmla="*/ 21 w 192"/>
                  <a:gd name="T9" fmla="*/ 0 h 99"/>
                  <a:gd name="T10" fmla="*/ 0 w 192"/>
                  <a:gd name="T11" fmla="*/ 21 h 99"/>
                  <a:gd name="T12" fmla="*/ 0 w 192"/>
                  <a:gd name="T13" fmla="*/ 78 h 99"/>
                  <a:gd name="T14" fmla="*/ 21 w 192"/>
                  <a:gd name="T15" fmla="*/ 99 h 99"/>
                  <a:gd name="T16" fmla="*/ 148 w 192"/>
                  <a:gd name="T17" fmla="*/ 99 h 99"/>
                  <a:gd name="T18" fmla="*/ 169 w 192"/>
                  <a:gd name="T19" fmla="*/ 78 h 99"/>
                  <a:gd name="T20" fmla="*/ 169 w 192"/>
                  <a:gd name="T21" fmla="*/ 71 h 99"/>
                  <a:gd name="T22" fmla="*/ 186 w 192"/>
                  <a:gd name="T23" fmla="*/ 71 h 99"/>
                  <a:gd name="T24" fmla="*/ 192 w 192"/>
                  <a:gd name="T25" fmla="*/ 65 h 99"/>
                  <a:gd name="T26" fmla="*/ 192 w 192"/>
                  <a:gd name="T27" fmla="*/ 34 h 99"/>
                  <a:gd name="T28" fmla="*/ 186 w 192"/>
                  <a:gd name="T29" fmla="*/ 2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2" h="99">
                    <a:moveTo>
                      <a:pt x="186" y="28"/>
                    </a:moveTo>
                    <a:cubicBezTo>
                      <a:pt x="169" y="28"/>
                      <a:pt x="169" y="28"/>
                      <a:pt x="169" y="28"/>
                    </a:cubicBezTo>
                    <a:cubicBezTo>
                      <a:pt x="169" y="21"/>
                      <a:pt x="169" y="21"/>
                      <a:pt x="169" y="21"/>
                    </a:cubicBezTo>
                    <a:cubicBezTo>
                      <a:pt x="169" y="10"/>
                      <a:pt x="160" y="0"/>
                      <a:pt x="148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89"/>
                      <a:pt x="10" y="99"/>
                      <a:pt x="21" y="99"/>
                    </a:cubicBezTo>
                    <a:cubicBezTo>
                      <a:pt x="148" y="99"/>
                      <a:pt x="148" y="99"/>
                      <a:pt x="148" y="99"/>
                    </a:cubicBezTo>
                    <a:cubicBezTo>
                      <a:pt x="160" y="99"/>
                      <a:pt x="169" y="89"/>
                      <a:pt x="169" y="78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86" y="71"/>
                      <a:pt x="186" y="71"/>
                      <a:pt x="186" y="71"/>
                    </a:cubicBezTo>
                    <a:cubicBezTo>
                      <a:pt x="190" y="71"/>
                      <a:pt x="192" y="69"/>
                      <a:pt x="192" y="65"/>
                    </a:cubicBezTo>
                    <a:cubicBezTo>
                      <a:pt x="192" y="34"/>
                      <a:pt x="192" y="34"/>
                      <a:pt x="192" y="34"/>
                    </a:cubicBezTo>
                    <a:cubicBezTo>
                      <a:pt x="192" y="31"/>
                      <a:pt x="190" y="28"/>
                      <a:pt x="186" y="28"/>
                    </a:cubicBezTo>
                    <a:close/>
                  </a:path>
                </a:pathLst>
              </a:custGeom>
              <a:noFill/>
              <a:ln w="28575" cap="flat">
                <a:solidFill>
                  <a:srgbClr val="20B9CE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3" name="Line 282"/>
              <p:cNvSpPr>
                <a:spLocks noChangeShapeType="1"/>
              </p:cNvSpPr>
              <p:nvPr/>
            </p:nvSpPr>
            <p:spPr bwMode="auto">
              <a:xfrm>
                <a:off x="8816709" y="4186436"/>
                <a:ext cx="90610" cy="271829"/>
              </a:xfrm>
              <a:prstGeom prst="line">
                <a:avLst/>
              </a:prstGeom>
              <a:noFill/>
              <a:ln w="28575" cap="flat">
                <a:solidFill>
                  <a:srgbClr val="20B9CE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68052" y="385500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I611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芯片规格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312024" y="1623435"/>
          <a:ext cx="5472607" cy="4480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7350"/>
                <a:gridCol w="3255257"/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NPU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探境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SFA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架构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NPU，131MHz</a:t>
                      </a:r>
                      <a:endParaRPr lang="da-DK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SRAM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512KB</a:t>
                      </a:r>
                      <a:endParaRPr lang="da-DK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 dirty="0">
                          <a:ln>
                            <a:noFill/>
                          </a:ln>
                          <a:effectLst/>
                        </a:rPr>
                        <a:t>F</a:t>
                      </a:r>
                      <a:r>
                        <a:rPr lang="en-US" altLang="zh-CN" sz="1400" b="1" u="none" strike="noStrike" dirty="0">
                          <a:ln>
                            <a:noFill/>
                          </a:ln>
                          <a:effectLst/>
                        </a:rPr>
                        <a:t>lash</a:t>
                      </a:r>
                      <a:endParaRPr lang="da-DK" sz="1400" b="1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外置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QSPI Flash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存储固件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I2S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入</a:t>
                      </a:r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出，支持</a:t>
                      </a:r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6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K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音频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PDM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入，支持</a:t>
                      </a:r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6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K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音频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MIC ADC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入，支持</a:t>
                      </a:r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6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K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音频输入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DAC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出，支持</a:t>
                      </a:r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6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K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音频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SPI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个，支持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Master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模式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I2C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个，支持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Master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模式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UART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个，最高波特率</a:t>
                      </a:r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Mbps</a:t>
                      </a:r>
                      <a:endParaRPr lang="da-DK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PWM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4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个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GPIO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6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个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JTAG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支持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Watch Dog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个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LDO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无，需外接</a:t>
                      </a:r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3.3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V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和</a:t>
                      </a:r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1.2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V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供电</a:t>
                      </a:r>
                      <a:endParaRPr lang="zh-CN" altLang="en-US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b="1" u="none" strike="noStrike">
                          <a:ln>
                            <a:noFill/>
                          </a:ln>
                          <a:effectLst/>
                        </a:rPr>
                        <a:t>PLL</a:t>
                      </a:r>
                      <a:endParaRPr lang="da-DK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集成低功耗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PLL，</a:t>
                      </a:r>
                      <a:r>
                        <a:rPr lang="zh-CN" altLang="en-US" sz="1400" u="none" strike="noStrike">
                          <a:ln>
                            <a:noFill/>
                          </a:ln>
                          <a:effectLst/>
                        </a:rPr>
                        <a:t>输出频率</a:t>
                      </a:r>
                      <a:r>
                        <a:rPr lang="en-US" altLang="zh-CN" sz="1400" u="none" strike="noStrike">
                          <a:ln>
                            <a:noFill/>
                          </a:ln>
                          <a:effectLst/>
                        </a:rPr>
                        <a:t>24</a:t>
                      </a:r>
                      <a:r>
                        <a:rPr lang="da-DK" sz="1400" u="none" strike="noStrike">
                          <a:ln>
                            <a:noFill/>
                          </a:ln>
                          <a:effectLst/>
                        </a:rPr>
                        <a:t>MHz~131MHz</a:t>
                      </a:r>
                      <a:endParaRPr lang="da-DK" sz="140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>
                          <a:ln>
                            <a:noFill/>
                          </a:ln>
                          <a:effectLst/>
                        </a:rPr>
                        <a:t>封装</a:t>
                      </a:r>
                      <a:endParaRPr lang="zh-CN" altLang="en-US" sz="1400" b="1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u="none" strike="noStrike" dirty="0">
                          <a:ln>
                            <a:noFill/>
                          </a:ln>
                          <a:effectLst/>
                        </a:rPr>
                        <a:t>QFN68-8x8</a:t>
                      </a:r>
                      <a:endParaRPr lang="da-DK" sz="1400" b="0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dirty="0">
                          <a:ln>
                            <a:noFill/>
                          </a:ln>
                          <a:effectLst/>
                        </a:rPr>
                        <a:t>功耗</a:t>
                      </a:r>
                      <a:endParaRPr lang="zh-CN" altLang="en-US" sz="1400" b="1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u="none" strike="noStrike" dirty="0">
                          <a:ln>
                            <a:noFill/>
                          </a:ln>
                          <a:effectLst/>
                        </a:rPr>
                        <a:t>待机模式：</a:t>
                      </a:r>
                      <a:r>
                        <a:rPr lang="en-US" altLang="zh-CN" sz="140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5mW</a:t>
                      </a:r>
                      <a:endParaRPr lang="en-US" altLang="zh-CN" sz="140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u="none" strike="noStrike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待机唤醒模式：</a:t>
                      </a:r>
                      <a:r>
                        <a:rPr lang="en-US" altLang="zh-CN" sz="1400" u="none" strike="noStrike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mW</a:t>
                      </a:r>
                      <a:endParaRPr lang="da-DK" altLang="zh-CN" sz="1400" u="none" strike="noStrike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ctr"/>
                      <a:r>
                        <a:rPr lang="zh-CN" altLang="en-US" sz="1400" u="none" strike="noStrike" dirty="0">
                          <a:ln>
                            <a:noFill/>
                          </a:ln>
                          <a:effectLst/>
                        </a:rPr>
                        <a:t>识别模式：</a:t>
                      </a:r>
                      <a:r>
                        <a:rPr lang="en-US" altLang="zh-CN" sz="1400" u="none" strike="noStrike" dirty="0">
                          <a:ln>
                            <a:noFill/>
                          </a:ln>
                          <a:effectLst/>
                        </a:rPr>
                        <a:t>100~150</a:t>
                      </a:r>
                      <a:r>
                        <a:rPr lang="da-DK" sz="1400" u="none" strike="noStrike" dirty="0">
                          <a:ln>
                            <a:noFill/>
                          </a:ln>
                          <a:effectLst/>
                        </a:rPr>
                        <a:t>mW</a:t>
                      </a:r>
                      <a:endParaRPr lang="da-DK" sz="1400" b="0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</a:tbl>
          </a:graphicData>
        </a:graphic>
      </p:graphicFrame>
      <p:sp>
        <p:nvSpPr>
          <p:cNvPr id="4" name="矩形 3"/>
          <p:cNvSpPr/>
          <p:nvPr/>
        </p:nvSpPr>
        <p:spPr>
          <a:xfrm>
            <a:off x="2567608" y="5174161"/>
            <a:ext cx="28923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支持语音检测，语音识别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单/双麦语音处理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6" name="直线连接符 5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404664"/>
            <a:ext cx="12192000" cy="523220"/>
          </a:xfrm>
          <a:prstGeom prst="rect">
            <a:avLst/>
          </a:prstGeom>
          <a:noFill/>
        </p:spPr>
        <p:txBody>
          <a:bodyPr wrap="square" lIns="90000" rtlCol="0">
            <a:spAutoFit/>
          </a:bodyPr>
          <a:lstStyle/>
          <a:p>
            <a:pPr algn="ctr"/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I611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框图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212" y="2216696"/>
            <a:ext cx="6984776" cy="4103861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767408" y="1073992"/>
            <a:ext cx="1069853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OI611</a:t>
            </a:r>
            <a:r>
              <a: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拥有自主专利技术NP</a:t>
            </a:r>
            <a:r>
              <a:rPr lang="en-US" altLang="zh-CN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</a:t>
            </a:r>
            <a:r>
              <a: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，具有</a:t>
            </a:r>
            <a:r>
              <a: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效的本地推理能力，支持DNN、CNN、RNN/LSTM等主流神经网络算法，内置高速SRAM。</a:t>
            </a:r>
            <a:r>
              <a:rPr lang="en-US" altLang="zh-CN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OI611</a:t>
            </a:r>
            <a:r>
              <a: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en-US" altLang="zh-CN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FA</a:t>
            </a:r>
            <a:r>
              <a: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存储优先）架构，无需对底层器件进行修改设计。</a:t>
            </a:r>
            <a:endParaRPr lang="zh-CN" altLang="en-US" sz="20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8" name="直线连接符 7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矩形 28"/>
          <p:cNvSpPr/>
          <p:nvPr/>
        </p:nvSpPr>
        <p:spPr>
          <a:xfrm>
            <a:off x="-168696" y="0"/>
            <a:ext cx="12383680" cy="6858000"/>
          </a:xfrm>
          <a:prstGeom prst="rect">
            <a:avLst/>
          </a:prstGeom>
          <a:solidFill>
            <a:srgbClr val="009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30" name="组合 29"/>
          <p:cNvGrpSpPr/>
          <p:nvPr/>
        </p:nvGrpSpPr>
        <p:grpSpPr>
          <a:xfrm>
            <a:off x="8904312" y="-36651"/>
            <a:ext cx="3310672" cy="12922418"/>
            <a:chOff x="7037618" y="-36651"/>
            <a:chExt cx="5193828" cy="12922418"/>
          </a:xfrm>
        </p:grpSpPr>
        <p:sp>
          <p:nvSpPr>
            <p:cNvPr id="31" name="平行四边形 30"/>
            <p:cNvSpPr/>
            <p:nvPr/>
          </p:nvSpPr>
          <p:spPr>
            <a:xfrm rot="16200000" flipH="1">
              <a:off x="4831933" y="2169034"/>
              <a:ext cx="9605197" cy="5193828"/>
            </a:xfrm>
            <a:prstGeom prst="parallelogram">
              <a:avLst>
                <a:gd name="adj" fmla="val 51115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  <a:alpha val="20000"/>
                  </a:schemeClr>
                </a:gs>
                <a:gs pos="100000">
                  <a:schemeClr val="bg2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2" name="平行四边形 31"/>
            <p:cNvSpPr/>
            <p:nvPr/>
          </p:nvSpPr>
          <p:spPr>
            <a:xfrm rot="16200000" flipH="1">
              <a:off x="4831933" y="5486255"/>
              <a:ext cx="9605197" cy="5193828"/>
            </a:xfrm>
            <a:prstGeom prst="parallelogram">
              <a:avLst>
                <a:gd name="adj" fmla="val 51115"/>
              </a:avLst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  <a:alpha val="20000"/>
                  </a:schemeClr>
                </a:gs>
                <a:gs pos="100000">
                  <a:schemeClr val="bg2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33" name="文本框 32"/>
          <p:cNvSpPr txBox="1"/>
          <p:nvPr/>
        </p:nvSpPr>
        <p:spPr>
          <a:xfrm>
            <a:off x="14512" y="1340768"/>
            <a:ext cx="1220894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音旋风二代</a:t>
            </a:r>
            <a:endParaRPr kumimoji="1" lang="en-US" altLang="zh-CN" sz="3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7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芯片介绍</a:t>
            </a:r>
            <a:endParaRPr kumimoji="1" lang="en-US" altLang="zh-CN" sz="7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I311/621/721</a:t>
            </a:r>
            <a:endParaRPr kumimoji="1"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-168696" y="4279619"/>
            <a:ext cx="1239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更高集成度   更低BOM成本</a:t>
            </a: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385500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音旋风二代系列功能及技术特点</a:t>
            </a:r>
            <a:endParaRPr kumimoji="1"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6384032" y="1342509"/>
            <a:ext cx="3647152" cy="4893062"/>
            <a:chOff x="6034003" y="1342509"/>
            <a:chExt cx="3647152" cy="4893062"/>
          </a:xfrm>
        </p:grpSpPr>
        <p:sp>
          <p:nvSpPr>
            <p:cNvPr id="27" name="文本框 26"/>
            <p:cNvSpPr txBox="1"/>
            <p:nvPr/>
          </p:nvSpPr>
          <p:spPr>
            <a:xfrm>
              <a:off x="6034003" y="1342509"/>
              <a:ext cx="253787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b="1" dirty="0"/>
                <a:t>CPU</a:t>
              </a:r>
              <a:r>
                <a:rPr kumimoji="1" lang="zh-CN" altLang="en-US" b="1" dirty="0"/>
                <a:t>更高</a:t>
              </a:r>
              <a:endParaRPr kumimoji="1" lang="en-US" altLang="zh-CN" b="1" dirty="0"/>
            </a:p>
            <a:p>
              <a:r>
                <a:rPr kumimoji="1" lang="en-US" altLang="zh-CN" dirty="0"/>
                <a:t>131</a:t>
              </a:r>
              <a:r>
                <a:rPr kumimoji="1" lang="zh-CN" altLang="en-US" dirty="0"/>
                <a:t> </a:t>
              </a:r>
              <a:r>
                <a:rPr kumimoji="1" lang="en-US" altLang="zh-CN" dirty="0"/>
                <a:t>~</a:t>
              </a:r>
              <a:r>
                <a:rPr kumimoji="1" lang="zh-CN" altLang="en-US" dirty="0"/>
                <a:t> </a:t>
              </a:r>
              <a:r>
                <a:rPr kumimoji="1" lang="en-US" altLang="zh-CN" dirty="0"/>
                <a:t>196MHz RISC-V</a:t>
              </a:r>
              <a:endParaRPr kumimoji="1" lang="en-US" altLang="zh-CN" dirty="0"/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6034003" y="2191855"/>
              <a:ext cx="364715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b="1" dirty="0"/>
                <a:t>NPU</a:t>
              </a:r>
              <a:r>
                <a:rPr kumimoji="1" lang="zh-CN" altLang="en-US" b="1" dirty="0"/>
                <a:t>更强</a:t>
              </a:r>
              <a:endParaRPr kumimoji="1" lang="en-US" altLang="zh-CN" b="1" dirty="0"/>
            </a:p>
            <a:p>
              <a:r>
                <a:rPr kumimoji="1" lang="zh-CN" altLang="en-US" dirty="0"/>
                <a:t>支持浮点、低比特等更多运算方式</a:t>
              </a:r>
              <a:endParaRPr kumimoji="1" lang="en-US" altLang="zh-CN" dirty="0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6034003" y="3041201"/>
              <a:ext cx="264687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b="1" dirty="0"/>
                <a:t>更高集成度</a:t>
              </a:r>
              <a:endParaRPr kumimoji="1" lang="en-US" altLang="zh-CN" b="1" dirty="0"/>
            </a:p>
            <a:p>
              <a:r>
                <a:rPr kumimoji="1" lang="zh-CN" altLang="en-US" dirty="0"/>
                <a:t>内置</a:t>
              </a:r>
              <a:r>
                <a:rPr kumimoji="1" lang="da-DK" altLang="zh-CN" dirty="0"/>
                <a:t>LDO</a:t>
              </a:r>
              <a:r>
                <a:rPr kumimoji="1" lang="zh-CN" altLang="da-DK" dirty="0"/>
                <a:t>，</a:t>
              </a:r>
              <a:r>
                <a:rPr kumimoji="1" lang="da-DK" altLang="zh-CN" dirty="0"/>
                <a:t>OSC</a:t>
              </a:r>
              <a:r>
                <a:rPr kumimoji="1" lang="zh-CN" altLang="da-DK" dirty="0"/>
                <a:t>，</a:t>
              </a:r>
              <a:r>
                <a:rPr kumimoji="1" lang="da-DK" altLang="zh-CN" dirty="0"/>
                <a:t>F</a:t>
              </a:r>
              <a:r>
                <a:rPr kumimoji="1" lang="en-US" altLang="zh-CN" dirty="0"/>
                <a:t>lash</a:t>
              </a:r>
              <a:endParaRPr kumimoji="1" lang="zh-CN" altLang="en-US" dirty="0"/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6034003" y="3890547"/>
              <a:ext cx="291618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b="1" dirty="0"/>
                <a:t>更低待机唤醒功耗</a:t>
              </a:r>
              <a:endParaRPr kumimoji="1" lang="en-US" altLang="zh-CN" b="1" dirty="0"/>
            </a:p>
            <a:p>
              <a:r>
                <a:rPr kumimoji="1" lang="en-US" altLang="zh-CN" dirty="0"/>
                <a:t>10</a:t>
              </a:r>
              <a:r>
                <a:rPr kumimoji="1" lang="da-DK" altLang="zh-CN" dirty="0"/>
                <a:t>mW</a:t>
              </a:r>
              <a:r>
                <a:rPr kumimoji="1" lang="zh-CN" altLang="en-US" dirty="0"/>
                <a:t>，仅为第一代的</a:t>
              </a:r>
              <a:r>
                <a:rPr kumimoji="1" lang="en-US" altLang="zh-CN" dirty="0"/>
                <a:t>1/10</a:t>
              </a:r>
              <a:endParaRPr kumimoji="1" lang="en-US" altLang="zh-CN" dirty="0"/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6034003" y="4739893"/>
              <a:ext cx="3027680" cy="6451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b="1" dirty="0"/>
                <a:t>更小封装面积</a:t>
              </a:r>
              <a:endParaRPr kumimoji="1" lang="en-US" altLang="zh-CN" b="1" dirty="0"/>
            </a:p>
            <a:p>
              <a:r>
                <a:rPr kumimoji="1" lang="da-DK" altLang="zh-CN" dirty="0"/>
                <a:t>QFN</a:t>
              </a:r>
              <a:r>
                <a:rPr kumimoji="1" lang="en-US" altLang="zh-CN" dirty="0"/>
                <a:t>48</a:t>
              </a:r>
              <a:r>
                <a:rPr kumimoji="1" lang="da-DK" altLang="zh-CN" dirty="0"/>
                <a:t>-</a:t>
              </a:r>
              <a:r>
                <a:rPr kumimoji="1" lang="en-US" altLang="zh-CN" dirty="0"/>
                <a:t>6</a:t>
              </a:r>
              <a:r>
                <a:rPr kumimoji="1" lang="da-DK" altLang="zh-CN" dirty="0"/>
                <a:t>x</a:t>
              </a:r>
              <a:r>
                <a:rPr kumimoji="1" lang="en-US" altLang="zh-CN" dirty="0"/>
                <a:t>6</a:t>
              </a:r>
              <a:r>
                <a:rPr kumimoji="1" lang="da-DK" altLang="zh-CN" dirty="0"/>
                <a:t> </a:t>
              </a:r>
              <a:r>
                <a:rPr kumimoji="1" lang="zh-CN" altLang="en-US" dirty="0"/>
                <a:t>，节省板卡面积</a:t>
              </a:r>
              <a:endParaRPr kumimoji="1" lang="zh-CN" altLang="en-US" dirty="0"/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6034003" y="5589240"/>
              <a:ext cx="217239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b="1" dirty="0"/>
                <a:t>支持离在线一体</a:t>
              </a:r>
              <a:endParaRPr kumimoji="1" lang="en-US" altLang="zh-CN" b="1" dirty="0"/>
            </a:p>
            <a:p>
              <a:r>
                <a:rPr kumimoji="1" lang="zh-CN" altLang="en-US" dirty="0"/>
                <a:t>支持</a:t>
              </a:r>
              <a:r>
                <a:rPr kumimoji="1" lang="en-US" altLang="zh-CN" dirty="0"/>
                <a:t>Wi-Fi/</a:t>
              </a:r>
              <a:r>
                <a:rPr kumimoji="1" lang="zh-CN" altLang="en-US" dirty="0"/>
                <a:t>蓝牙接口</a:t>
              </a:r>
              <a:endParaRPr kumimoji="1" lang="zh-CN" altLang="en-US" dirty="0"/>
            </a:p>
          </p:txBody>
        </p:sp>
      </p:grp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31" name="直线连接符 30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组合 5"/>
          <p:cNvGrpSpPr/>
          <p:nvPr/>
        </p:nvGrpSpPr>
        <p:grpSpPr>
          <a:xfrm>
            <a:off x="2639380" y="2430127"/>
            <a:ext cx="1872208" cy="2514809"/>
            <a:chOff x="2351584" y="2097171"/>
            <a:chExt cx="1872208" cy="2514809"/>
          </a:xfrm>
        </p:grpSpPr>
        <p:grpSp>
          <p:nvGrpSpPr>
            <p:cNvPr id="52" name="组合 51"/>
            <p:cNvGrpSpPr/>
            <p:nvPr/>
          </p:nvGrpSpPr>
          <p:grpSpPr>
            <a:xfrm>
              <a:off x="2351584" y="2114194"/>
              <a:ext cx="624790" cy="616868"/>
              <a:chOff x="761908" y="2708968"/>
              <a:chExt cx="437548" cy="432000"/>
            </a:xfrm>
          </p:grpSpPr>
          <p:sp>
            <p:nvSpPr>
              <p:cNvPr id="53" name="object 32"/>
              <p:cNvSpPr/>
              <p:nvPr/>
            </p:nvSpPr>
            <p:spPr>
              <a:xfrm>
                <a:off x="761908" y="2708968"/>
                <a:ext cx="437548" cy="432000"/>
              </a:xfrm>
              <a:custGeom>
                <a:avLst/>
                <a:gdLst/>
                <a:ahLst/>
                <a:cxnLst/>
                <a:rect l="l" t="t" r="r" b="b"/>
                <a:pathLst>
                  <a:path w="350520" h="346075">
                    <a:moveTo>
                      <a:pt x="345312" y="0"/>
                    </a:moveTo>
                    <a:lnTo>
                      <a:pt x="5206" y="0"/>
                    </a:lnTo>
                    <a:lnTo>
                      <a:pt x="0" y="5079"/>
                    </a:lnTo>
                    <a:lnTo>
                      <a:pt x="0" y="340867"/>
                    </a:lnTo>
                    <a:lnTo>
                      <a:pt x="5206" y="345948"/>
                    </a:lnTo>
                    <a:lnTo>
                      <a:pt x="345312" y="345948"/>
                    </a:lnTo>
                    <a:lnTo>
                      <a:pt x="350519" y="340867"/>
                    </a:lnTo>
                    <a:lnTo>
                      <a:pt x="350519" y="5079"/>
                    </a:lnTo>
                    <a:close/>
                  </a:path>
                </a:pathLst>
              </a:custGeom>
              <a:solidFill>
                <a:srgbClr val="7BCBD5"/>
              </a:solidFill>
              <a:effectLst/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4" name="object 33"/>
              <p:cNvSpPr/>
              <p:nvPr/>
            </p:nvSpPr>
            <p:spPr>
              <a:xfrm>
                <a:off x="782517" y="2728785"/>
                <a:ext cx="396330" cy="392367"/>
              </a:xfrm>
              <a:custGeom>
                <a:avLst/>
                <a:gdLst/>
                <a:ahLst/>
                <a:cxnLst/>
                <a:rect l="l" t="t" r="r" b="b"/>
                <a:pathLst>
                  <a:path w="317500" h="314325">
                    <a:moveTo>
                      <a:pt x="314071" y="302387"/>
                    </a:moveTo>
                    <a:lnTo>
                      <a:pt x="307594" y="302387"/>
                    </a:lnTo>
                    <a:lnTo>
                      <a:pt x="305053" y="304926"/>
                    </a:lnTo>
                    <a:lnTo>
                      <a:pt x="305053" y="311530"/>
                    </a:lnTo>
                    <a:lnTo>
                      <a:pt x="307594" y="313943"/>
                    </a:lnTo>
                    <a:lnTo>
                      <a:pt x="314071" y="313943"/>
                    </a:lnTo>
                    <a:lnTo>
                      <a:pt x="316992" y="311530"/>
                    </a:lnTo>
                    <a:lnTo>
                      <a:pt x="316992" y="304926"/>
                    </a:lnTo>
                    <a:lnTo>
                      <a:pt x="314071" y="302387"/>
                    </a:lnTo>
                    <a:close/>
                  </a:path>
                  <a:path w="317500" h="314325">
                    <a:moveTo>
                      <a:pt x="290956" y="302387"/>
                    </a:moveTo>
                    <a:lnTo>
                      <a:pt x="284606" y="302387"/>
                    </a:lnTo>
                    <a:lnTo>
                      <a:pt x="281940" y="305053"/>
                    </a:lnTo>
                    <a:lnTo>
                      <a:pt x="281940" y="311403"/>
                    </a:lnTo>
                    <a:lnTo>
                      <a:pt x="284606" y="313943"/>
                    </a:lnTo>
                    <a:lnTo>
                      <a:pt x="290956" y="313943"/>
                    </a:lnTo>
                    <a:lnTo>
                      <a:pt x="293497" y="311403"/>
                    </a:lnTo>
                    <a:lnTo>
                      <a:pt x="293497" y="305053"/>
                    </a:lnTo>
                    <a:lnTo>
                      <a:pt x="290956" y="302387"/>
                    </a:lnTo>
                    <a:close/>
                  </a:path>
                  <a:path w="317500" h="314325">
                    <a:moveTo>
                      <a:pt x="267462" y="302387"/>
                    </a:moveTo>
                    <a:lnTo>
                      <a:pt x="261112" y="302387"/>
                    </a:lnTo>
                    <a:lnTo>
                      <a:pt x="258445" y="305053"/>
                    </a:lnTo>
                    <a:lnTo>
                      <a:pt x="258445" y="311403"/>
                    </a:lnTo>
                    <a:lnTo>
                      <a:pt x="261112" y="313943"/>
                    </a:lnTo>
                    <a:lnTo>
                      <a:pt x="267462" y="313943"/>
                    </a:lnTo>
                    <a:lnTo>
                      <a:pt x="270128" y="311403"/>
                    </a:lnTo>
                    <a:lnTo>
                      <a:pt x="270128" y="305053"/>
                    </a:lnTo>
                    <a:lnTo>
                      <a:pt x="267462" y="302387"/>
                    </a:lnTo>
                    <a:close/>
                  </a:path>
                  <a:path w="317500" h="314325">
                    <a:moveTo>
                      <a:pt x="243840" y="302387"/>
                    </a:moveTo>
                    <a:lnTo>
                      <a:pt x="237236" y="302387"/>
                    </a:lnTo>
                    <a:lnTo>
                      <a:pt x="234569" y="305053"/>
                    </a:lnTo>
                    <a:lnTo>
                      <a:pt x="234569" y="311403"/>
                    </a:lnTo>
                    <a:lnTo>
                      <a:pt x="237236" y="313943"/>
                    </a:lnTo>
                    <a:lnTo>
                      <a:pt x="243840" y="313943"/>
                    </a:lnTo>
                    <a:lnTo>
                      <a:pt x="246506" y="311403"/>
                    </a:lnTo>
                    <a:lnTo>
                      <a:pt x="246506" y="305053"/>
                    </a:lnTo>
                    <a:lnTo>
                      <a:pt x="243840" y="302387"/>
                    </a:lnTo>
                    <a:close/>
                  </a:path>
                  <a:path w="317500" h="314325">
                    <a:moveTo>
                      <a:pt x="220345" y="302387"/>
                    </a:moveTo>
                    <a:lnTo>
                      <a:pt x="213614" y="302387"/>
                    </a:lnTo>
                    <a:lnTo>
                      <a:pt x="210947" y="305053"/>
                    </a:lnTo>
                    <a:lnTo>
                      <a:pt x="210947" y="311403"/>
                    </a:lnTo>
                    <a:lnTo>
                      <a:pt x="213614" y="313943"/>
                    </a:lnTo>
                    <a:lnTo>
                      <a:pt x="220345" y="313943"/>
                    </a:lnTo>
                    <a:lnTo>
                      <a:pt x="223012" y="311403"/>
                    </a:lnTo>
                    <a:lnTo>
                      <a:pt x="223012" y="305053"/>
                    </a:lnTo>
                    <a:lnTo>
                      <a:pt x="220345" y="302387"/>
                    </a:lnTo>
                    <a:close/>
                  </a:path>
                  <a:path w="317500" h="314325">
                    <a:moveTo>
                      <a:pt x="196850" y="302387"/>
                    </a:moveTo>
                    <a:lnTo>
                      <a:pt x="190373" y="302387"/>
                    </a:lnTo>
                    <a:lnTo>
                      <a:pt x="187833" y="305053"/>
                    </a:lnTo>
                    <a:lnTo>
                      <a:pt x="187833" y="311403"/>
                    </a:lnTo>
                    <a:lnTo>
                      <a:pt x="190373" y="313943"/>
                    </a:lnTo>
                    <a:lnTo>
                      <a:pt x="196850" y="313943"/>
                    </a:lnTo>
                    <a:lnTo>
                      <a:pt x="199390" y="311403"/>
                    </a:lnTo>
                    <a:lnTo>
                      <a:pt x="199390" y="305053"/>
                    </a:lnTo>
                    <a:lnTo>
                      <a:pt x="196850" y="302387"/>
                    </a:lnTo>
                    <a:close/>
                  </a:path>
                  <a:path w="317500" h="314325">
                    <a:moveTo>
                      <a:pt x="173354" y="302387"/>
                    </a:moveTo>
                    <a:lnTo>
                      <a:pt x="167004" y="302387"/>
                    </a:lnTo>
                    <a:lnTo>
                      <a:pt x="164338" y="305053"/>
                    </a:lnTo>
                    <a:lnTo>
                      <a:pt x="164338" y="311403"/>
                    </a:lnTo>
                    <a:lnTo>
                      <a:pt x="167004" y="313943"/>
                    </a:lnTo>
                    <a:lnTo>
                      <a:pt x="173354" y="313943"/>
                    </a:lnTo>
                    <a:lnTo>
                      <a:pt x="175895" y="311403"/>
                    </a:lnTo>
                    <a:lnTo>
                      <a:pt x="175895" y="305053"/>
                    </a:lnTo>
                    <a:lnTo>
                      <a:pt x="173354" y="302387"/>
                    </a:lnTo>
                    <a:close/>
                  </a:path>
                  <a:path w="317500" h="314325">
                    <a:moveTo>
                      <a:pt x="150114" y="302387"/>
                    </a:moveTo>
                    <a:lnTo>
                      <a:pt x="143383" y="302387"/>
                    </a:lnTo>
                    <a:lnTo>
                      <a:pt x="140716" y="305053"/>
                    </a:lnTo>
                    <a:lnTo>
                      <a:pt x="140716" y="311403"/>
                    </a:lnTo>
                    <a:lnTo>
                      <a:pt x="143383" y="313943"/>
                    </a:lnTo>
                    <a:lnTo>
                      <a:pt x="150114" y="313943"/>
                    </a:lnTo>
                    <a:lnTo>
                      <a:pt x="152780" y="311403"/>
                    </a:lnTo>
                    <a:lnTo>
                      <a:pt x="152780" y="305053"/>
                    </a:lnTo>
                    <a:lnTo>
                      <a:pt x="150114" y="302387"/>
                    </a:lnTo>
                    <a:close/>
                  </a:path>
                  <a:path w="317500" h="314325">
                    <a:moveTo>
                      <a:pt x="126619" y="302387"/>
                    </a:moveTo>
                    <a:lnTo>
                      <a:pt x="120015" y="302387"/>
                    </a:lnTo>
                    <a:lnTo>
                      <a:pt x="117348" y="305053"/>
                    </a:lnTo>
                    <a:lnTo>
                      <a:pt x="117348" y="311403"/>
                    </a:lnTo>
                    <a:lnTo>
                      <a:pt x="120015" y="313943"/>
                    </a:lnTo>
                    <a:lnTo>
                      <a:pt x="126619" y="313943"/>
                    </a:lnTo>
                    <a:lnTo>
                      <a:pt x="129286" y="311403"/>
                    </a:lnTo>
                    <a:lnTo>
                      <a:pt x="129286" y="305053"/>
                    </a:lnTo>
                    <a:lnTo>
                      <a:pt x="126619" y="302387"/>
                    </a:lnTo>
                    <a:close/>
                  </a:path>
                  <a:path w="317500" h="314325">
                    <a:moveTo>
                      <a:pt x="103124" y="302387"/>
                    </a:moveTo>
                    <a:lnTo>
                      <a:pt x="96774" y="302387"/>
                    </a:lnTo>
                    <a:lnTo>
                      <a:pt x="94106" y="305053"/>
                    </a:lnTo>
                    <a:lnTo>
                      <a:pt x="94106" y="311403"/>
                    </a:lnTo>
                    <a:lnTo>
                      <a:pt x="96774" y="313943"/>
                    </a:lnTo>
                    <a:lnTo>
                      <a:pt x="103124" y="313943"/>
                    </a:lnTo>
                    <a:lnTo>
                      <a:pt x="105664" y="311403"/>
                    </a:lnTo>
                    <a:lnTo>
                      <a:pt x="105664" y="305053"/>
                    </a:lnTo>
                    <a:lnTo>
                      <a:pt x="103124" y="302387"/>
                    </a:lnTo>
                    <a:close/>
                  </a:path>
                  <a:path w="317500" h="314325">
                    <a:moveTo>
                      <a:pt x="79628" y="302387"/>
                    </a:moveTo>
                    <a:lnTo>
                      <a:pt x="73278" y="302387"/>
                    </a:lnTo>
                    <a:lnTo>
                      <a:pt x="70739" y="305053"/>
                    </a:lnTo>
                    <a:lnTo>
                      <a:pt x="70739" y="311403"/>
                    </a:lnTo>
                    <a:lnTo>
                      <a:pt x="73278" y="313943"/>
                    </a:lnTo>
                    <a:lnTo>
                      <a:pt x="79628" y="313943"/>
                    </a:lnTo>
                    <a:lnTo>
                      <a:pt x="82296" y="311403"/>
                    </a:lnTo>
                    <a:lnTo>
                      <a:pt x="82296" y="305053"/>
                    </a:lnTo>
                    <a:lnTo>
                      <a:pt x="79628" y="302387"/>
                    </a:lnTo>
                    <a:close/>
                  </a:path>
                  <a:path w="317500" h="314325">
                    <a:moveTo>
                      <a:pt x="56006" y="302387"/>
                    </a:moveTo>
                    <a:lnTo>
                      <a:pt x="49656" y="302387"/>
                    </a:lnTo>
                    <a:lnTo>
                      <a:pt x="47117" y="305053"/>
                    </a:lnTo>
                    <a:lnTo>
                      <a:pt x="47117" y="311403"/>
                    </a:lnTo>
                    <a:lnTo>
                      <a:pt x="49656" y="313943"/>
                    </a:lnTo>
                    <a:lnTo>
                      <a:pt x="56006" y="313943"/>
                    </a:lnTo>
                    <a:lnTo>
                      <a:pt x="58674" y="311403"/>
                    </a:lnTo>
                    <a:lnTo>
                      <a:pt x="58674" y="305053"/>
                    </a:lnTo>
                    <a:lnTo>
                      <a:pt x="56006" y="302387"/>
                    </a:lnTo>
                    <a:close/>
                  </a:path>
                  <a:path w="317500" h="314325">
                    <a:moveTo>
                      <a:pt x="32639" y="302387"/>
                    </a:moveTo>
                    <a:lnTo>
                      <a:pt x="26162" y="302387"/>
                    </a:lnTo>
                    <a:lnTo>
                      <a:pt x="23622" y="305053"/>
                    </a:lnTo>
                    <a:lnTo>
                      <a:pt x="23622" y="311403"/>
                    </a:lnTo>
                    <a:lnTo>
                      <a:pt x="26162" y="313943"/>
                    </a:lnTo>
                    <a:lnTo>
                      <a:pt x="32639" y="313943"/>
                    </a:lnTo>
                    <a:lnTo>
                      <a:pt x="35178" y="311403"/>
                    </a:lnTo>
                    <a:lnTo>
                      <a:pt x="35178" y="305053"/>
                    </a:lnTo>
                    <a:lnTo>
                      <a:pt x="32639" y="302387"/>
                    </a:lnTo>
                    <a:close/>
                  </a:path>
                  <a:path w="317500" h="314325">
                    <a:moveTo>
                      <a:pt x="9017" y="302387"/>
                    </a:moveTo>
                    <a:lnTo>
                      <a:pt x="2540" y="302387"/>
                    </a:lnTo>
                    <a:lnTo>
                      <a:pt x="0" y="305053"/>
                    </a:lnTo>
                    <a:lnTo>
                      <a:pt x="0" y="311403"/>
                    </a:lnTo>
                    <a:lnTo>
                      <a:pt x="2540" y="313943"/>
                    </a:lnTo>
                    <a:lnTo>
                      <a:pt x="9017" y="313943"/>
                    </a:lnTo>
                    <a:lnTo>
                      <a:pt x="11556" y="311403"/>
                    </a:lnTo>
                    <a:lnTo>
                      <a:pt x="11556" y="305053"/>
                    </a:lnTo>
                    <a:lnTo>
                      <a:pt x="9017" y="302387"/>
                    </a:lnTo>
                    <a:close/>
                  </a:path>
                  <a:path w="317500" h="314325">
                    <a:moveTo>
                      <a:pt x="314071" y="278891"/>
                    </a:moveTo>
                    <a:lnTo>
                      <a:pt x="307594" y="278891"/>
                    </a:lnTo>
                    <a:lnTo>
                      <a:pt x="305053" y="281813"/>
                    </a:lnTo>
                    <a:lnTo>
                      <a:pt x="305053" y="288036"/>
                    </a:lnTo>
                    <a:lnTo>
                      <a:pt x="307594" y="290449"/>
                    </a:lnTo>
                    <a:lnTo>
                      <a:pt x="314071" y="290449"/>
                    </a:lnTo>
                    <a:lnTo>
                      <a:pt x="316992" y="288036"/>
                    </a:lnTo>
                    <a:lnTo>
                      <a:pt x="316992" y="281813"/>
                    </a:lnTo>
                    <a:lnTo>
                      <a:pt x="314071" y="278891"/>
                    </a:lnTo>
                    <a:close/>
                  </a:path>
                  <a:path w="317500" h="314325">
                    <a:moveTo>
                      <a:pt x="290956" y="278891"/>
                    </a:moveTo>
                    <a:lnTo>
                      <a:pt x="284606" y="278891"/>
                    </a:lnTo>
                    <a:lnTo>
                      <a:pt x="281940" y="281559"/>
                    </a:lnTo>
                    <a:lnTo>
                      <a:pt x="281940" y="287909"/>
                    </a:lnTo>
                    <a:lnTo>
                      <a:pt x="284606" y="290449"/>
                    </a:lnTo>
                    <a:lnTo>
                      <a:pt x="290956" y="290449"/>
                    </a:lnTo>
                    <a:lnTo>
                      <a:pt x="293497" y="287909"/>
                    </a:lnTo>
                    <a:lnTo>
                      <a:pt x="293497" y="281559"/>
                    </a:lnTo>
                    <a:lnTo>
                      <a:pt x="290956" y="278891"/>
                    </a:lnTo>
                    <a:close/>
                  </a:path>
                  <a:path w="317500" h="314325">
                    <a:moveTo>
                      <a:pt x="267462" y="278891"/>
                    </a:moveTo>
                    <a:lnTo>
                      <a:pt x="261112" y="278891"/>
                    </a:lnTo>
                    <a:lnTo>
                      <a:pt x="258445" y="281559"/>
                    </a:lnTo>
                    <a:lnTo>
                      <a:pt x="258445" y="287909"/>
                    </a:lnTo>
                    <a:lnTo>
                      <a:pt x="261112" y="290449"/>
                    </a:lnTo>
                    <a:lnTo>
                      <a:pt x="267462" y="290449"/>
                    </a:lnTo>
                    <a:lnTo>
                      <a:pt x="270128" y="287909"/>
                    </a:lnTo>
                    <a:lnTo>
                      <a:pt x="270128" y="281559"/>
                    </a:lnTo>
                    <a:lnTo>
                      <a:pt x="267462" y="278891"/>
                    </a:lnTo>
                    <a:close/>
                  </a:path>
                  <a:path w="317500" h="314325">
                    <a:moveTo>
                      <a:pt x="243840" y="278891"/>
                    </a:moveTo>
                    <a:lnTo>
                      <a:pt x="237236" y="278891"/>
                    </a:lnTo>
                    <a:lnTo>
                      <a:pt x="234569" y="281559"/>
                    </a:lnTo>
                    <a:lnTo>
                      <a:pt x="234569" y="287909"/>
                    </a:lnTo>
                    <a:lnTo>
                      <a:pt x="237236" y="290449"/>
                    </a:lnTo>
                    <a:lnTo>
                      <a:pt x="243840" y="290449"/>
                    </a:lnTo>
                    <a:lnTo>
                      <a:pt x="246506" y="287909"/>
                    </a:lnTo>
                    <a:lnTo>
                      <a:pt x="246506" y="281559"/>
                    </a:lnTo>
                    <a:lnTo>
                      <a:pt x="243840" y="278891"/>
                    </a:lnTo>
                    <a:close/>
                  </a:path>
                  <a:path w="317500" h="314325">
                    <a:moveTo>
                      <a:pt x="220345" y="278891"/>
                    </a:moveTo>
                    <a:lnTo>
                      <a:pt x="213614" y="278891"/>
                    </a:lnTo>
                    <a:lnTo>
                      <a:pt x="210947" y="281559"/>
                    </a:lnTo>
                    <a:lnTo>
                      <a:pt x="210947" y="287909"/>
                    </a:lnTo>
                    <a:lnTo>
                      <a:pt x="213614" y="290449"/>
                    </a:lnTo>
                    <a:lnTo>
                      <a:pt x="220345" y="290449"/>
                    </a:lnTo>
                    <a:lnTo>
                      <a:pt x="223012" y="287909"/>
                    </a:lnTo>
                    <a:lnTo>
                      <a:pt x="223012" y="281559"/>
                    </a:lnTo>
                    <a:lnTo>
                      <a:pt x="220345" y="278891"/>
                    </a:lnTo>
                    <a:close/>
                  </a:path>
                  <a:path w="317500" h="314325">
                    <a:moveTo>
                      <a:pt x="196850" y="278891"/>
                    </a:moveTo>
                    <a:lnTo>
                      <a:pt x="190373" y="278891"/>
                    </a:lnTo>
                    <a:lnTo>
                      <a:pt x="187833" y="281559"/>
                    </a:lnTo>
                    <a:lnTo>
                      <a:pt x="187833" y="287909"/>
                    </a:lnTo>
                    <a:lnTo>
                      <a:pt x="190373" y="290449"/>
                    </a:lnTo>
                    <a:lnTo>
                      <a:pt x="196850" y="290449"/>
                    </a:lnTo>
                    <a:lnTo>
                      <a:pt x="199390" y="287909"/>
                    </a:lnTo>
                    <a:lnTo>
                      <a:pt x="199390" y="281559"/>
                    </a:lnTo>
                    <a:lnTo>
                      <a:pt x="196850" y="278891"/>
                    </a:lnTo>
                    <a:close/>
                  </a:path>
                  <a:path w="317500" h="314325">
                    <a:moveTo>
                      <a:pt x="173354" y="278891"/>
                    </a:moveTo>
                    <a:lnTo>
                      <a:pt x="167004" y="278891"/>
                    </a:lnTo>
                    <a:lnTo>
                      <a:pt x="164338" y="281559"/>
                    </a:lnTo>
                    <a:lnTo>
                      <a:pt x="164338" y="287909"/>
                    </a:lnTo>
                    <a:lnTo>
                      <a:pt x="167004" y="290449"/>
                    </a:lnTo>
                    <a:lnTo>
                      <a:pt x="173354" y="290449"/>
                    </a:lnTo>
                    <a:lnTo>
                      <a:pt x="175895" y="287909"/>
                    </a:lnTo>
                    <a:lnTo>
                      <a:pt x="175895" y="281559"/>
                    </a:lnTo>
                    <a:lnTo>
                      <a:pt x="173354" y="278891"/>
                    </a:lnTo>
                    <a:close/>
                  </a:path>
                  <a:path w="317500" h="314325">
                    <a:moveTo>
                      <a:pt x="150114" y="278891"/>
                    </a:moveTo>
                    <a:lnTo>
                      <a:pt x="143383" y="278891"/>
                    </a:lnTo>
                    <a:lnTo>
                      <a:pt x="140716" y="281559"/>
                    </a:lnTo>
                    <a:lnTo>
                      <a:pt x="140716" y="287909"/>
                    </a:lnTo>
                    <a:lnTo>
                      <a:pt x="143383" y="290449"/>
                    </a:lnTo>
                    <a:lnTo>
                      <a:pt x="150114" y="290449"/>
                    </a:lnTo>
                    <a:lnTo>
                      <a:pt x="152780" y="287909"/>
                    </a:lnTo>
                    <a:lnTo>
                      <a:pt x="152780" y="281559"/>
                    </a:lnTo>
                    <a:lnTo>
                      <a:pt x="150114" y="278891"/>
                    </a:lnTo>
                    <a:close/>
                  </a:path>
                  <a:path w="317500" h="314325">
                    <a:moveTo>
                      <a:pt x="126619" y="278891"/>
                    </a:moveTo>
                    <a:lnTo>
                      <a:pt x="120015" y="278891"/>
                    </a:lnTo>
                    <a:lnTo>
                      <a:pt x="117348" y="281559"/>
                    </a:lnTo>
                    <a:lnTo>
                      <a:pt x="117348" y="287909"/>
                    </a:lnTo>
                    <a:lnTo>
                      <a:pt x="120015" y="290449"/>
                    </a:lnTo>
                    <a:lnTo>
                      <a:pt x="126619" y="290449"/>
                    </a:lnTo>
                    <a:lnTo>
                      <a:pt x="129286" y="287909"/>
                    </a:lnTo>
                    <a:lnTo>
                      <a:pt x="129286" y="281559"/>
                    </a:lnTo>
                    <a:lnTo>
                      <a:pt x="126619" y="278891"/>
                    </a:lnTo>
                    <a:close/>
                  </a:path>
                  <a:path w="317500" h="314325">
                    <a:moveTo>
                      <a:pt x="103124" y="278891"/>
                    </a:moveTo>
                    <a:lnTo>
                      <a:pt x="96774" y="278891"/>
                    </a:lnTo>
                    <a:lnTo>
                      <a:pt x="94106" y="281559"/>
                    </a:lnTo>
                    <a:lnTo>
                      <a:pt x="94106" y="287909"/>
                    </a:lnTo>
                    <a:lnTo>
                      <a:pt x="96774" y="290449"/>
                    </a:lnTo>
                    <a:lnTo>
                      <a:pt x="103124" y="290449"/>
                    </a:lnTo>
                    <a:lnTo>
                      <a:pt x="105664" y="287909"/>
                    </a:lnTo>
                    <a:lnTo>
                      <a:pt x="105664" y="281559"/>
                    </a:lnTo>
                    <a:lnTo>
                      <a:pt x="103124" y="278891"/>
                    </a:lnTo>
                    <a:close/>
                  </a:path>
                  <a:path w="317500" h="314325">
                    <a:moveTo>
                      <a:pt x="79628" y="278891"/>
                    </a:moveTo>
                    <a:lnTo>
                      <a:pt x="73278" y="278891"/>
                    </a:lnTo>
                    <a:lnTo>
                      <a:pt x="70739" y="281559"/>
                    </a:lnTo>
                    <a:lnTo>
                      <a:pt x="70739" y="287909"/>
                    </a:lnTo>
                    <a:lnTo>
                      <a:pt x="73278" y="290449"/>
                    </a:lnTo>
                    <a:lnTo>
                      <a:pt x="79628" y="290449"/>
                    </a:lnTo>
                    <a:lnTo>
                      <a:pt x="82296" y="287909"/>
                    </a:lnTo>
                    <a:lnTo>
                      <a:pt x="82296" y="281559"/>
                    </a:lnTo>
                    <a:lnTo>
                      <a:pt x="79628" y="278891"/>
                    </a:lnTo>
                    <a:close/>
                  </a:path>
                  <a:path w="317500" h="314325">
                    <a:moveTo>
                      <a:pt x="56006" y="278891"/>
                    </a:moveTo>
                    <a:lnTo>
                      <a:pt x="49656" y="278891"/>
                    </a:lnTo>
                    <a:lnTo>
                      <a:pt x="47117" y="281559"/>
                    </a:lnTo>
                    <a:lnTo>
                      <a:pt x="47117" y="287909"/>
                    </a:lnTo>
                    <a:lnTo>
                      <a:pt x="49656" y="290449"/>
                    </a:lnTo>
                    <a:lnTo>
                      <a:pt x="56006" y="290449"/>
                    </a:lnTo>
                    <a:lnTo>
                      <a:pt x="58674" y="287909"/>
                    </a:lnTo>
                    <a:lnTo>
                      <a:pt x="58674" y="281559"/>
                    </a:lnTo>
                    <a:lnTo>
                      <a:pt x="56006" y="278891"/>
                    </a:lnTo>
                    <a:close/>
                  </a:path>
                  <a:path w="317500" h="314325">
                    <a:moveTo>
                      <a:pt x="32639" y="278891"/>
                    </a:moveTo>
                    <a:lnTo>
                      <a:pt x="26162" y="278891"/>
                    </a:lnTo>
                    <a:lnTo>
                      <a:pt x="23622" y="281559"/>
                    </a:lnTo>
                    <a:lnTo>
                      <a:pt x="23622" y="287909"/>
                    </a:lnTo>
                    <a:lnTo>
                      <a:pt x="26162" y="290449"/>
                    </a:lnTo>
                    <a:lnTo>
                      <a:pt x="32639" y="290449"/>
                    </a:lnTo>
                    <a:lnTo>
                      <a:pt x="35178" y="287909"/>
                    </a:lnTo>
                    <a:lnTo>
                      <a:pt x="35178" y="281559"/>
                    </a:lnTo>
                    <a:lnTo>
                      <a:pt x="32639" y="278891"/>
                    </a:lnTo>
                    <a:close/>
                  </a:path>
                  <a:path w="317500" h="314325">
                    <a:moveTo>
                      <a:pt x="9017" y="278891"/>
                    </a:moveTo>
                    <a:lnTo>
                      <a:pt x="2540" y="278891"/>
                    </a:lnTo>
                    <a:lnTo>
                      <a:pt x="0" y="281559"/>
                    </a:lnTo>
                    <a:lnTo>
                      <a:pt x="0" y="287909"/>
                    </a:lnTo>
                    <a:lnTo>
                      <a:pt x="2540" y="290449"/>
                    </a:lnTo>
                    <a:lnTo>
                      <a:pt x="9017" y="290449"/>
                    </a:lnTo>
                    <a:lnTo>
                      <a:pt x="11556" y="287909"/>
                    </a:lnTo>
                    <a:lnTo>
                      <a:pt x="11556" y="281559"/>
                    </a:lnTo>
                    <a:lnTo>
                      <a:pt x="9017" y="278891"/>
                    </a:lnTo>
                    <a:close/>
                  </a:path>
                  <a:path w="317500" h="314325">
                    <a:moveTo>
                      <a:pt x="314071" y="255650"/>
                    </a:moveTo>
                    <a:lnTo>
                      <a:pt x="307594" y="255650"/>
                    </a:lnTo>
                    <a:lnTo>
                      <a:pt x="305053" y="258445"/>
                    </a:lnTo>
                    <a:lnTo>
                      <a:pt x="305053" y="264540"/>
                    </a:lnTo>
                    <a:lnTo>
                      <a:pt x="307594" y="267462"/>
                    </a:lnTo>
                    <a:lnTo>
                      <a:pt x="314071" y="267462"/>
                    </a:lnTo>
                    <a:lnTo>
                      <a:pt x="316992" y="264540"/>
                    </a:lnTo>
                    <a:lnTo>
                      <a:pt x="316992" y="258445"/>
                    </a:lnTo>
                    <a:lnTo>
                      <a:pt x="314071" y="255650"/>
                    </a:lnTo>
                    <a:close/>
                  </a:path>
                  <a:path w="317500" h="314325">
                    <a:moveTo>
                      <a:pt x="290956" y="255650"/>
                    </a:moveTo>
                    <a:lnTo>
                      <a:pt x="284606" y="255650"/>
                    </a:lnTo>
                    <a:lnTo>
                      <a:pt x="281940" y="258190"/>
                    </a:lnTo>
                    <a:lnTo>
                      <a:pt x="281940" y="264795"/>
                    </a:lnTo>
                    <a:lnTo>
                      <a:pt x="284606" y="267462"/>
                    </a:lnTo>
                    <a:lnTo>
                      <a:pt x="290956" y="267462"/>
                    </a:lnTo>
                    <a:lnTo>
                      <a:pt x="293497" y="264795"/>
                    </a:lnTo>
                    <a:lnTo>
                      <a:pt x="293497" y="258190"/>
                    </a:lnTo>
                    <a:lnTo>
                      <a:pt x="290956" y="255650"/>
                    </a:lnTo>
                    <a:close/>
                  </a:path>
                  <a:path w="317500" h="314325">
                    <a:moveTo>
                      <a:pt x="32639" y="255650"/>
                    </a:moveTo>
                    <a:lnTo>
                      <a:pt x="26162" y="255650"/>
                    </a:lnTo>
                    <a:lnTo>
                      <a:pt x="23622" y="258190"/>
                    </a:lnTo>
                    <a:lnTo>
                      <a:pt x="23622" y="264795"/>
                    </a:lnTo>
                    <a:lnTo>
                      <a:pt x="26162" y="267462"/>
                    </a:lnTo>
                    <a:lnTo>
                      <a:pt x="32639" y="267462"/>
                    </a:lnTo>
                    <a:lnTo>
                      <a:pt x="35178" y="264795"/>
                    </a:lnTo>
                    <a:lnTo>
                      <a:pt x="35178" y="258190"/>
                    </a:lnTo>
                    <a:lnTo>
                      <a:pt x="32639" y="255650"/>
                    </a:lnTo>
                    <a:close/>
                  </a:path>
                  <a:path w="317500" h="314325">
                    <a:moveTo>
                      <a:pt x="9017" y="255650"/>
                    </a:moveTo>
                    <a:lnTo>
                      <a:pt x="2540" y="255650"/>
                    </a:lnTo>
                    <a:lnTo>
                      <a:pt x="0" y="258190"/>
                    </a:lnTo>
                    <a:lnTo>
                      <a:pt x="0" y="264795"/>
                    </a:lnTo>
                    <a:lnTo>
                      <a:pt x="2540" y="267462"/>
                    </a:lnTo>
                    <a:lnTo>
                      <a:pt x="9017" y="267462"/>
                    </a:lnTo>
                    <a:lnTo>
                      <a:pt x="11556" y="264795"/>
                    </a:lnTo>
                    <a:lnTo>
                      <a:pt x="11556" y="258190"/>
                    </a:lnTo>
                    <a:lnTo>
                      <a:pt x="9017" y="255650"/>
                    </a:lnTo>
                    <a:close/>
                  </a:path>
                  <a:path w="317500" h="314325">
                    <a:moveTo>
                      <a:pt x="314071" y="232537"/>
                    </a:moveTo>
                    <a:lnTo>
                      <a:pt x="307594" y="232537"/>
                    </a:lnTo>
                    <a:lnTo>
                      <a:pt x="305053" y="235076"/>
                    </a:lnTo>
                    <a:lnTo>
                      <a:pt x="305053" y="241680"/>
                    </a:lnTo>
                    <a:lnTo>
                      <a:pt x="307594" y="244093"/>
                    </a:lnTo>
                    <a:lnTo>
                      <a:pt x="314071" y="244093"/>
                    </a:lnTo>
                    <a:lnTo>
                      <a:pt x="316992" y="241680"/>
                    </a:lnTo>
                    <a:lnTo>
                      <a:pt x="316992" y="235076"/>
                    </a:lnTo>
                    <a:lnTo>
                      <a:pt x="314071" y="232537"/>
                    </a:lnTo>
                    <a:close/>
                  </a:path>
                  <a:path w="317500" h="314325">
                    <a:moveTo>
                      <a:pt x="290956" y="232537"/>
                    </a:moveTo>
                    <a:lnTo>
                      <a:pt x="284606" y="232537"/>
                    </a:lnTo>
                    <a:lnTo>
                      <a:pt x="281940" y="235203"/>
                    </a:lnTo>
                    <a:lnTo>
                      <a:pt x="281940" y="241553"/>
                    </a:lnTo>
                    <a:lnTo>
                      <a:pt x="284606" y="244093"/>
                    </a:lnTo>
                    <a:lnTo>
                      <a:pt x="290956" y="244093"/>
                    </a:lnTo>
                    <a:lnTo>
                      <a:pt x="293497" y="241553"/>
                    </a:lnTo>
                    <a:lnTo>
                      <a:pt x="293497" y="235203"/>
                    </a:lnTo>
                    <a:lnTo>
                      <a:pt x="290956" y="232537"/>
                    </a:lnTo>
                    <a:close/>
                  </a:path>
                  <a:path w="317500" h="314325">
                    <a:moveTo>
                      <a:pt x="32639" y="232537"/>
                    </a:moveTo>
                    <a:lnTo>
                      <a:pt x="26162" y="232537"/>
                    </a:lnTo>
                    <a:lnTo>
                      <a:pt x="23622" y="235203"/>
                    </a:lnTo>
                    <a:lnTo>
                      <a:pt x="23622" y="241553"/>
                    </a:lnTo>
                    <a:lnTo>
                      <a:pt x="26162" y="244093"/>
                    </a:lnTo>
                    <a:lnTo>
                      <a:pt x="32639" y="244093"/>
                    </a:lnTo>
                    <a:lnTo>
                      <a:pt x="35178" y="241553"/>
                    </a:lnTo>
                    <a:lnTo>
                      <a:pt x="35178" y="235203"/>
                    </a:lnTo>
                    <a:lnTo>
                      <a:pt x="32639" y="232537"/>
                    </a:lnTo>
                    <a:close/>
                  </a:path>
                  <a:path w="317500" h="314325">
                    <a:moveTo>
                      <a:pt x="9017" y="232537"/>
                    </a:moveTo>
                    <a:lnTo>
                      <a:pt x="2540" y="232537"/>
                    </a:lnTo>
                    <a:lnTo>
                      <a:pt x="0" y="235203"/>
                    </a:lnTo>
                    <a:lnTo>
                      <a:pt x="0" y="241553"/>
                    </a:lnTo>
                    <a:lnTo>
                      <a:pt x="2540" y="244093"/>
                    </a:lnTo>
                    <a:lnTo>
                      <a:pt x="9017" y="244093"/>
                    </a:lnTo>
                    <a:lnTo>
                      <a:pt x="11556" y="241553"/>
                    </a:lnTo>
                    <a:lnTo>
                      <a:pt x="11556" y="235203"/>
                    </a:lnTo>
                    <a:lnTo>
                      <a:pt x="9017" y="232537"/>
                    </a:lnTo>
                    <a:close/>
                  </a:path>
                  <a:path w="317500" h="314325">
                    <a:moveTo>
                      <a:pt x="314071" y="209041"/>
                    </a:moveTo>
                    <a:lnTo>
                      <a:pt x="307594" y="209041"/>
                    </a:lnTo>
                    <a:lnTo>
                      <a:pt x="305053" y="211582"/>
                    </a:lnTo>
                    <a:lnTo>
                      <a:pt x="305053" y="218186"/>
                    </a:lnTo>
                    <a:lnTo>
                      <a:pt x="307594" y="220599"/>
                    </a:lnTo>
                    <a:lnTo>
                      <a:pt x="314071" y="220599"/>
                    </a:lnTo>
                    <a:lnTo>
                      <a:pt x="316992" y="218186"/>
                    </a:lnTo>
                    <a:lnTo>
                      <a:pt x="316992" y="211582"/>
                    </a:lnTo>
                    <a:lnTo>
                      <a:pt x="314071" y="209041"/>
                    </a:lnTo>
                    <a:close/>
                  </a:path>
                  <a:path w="317500" h="314325">
                    <a:moveTo>
                      <a:pt x="290956" y="209041"/>
                    </a:moveTo>
                    <a:lnTo>
                      <a:pt x="284606" y="209041"/>
                    </a:lnTo>
                    <a:lnTo>
                      <a:pt x="281940" y="211709"/>
                    </a:lnTo>
                    <a:lnTo>
                      <a:pt x="281940" y="218059"/>
                    </a:lnTo>
                    <a:lnTo>
                      <a:pt x="284606" y="220599"/>
                    </a:lnTo>
                    <a:lnTo>
                      <a:pt x="290956" y="220599"/>
                    </a:lnTo>
                    <a:lnTo>
                      <a:pt x="293497" y="218059"/>
                    </a:lnTo>
                    <a:lnTo>
                      <a:pt x="293497" y="211709"/>
                    </a:lnTo>
                    <a:lnTo>
                      <a:pt x="290956" y="209041"/>
                    </a:lnTo>
                    <a:close/>
                  </a:path>
                  <a:path w="317500" h="314325">
                    <a:moveTo>
                      <a:pt x="32639" y="209041"/>
                    </a:moveTo>
                    <a:lnTo>
                      <a:pt x="26162" y="209041"/>
                    </a:lnTo>
                    <a:lnTo>
                      <a:pt x="23622" y="211709"/>
                    </a:lnTo>
                    <a:lnTo>
                      <a:pt x="23622" y="218059"/>
                    </a:lnTo>
                    <a:lnTo>
                      <a:pt x="26162" y="220599"/>
                    </a:lnTo>
                    <a:lnTo>
                      <a:pt x="32639" y="220599"/>
                    </a:lnTo>
                    <a:lnTo>
                      <a:pt x="35178" y="218059"/>
                    </a:lnTo>
                    <a:lnTo>
                      <a:pt x="35178" y="211709"/>
                    </a:lnTo>
                    <a:lnTo>
                      <a:pt x="32639" y="209041"/>
                    </a:lnTo>
                    <a:close/>
                  </a:path>
                  <a:path w="317500" h="314325">
                    <a:moveTo>
                      <a:pt x="9017" y="209041"/>
                    </a:moveTo>
                    <a:lnTo>
                      <a:pt x="2540" y="209041"/>
                    </a:lnTo>
                    <a:lnTo>
                      <a:pt x="0" y="211709"/>
                    </a:lnTo>
                    <a:lnTo>
                      <a:pt x="0" y="218059"/>
                    </a:lnTo>
                    <a:lnTo>
                      <a:pt x="2540" y="220599"/>
                    </a:lnTo>
                    <a:lnTo>
                      <a:pt x="9017" y="220599"/>
                    </a:lnTo>
                    <a:lnTo>
                      <a:pt x="11556" y="218059"/>
                    </a:lnTo>
                    <a:lnTo>
                      <a:pt x="11556" y="211709"/>
                    </a:lnTo>
                    <a:lnTo>
                      <a:pt x="9017" y="209041"/>
                    </a:lnTo>
                    <a:close/>
                  </a:path>
                  <a:path w="317500" h="314325">
                    <a:moveTo>
                      <a:pt x="314071" y="185800"/>
                    </a:moveTo>
                    <a:lnTo>
                      <a:pt x="307594" y="185800"/>
                    </a:lnTo>
                    <a:lnTo>
                      <a:pt x="305053" y="188595"/>
                    </a:lnTo>
                    <a:lnTo>
                      <a:pt x="305053" y="195072"/>
                    </a:lnTo>
                    <a:lnTo>
                      <a:pt x="307594" y="197612"/>
                    </a:lnTo>
                    <a:lnTo>
                      <a:pt x="314071" y="197612"/>
                    </a:lnTo>
                    <a:lnTo>
                      <a:pt x="316992" y="195072"/>
                    </a:lnTo>
                    <a:lnTo>
                      <a:pt x="316992" y="188595"/>
                    </a:lnTo>
                    <a:lnTo>
                      <a:pt x="314071" y="185800"/>
                    </a:lnTo>
                    <a:close/>
                  </a:path>
                  <a:path w="317500" h="314325">
                    <a:moveTo>
                      <a:pt x="290702" y="185800"/>
                    </a:moveTo>
                    <a:lnTo>
                      <a:pt x="284479" y="185800"/>
                    </a:lnTo>
                    <a:lnTo>
                      <a:pt x="281940" y="188595"/>
                    </a:lnTo>
                    <a:lnTo>
                      <a:pt x="281940" y="195072"/>
                    </a:lnTo>
                    <a:lnTo>
                      <a:pt x="284479" y="197612"/>
                    </a:lnTo>
                    <a:lnTo>
                      <a:pt x="290702" y="197612"/>
                    </a:lnTo>
                    <a:lnTo>
                      <a:pt x="293497" y="195072"/>
                    </a:lnTo>
                    <a:lnTo>
                      <a:pt x="293497" y="188595"/>
                    </a:lnTo>
                    <a:lnTo>
                      <a:pt x="290702" y="185800"/>
                    </a:lnTo>
                    <a:close/>
                  </a:path>
                  <a:path w="317500" h="314325">
                    <a:moveTo>
                      <a:pt x="32766" y="185800"/>
                    </a:moveTo>
                    <a:lnTo>
                      <a:pt x="26543" y="185800"/>
                    </a:lnTo>
                    <a:lnTo>
                      <a:pt x="23622" y="188595"/>
                    </a:lnTo>
                    <a:lnTo>
                      <a:pt x="23622" y="195072"/>
                    </a:lnTo>
                    <a:lnTo>
                      <a:pt x="26543" y="197612"/>
                    </a:lnTo>
                    <a:lnTo>
                      <a:pt x="32766" y="197612"/>
                    </a:lnTo>
                    <a:lnTo>
                      <a:pt x="35178" y="195072"/>
                    </a:lnTo>
                    <a:lnTo>
                      <a:pt x="35178" y="188595"/>
                    </a:lnTo>
                    <a:lnTo>
                      <a:pt x="32766" y="185800"/>
                    </a:lnTo>
                    <a:close/>
                  </a:path>
                  <a:path w="317500" h="314325">
                    <a:moveTo>
                      <a:pt x="9144" y="185800"/>
                    </a:moveTo>
                    <a:lnTo>
                      <a:pt x="2921" y="185800"/>
                    </a:lnTo>
                    <a:lnTo>
                      <a:pt x="0" y="188595"/>
                    </a:lnTo>
                    <a:lnTo>
                      <a:pt x="0" y="195072"/>
                    </a:lnTo>
                    <a:lnTo>
                      <a:pt x="2921" y="197612"/>
                    </a:lnTo>
                    <a:lnTo>
                      <a:pt x="9144" y="197612"/>
                    </a:lnTo>
                    <a:lnTo>
                      <a:pt x="11556" y="195072"/>
                    </a:lnTo>
                    <a:lnTo>
                      <a:pt x="11556" y="188595"/>
                    </a:lnTo>
                    <a:lnTo>
                      <a:pt x="9144" y="185800"/>
                    </a:lnTo>
                    <a:close/>
                  </a:path>
                  <a:path w="317500" h="314325">
                    <a:moveTo>
                      <a:pt x="314071" y="162687"/>
                    </a:moveTo>
                    <a:lnTo>
                      <a:pt x="307594" y="162687"/>
                    </a:lnTo>
                    <a:lnTo>
                      <a:pt x="305053" y="165608"/>
                    </a:lnTo>
                    <a:lnTo>
                      <a:pt x="305053" y="171830"/>
                    </a:lnTo>
                    <a:lnTo>
                      <a:pt x="307594" y="174243"/>
                    </a:lnTo>
                    <a:lnTo>
                      <a:pt x="314071" y="174243"/>
                    </a:lnTo>
                    <a:lnTo>
                      <a:pt x="316992" y="171830"/>
                    </a:lnTo>
                    <a:lnTo>
                      <a:pt x="316992" y="165608"/>
                    </a:lnTo>
                    <a:lnTo>
                      <a:pt x="314071" y="162687"/>
                    </a:lnTo>
                    <a:close/>
                  </a:path>
                  <a:path w="317500" h="314325">
                    <a:moveTo>
                      <a:pt x="290956" y="162687"/>
                    </a:moveTo>
                    <a:lnTo>
                      <a:pt x="284606" y="162687"/>
                    </a:lnTo>
                    <a:lnTo>
                      <a:pt x="281940" y="165353"/>
                    </a:lnTo>
                    <a:lnTo>
                      <a:pt x="281940" y="171703"/>
                    </a:lnTo>
                    <a:lnTo>
                      <a:pt x="284606" y="174243"/>
                    </a:lnTo>
                    <a:lnTo>
                      <a:pt x="290956" y="174243"/>
                    </a:lnTo>
                    <a:lnTo>
                      <a:pt x="293497" y="171703"/>
                    </a:lnTo>
                    <a:lnTo>
                      <a:pt x="293497" y="165353"/>
                    </a:lnTo>
                    <a:lnTo>
                      <a:pt x="290956" y="162687"/>
                    </a:lnTo>
                    <a:close/>
                  </a:path>
                  <a:path w="317500" h="314325">
                    <a:moveTo>
                      <a:pt x="32639" y="162687"/>
                    </a:moveTo>
                    <a:lnTo>
                      <a:pt x="26162" y="162687"/>
                    </a:lnTo>
                    <a:lnTo>
                      <a:pt x="23622" y="165353"/>
                    </a:lnTo>
                    <a:lnTo>
                      <a:pt x="23622" y="171703"/>
                    </a:lnTo>
                    <a:lnTo>
                      <a:pt x="26162" y="174243"/>
                    </a:lnTo>
                    <a:lnTo>
                      <a:pt x="32639" y="174243"/>
                    </a:lnTo>
                    <a:lnTo>
                      <a:pt x="35178" y="171703"/>
                    </a:lnTo>
                    <a:lnTo>
                      <a:pt x="35178" y="165353"/>
                    </a:lnTo>
                    <a:lnTo>
                      <a:pt x="32639" y="162687"/>
                    </a:lnTo>
                    <a:close/>
                  </a:path>
                  <a:path w="317500" h="314325">
                    <a:moveTo>
                      <a:pt x="9017" y="162687"/>
                    </a:moveTo>
                    <a:lnTo>
                      <a:pt x="2540" y="162687"/>
                    </a:lnTo>
                    <a:lnTo>
                      <a:pt x="0" y="165353"/>
                    </a:lnTo>
                    <a:lnTo>
                      <a:pt x="0" y="171703"/>
                    </a:lnTo>
                    <a:lnTo>
                      <a:pt x="2540" y="174243"/>
                    </a:lnTo>
                    <a:lnTo>
                      <a:pt x="9017" y="174243"/>
                    </a:lnTo>
                    <a:lnTo>
                      <a:pt x="11556" y="171703"/>
                    </a:lnTo>
                    <a:lnTo>
                      <a:pt x="11556" y="165353"/>
                    </a:lnTo>
                    <a:lnTo>
                      <a:pt x="9017" y="162687"/>
                    </a:lnTo>
                    <a:close/>
                  </a:path>
                  <a:path w="317500" h="314325">
                    <a:moveTo>
                      <a:pt x="314071" y="139700"/>
                    </a:moveTo>
                    <a:lnTo>
                      <a:pt x="307594" y="139700"/>
                    </a:lnTo>
                    <a:lnTo>
                      <a:pt x="305053" y="142112"/>
                    </a:lnTo>
                    <a:lnTo>
                      <a:pt x="305053" y="148336"/>
                    </a:lnTo>
                    <a:lnTo>
                      <a:pt x="307594" y="151257"/>
                    </a:lnTo>
                    <a:lnTo>
                      <a:pt x="314071" y="151257"/>
                    </a:lnTo>
                    <a:lnTo>
                      <a:pt x="316992" y="148336"/>
                    </a:lnTo>
                    <a:lnTo>
                      <a:pt x="316992" y="142112"/>
                    </a:lnTo>
                    <a:lnTo>
                      <a:pt x="314071" y="139700"/>
                    </a:lnTo>
                    <a:close/>
                  </a:path>
                  <a:path w="317500" h="314325">
                    <a:moveTo>
                      <a:pt x="290956" y="139700"/>
                    </a:moveTo>
                    <a:lnTo>
                      <a:pt x="284606" y="139700"/>
                    </a:lnTo>
                    <a:lnTo>
                      <a:pt x="281940" y="142239"/>
                    </a:lnTo>
                    <a:lnTo>
                      <a:pt x="281940" y="148589"/>
                    </a:lnTo>
                    <a:lnTo>
                      <a:pt x="284606" y="151257"/>
                    </a:lnTo>
                    <a:lnTo>
                      <a:pt x="290956" y="151257"/>
                    </a:lnTo>
                    <a:lnTo>
                      <a:pt x="293497" y="148589"/>
                    </a:lnTo>
                    <a:lnTo>
                      <a:pt x="293497" y="142239"/>
                    </a:lnTo>
                    <a:lnTo>
                      <a:pt x="290956" y="139700"/>
                    </a:lnTo>
                    <a:close/>
                  </a:path>
                  <a:path w="317500" h="314325">
                    <a:moveTo>
                      <a:pt x="32639" y="139700"/>
                    </a:moveTo>
                    <a:lnTo>
                      <a:pt x="26162" y="139700"/>
                    </a:lnTo>
                    <a:lnTo>
                      <a:pt x="23622" y="142239"/>
                    </a:lnTo>
                    <a:lnTo>
                      <a:pt x="23622" y="148589"/>
                    </a:lnTo>
                    <a:lnTo>
                      <a:pt x="26162" y="151257"/>
                    </a:lnTo>
                    <a:lnTo>
                      <a:pt x="32639" y="151257"/>
                    </a:lnTo>
                    <a:lnTo>
                      <a:pt x="35178" y="148589"/>
                    </a:lnTo>
                    <a:lnTo>
                      <a:pt x="35178" y="142239"/>
                    </a:lnTo>
                    <a:lnTo>
                      <a:pt x="32639" y="139700"/>
                    </a:lnTo>
                    <a:close/>
                  </a:path>
                  <a:path w="317500" h="314325">
                    <a:moveTo>
                      <a:pt x="9017" y="139700"/>
                    </a:moveTo>
                    <a:lnTo>
                      <a:pt x="2540" y="139700"/>
                    </a:lnTo>
                    <a:lnTo>
                      <a:pt x="0" y="142239"/>
                    </a:lnTo>
                    <a:lnTo>
                      <a:pt x="0" y="148589"/>
                    </a:lnTo>
                    <a:lnTo>
                      <a:pt x="2540" y="151257"/>
                    </a:lnTo>
                    <a:lnTo>
                      <a:pt x="9017" y="151257"/>
                    </a:lnTo>
                    <a:lnTo>
                      <a:pt x="11556" y="148589"/>
                    </a:lnTo>
                    <a:lnTo>
                      <a:pt x="11556" y="142239"/>
                    </a:lnTo>
                    <a:lnTo>
                      <a:pt x="9017" y="139700"/>
                    </a:lnTo>
                    <a:close/>
                  </a:path>
                  <a:path w="317500" h="314325">
                    <a:moveTo>
                      <a:pt x="314071" y="116204"/>
                    </a:moveTo>
                    <a:lnTo>
                      <a:pt x="307594" y="116204"/>
                    </a:lnTo>
                    <a:lnTo>
                      <a:pt x="305053" y="118617"/>
                    </a:lnTo>
                    <a:lnTo>
                      <a:pt x="305053" y="125222"/>
                    </a:lnTo>
                    <a:lnTo>
                      <a:pt x="307594" y="127762"/>
                    </a:lnTo>
                    <a:lnTo>
                      <a:pt x="314071" y="127762"/>
                    </a:lnTo>
                    <a:lnTo>
                      <a:pt x="316992" y="125222"/>
                    </a:lnTo>
                    <a:lnTo>
                      <a:pt x="316992" y="118617"/>
                    </a:lnTo>
                    <a:lnTo>
                      <a:pt x="314071" y="116204"/>
                    </a:lnTo>
                    <a:close/>
                  </a:path>
                  <a:path w="317500" h="314325">
                    <a:moveTo>
                      <a:pt x="290956" y="116204"/>
                    </a:moveTo>
                    <a:lnTo>
                      <a:pt x="284606" y="116204"/>
                    </a:lnTo>
                    <a:lnTo>
                      <a:pt x="281940" y="118745"/>
                    </a:lnTo>
                    <a:lnTo>
                      <a:pt x="281940" y="125095"/>
                    </a:lnTo>
                    <a:lnTo>
                      <a:pt x="284606" y="127762"/>
                    </a:lnTo>
                    <a:lnTo>
                      <a:pt x="290956" y="127762"/>
                    </a:lnTo>
                    <a:lnTo>
                      <a:pt x="293497" y="125095"/>
                    </a:lnTo>
                    <a:lnTo>
                      <a:pt x="293497" y="118745"/>
                    </a:lnTo>
                    <a:lnTo>
                      <a:pt x="290956" y="116204"/>
                    </a:lnTo>
                    <a:close/>
                  </a:path>
                  <a:path w="317500" h="314325">
                    <a:moveTo>
                      <a:pt x="32639" y="116204"/>
                    </a:moveTo>
                    <a:lnTo>
                      <a:pt x="26162" y="116204"/>
                    </a:lnTo>
                    <a:lnTo>
                      <a:pt x="23622" y="118745"/>
                    </a:lnTo>
                    <a:lnTo>
                      <a:pt x="23622" y="125095"/>
                    </a:lnTo>
                    <a:lnTo>
                      <a:pt x="26162" y="127762"/>
                    </a:lnTo>
                    <a:lnTo>
                      <a:pt x="32639" y="127762"/>
                    </a:lnTo>
                    <a:lnTo>
                      <a:pt x="35178" y="125095"/>
                    </a:lnTo>
                    <a:lnTo>
                      <a:pt x="35178" y="118745"/>
                    </a:lnTo>
                    <a:lnTo>
                      <a:pt x="32639" y="116204"/>
                    </a:lnTo>
                    <a:close/>
                  </a:path>
                  <a:path w="317500" h="314325">
                    <a:moveTo>
                      <a:pt x="9017" y="116204"/>
                    </a:moveTo>
                    <a:lnTo>
                      <a:pt x="2540" y="116204"/>
                    </a:lnTo>
                    <a:lnTo>
                      <a:pt x="0" y="118745"/>
                    </a:lnTo>
                    <a:lnTo>
                      <a:pt x="0" y="125095"/>
                    </a:lnTo>
                    <a:lnTo>
                      <a:pt x="2540" y="127762"/>
                    </a:lnTo>
                    <a:lnTo>
                      <a:pt x="9017" y="127762"/>
                    </a:lnTo>
                    <a:lnTo>
                      <a:pt x="11556" y="125095"/>
                    </a:lnTo>
                    <a:lnTo>
                      <a:pt x="11556" y="118745"/>
                    </a:lnTo>
                    <a:lnTo>
                      <a:pt x="9017" y="116204"/>
                    </a:lnTo>
                    <a:close/>
                  </a:path>
                  <a:path w="317500" h="314325">
                    <a:moveTo>
                      <a:pt x="314071" y="92837"/>
                    </a:moveTo>
                    <a:lnTo>
                      <a:pt x="307594" y="92837"/>
                    </a:lnTo>
                    <a:lnTo>
                      <a:pt x="305053" y="95376"/>
                    </a:lnTo>
                    <a:lnTo>
                      <a:pt x="305053" y="102235"/>
                    </a:lnTo>
                    <a:lnTo>
                      <a:pt x="307594" y="104648"/>
                    </a:lnTo>
                    <a:lnTo>
                      <a:pt x="314071" y="104648"/>
                    </a:lnTo>
                    <a:lnTo>
                      <a:pt x="316992" y="102235"/>
                    </a:lnTo>
                    <a:lnTo>
                      <a:pt x="316992" y="95376"/>
                    </a:lnTo>
                    <a:lnTo>
                      <a:pt x="314071" y="92837"/>
                    </a:lnTo>
                    <a:close/>
                  </a:path>
                  <a:path w="317500" h="314325">
                    <a:moveTo>
                      <a:pt x="290956" y="92837"/>
                    </a:moveTo>
                    <a:lnTo>
                      <a:pt x="284606" y="92837"/>
                    </a:lnTo>
                    <a:lnTo>
                      <a:pt x="281940" y="95503"/>
                    </a:lnTo>
                    <a:lnTo>
                      <a:pt x="281940" y="102108"/>
                    </a:lnTo>
                    <a:lnTo>
                      <a:pt x="284606" y="104648"/>
                    </a:lnTo>
                    <a:lnTo>
                      <a:pt x="290956" y="104648"/>
                    </a:lnTo>
                    <a:lnTo>
                      <a:pt x="293497" y="102108"/>
                    </a:lnTo>
                    <a:lnTo>
                      <a:pt x="293497" y="95503"/>
                    </a:lnTo>
                    <a:lnTo>
                      <a:pt x="290956" y="92837"/>
                    </a:lnTo>
                    <a:close/>
                  </a:path>
                  <a:path w="317500" h="314325">
                    <a:moveTo>
                      <a:pt x="32639" y="92837"/>
                    </a:moveTo>
                    <a:lnTo>
                      <a:pt x="26162" y="92837"/>
                    </a:lnTo>
                    <a:lnTo>
                      <a:pt x="23622" y="95503"/>
                    </a:lnTo>
                    <a:lnTo>
                      <a:pt x="23622" y="102108"/>
                    </a:lnTo>
                    <a:lnTo>
                      <a:pt x="26162" y="104648"/>
                    </a:lnTo>
                    <a:lnTo>
                      <a:pt x="32639" y="104648"/>
                    </a:lnTo>
                    <a:lnTo>
                      <a:pt x="35178" y="102108"/>
                    </a:lnTo>
                    <a:lnTo>
                      <a:pt x="35178" y="95503"/>
                    </a:lnTo>
                    <a:lnTo>
                      <a:pt x="32639" y="92837"/>
                    </a:lnTo>
                    <a:close/>
                  </a:path>
                  <a:path w="317500" h="314325">
                    <a:moveTo>
                      <a:pt x="9017" y="92837"/>
                    </a:moveTo>
                    <a:lnTo>
                      <a:pt x="2540" y="92837"/>
                    </a:lnTo>
                    <a:lnTo>
                      <a:pt x="0" y="95503"/>
                    </a:lnTo>
                    <a:lnTo>
                      <a:pt x="0" y="102108"/>
                    </a:lnTo>
                    <a:lnTo>
                      <a:pt x="2540" y="104648"/>
                    </a:lnTo>
                    <a:lnTo>
                      <a:pt x="9017" y="104648"/>
                    </a:lnTo>
                    <a:lnTo>
                      <a:pt x="11556" y="102108"/>
                    </a:lnTo>
                    <a:lnTo>
                      <a:pt x="11556" y="95503"/>
                    </a:lnTo>
                    <a:lnTo>
                      <a:pt x="9017" y="92837"/>
                    </a:lnTo>
                    <a:close/>
                  </a:path>
                  <a:path w="317500" h="314325">
                    <a:moveTo>
                      <a:pt x="314071" y="69850"/>
                    </a:moveTo>
                    <a:lnTo>
                      <a:pt x="307594" y="69850"/>
                    </a:lnTo>
                    <a:lnTo>
                      <a:pt x="305053" y="72262"/>
                    </a:lnTo>
                    <a:lnTo>
                      <a:pt x="305053" y="78866"/>
                    </a:lnTo>
                    <a:lnTo>
                      <a:pt x="307594" y="81407"/>
                    </a:lnTo>
                    <a:lnTo>
                      <a:pt x="314071" y="81407"/>
                    </a:lnTo>
                    <a:lnTo>
                      <a:pt x="316992" y="78866"/>
                    </a:lnTo>
                    <a:lnTo>
                      <a:pt x="316992" y="72262"/>
                    </a:lnTo>
                    <a:lnTo>
                      <a:pt x="314071" y="69850"/>
                    </a:lnTo>
                    <a:close/>
                  </a:path>
                  <a:path w="317500" h="314325">
                    <a:moveTo>
                      <a:pt x="290956" y="69850"/>
                    </a:moveTo>
                    <a:lnTo>
                      <a:pt x="284606" y="69850"/>
                    </a:lnTo>
                    <a:lnTo>
                      <a:pt x="281940" y="72389"/>
                    </a:lnTo>
                    <a:lnTo>
                      <a:pt x="281940" y="78739"/>
                    </a:lnTo>
                    <a:lnTo>
                      <a:pt x="284606" y="81407"/>
                    </a:lnTo>
                    <a:lnTo>
                      <a:pt x="290956" y="81407"/>
                    </a:lnTo>
                    <a:lnTo>
                      <a:pt x="293497" y="78739"/>
                    </a:lnTo>
                    <a:lnTo>
                      <a:pt x="293497" y="72389"/>
                    </a:lnTo>
                    <a:lnTo>
                      <a:pt x="290956" y="69850"/>
                    </a:lnTo>
                    <a:close/>
                  </a:path>
                  <a:path w="317500" h="314325">
                    <a:moveTo>
                      <a:pt x="32639" y="69850"/>
                    </a:moveTo>
                    <a:lnTo>
                      <a:pt x="26162" y="69850"/>
                    </a:lnTo>
                    <a:lnTo>
                      <a:pt x="23622" y="72389"/>
                    </a:lnTo>
                    <a:lnTo>
                      <a:pt x="23622" y="78739"/>
                    </a:lnTo>
                    <a:lnTo>
                      <a:pt x="26162" y="81407"/>
                    </a:lnTo>
                    <a:lnTo>
                      <a:pt x="32639" y="81407"/>
                    </a:lnTo>
                    <a:lnTo>
                      <a:pt x="35178" y="78739"/>
                    </a:lnTo>
                    <a:lnTo>
                      <a:pt x="35178" y="72389"/>
                    </a:lnTo>
                    <a:lnTo>
                      <a:pt x="32639" y="69850"/>
                    </a:lnTo>
                    <a:close/>
                  </a:path>
                  <a:path w="317500" h="314325">
                    <a:moveTo>
                      <a:pt x="9017" y="69850"/>
                    </a:moveTo>
                    <a:lnTo>
                      <a:pt x="2540" y="69850"/>
                    </a:lnTo>
                    <a:lnTo>
                      <a:pt x="0" y="72389"/>
                    </a:lnTo>
                    <a:lnTo>
                      <a:pt x="0" y="78739"/>
                    </a:lnTo>
                    <a:lnTo>
                      <a:pt x="2540" y="81407"/>
                    </a:lnTo>
                    <a:lnTo>
                      <a:pt x="9017" y="81407"/>
                    </a:lnTo>
                    <a:lnTo>
                      <a:pt x="11556" y="78739"/>
                    </a:lnTo>
                    <a:lnTo>
                      <a:pt x="11556" y="72389"/>
                    </a:lnTo>
                    <a:lnTo>
                      <a:pt x="9017" y="69850"/>
                    </a:lnTo>
                    <a:close/>
                  </a:path>
                  <a:path w="317500" h="314325">
                    <a:moveTo>
                      <a:pt x="314071" y="46354"/>
                    </a:moveTo>
                    <a:lnTo>
                      <a:pt x="307594" y="46354"/>
                    </a:lnTo>
                    <a:lnTo>
                      <a:pt x="305053" y="49275"/>
                    </a:lnTo>
                    <a:lnTo>
                      <a:pt x="305053" y="55372"/>
                    </a:lnTo>
                    <a:lnTo>
                      <a:pt x="307594" y="57912"/>
                    </a:lnTo>
                    <a:lnTo>
                      <a:pt x="314071" y="57912"/>
                    </a:lnTo>
                    <a:lnTo>
                      <a:pt x="316992" y="55372"/>
                    </a:lnTo>
                    <a:lnTo>
                      <a:pt x="316992" y="49275"/>
                    </a:lnTo>
                    <a:lnTo>
                      <a:pt x="314071" y="46354"/>
                    </a:lnTo>
                    <a:close/>
                  </a:path>
                  <a:path w="317500" h="314325">
                    <a:moveTo>
                      <a:pt x="290956" y="46354"/>
                    </a:moveTo>
                    <a:lnTo>
                      <a:pt x="284606" y="46354"/>
                    </a:lnTo>
                    <a:lnTo>
                      <a:pt x="281940" y="48895"/>
                    </a:lnTo>
                    <a:lnTo>
                      <a:pt x="281940" y="55245"/>
                    </a:lnTo>
                    <a:lnTo>
                      <a:pt x="284606" y="57912"/>
                    </a:lnTo>
                    <a:lnTo>
                      <a:pt x="290956" y="57912"/>
                    </a:lnTo>
                    <a:lnTo>
                      <a:pt x="293497" y="55245"/>
                    </a:lnTo>
                    <a:lnTo>
                      <a:pt x="293497" y="48895"/>
                    </a:lnTo>
                    <a:lnTo>
                      <a:pt x="290956" y="46354"/>
                    </a:lnTo>
                    <a:close/>
                  </a:path>
                  <a:path w="317500" h="314325">
                    <a:moveTo>
                      <a:pt x="32639" y="46354"/>
                    </a:moveTo>
                    <a:lnTo>
                      <a:pt x="26162" y="46354"/>
                    </a:lnTo>
                    <a:lnTo>
                      <a:pt x="23622" y="48895"/>
                    </a:lnTo>
                    <a:lnTo>
                      <a:pt x="23622" y="55245"/>
                    </a:lnTo>
                    <a:lnTo>
                      <a:pt x="26162" y="57912"/>
                    </a:lnTo>
                    <a:lnTo>
                      <a:pt x="32639" y="57912"/>
                    </a:lnTo>
                    <a:lnTo>
                      <a:pt x="35178" y="55245"/>
                    </a:lnTo>
                    <a:lnTo>
                      <a:pt x="35178" y="48895"/>
                    </a:lnTo>
                    <a:lnTo>
                      <a:pt x="32639" y="46354"/>
                    </a:lnTo>
                    <a:close/>
                  </a:path>
                  <a:path w="317500" h="314325">
                    <a:moveTo>
                      <a:pt x="9017" y="46354"/>
                    </a:moveTo>
                    <a:lnTo>
                      <a:pt x="2540" y="46354"/>
                    </a:lnTo>
                    <a:lnTo>
                      <a:pt x="0" y="48895"/>
                    </a:lnTo>
                    <a:lnTo>
                      <a:pt x="0" y="55245"/>
                    </a:lnTo>
                    <a:lnTo>
                      <a:pt x="2540" y="57912"/>
                    </a:lnTo>
                    <a:lnTo>
                      <a:pt x="9017" y="57912"/>
                    </a:lnTo>
                    <a:lnTo>
                      <a:pt x="11556" y="55245"/>
                    </a:lnTo>
                    <a:lnTo>
                      <a:pt x="11556" y="48895"/>
                    </a:lnTo>
                    <a:lnTo>
                      <a:pt x="9017" y="46354"/>
                    </a:lnTo>
                    <a:close/>
                  </a:path>
                  <a:path w="317500" h="314325">
                    <a:moveTo>
                      <a:pt x="314071" y="23367"/>
                    </a:moveTo>
                    <a:lnTo>
                      <a:pt x="307594" y="23367"/>
                    </a:lnTo>
                    <a:lnTo>
                      <a:pt x="305053" y="25780"/>
                    </a:lnTo>
                    <a:lnTo>
                      <a:pt x="305053" y="32003"/>
                    </a:lnTo>
                    <a:lnTo>
                      <a:pt x="307594" y="34798"/>
                    </a:lnTo>
                    <a:lnTo>
                      <a:pt x="314071" y="34798"/>
                    </a:lnTo>
                    <a:lnTo>
                      <a:pt x="316992" y="32003"/>
                    </a:lnTo>
                    <a:lnTo>
                      <a:pt x="316992" y="25780"/>
                    </a:lnTo>
                    <a:lnTo>
                      <a:pt x="314071" y="23367"/>
                    </a:lnTo>
                    <a:close/>
                  </a:path>
                  <a:path w="317500" h="314325">
                    <a:moveTo>
                      <a:pt x="290956" y="23367"/>
                    </a:moveTo>
                    <a:lnTo>
                      <a:pt x="284606" y="23367"/>
                    </a:lnTo>
                    <a:lnTo>
                      <a:pt x="281940" y="25908"/>
                    </a:lnTo>
                    <a:lnTo>
                      <a:pt x="281940" y="32258"/>
                    </a:lnTo>
                    <a:lnTo>
                      <a:pt x="284606" y="34798"/>
                    </a:lnTo>
                    <a:lnTo>
                      <a:pt x="290956" y="34798"/>
                    </a:lnTo>
                    <a:lnTo>
                      <a:pt x="293497" y="32258"/>
                    </a:lnTo>
                    <a:lnTo>
                      <a:pt x="293497" y="25908"/>
                    </a:lnTo>
                    <a:lnTo>
                      <a:pt x="290956" y="23367"/>
                    </a:lnTo>
                    <a:close/>
                  </a:path>
                  <a:path w="317500" h="314325">
                    <a:moveTo>
                      <a:pt x="267462" y="23367"/>
                    </a:moveTo>
                    <a:lnTo>
                      <a:pt x="261112" y="23367"/>
                    </a:lnTo>
                    <a:lnTo>
                      <a:pt x="258445" y="25908"/>
                    </a:lnTo>
                    <a:lnTo>
                      <a:pt x="258445" y="32258"/>
                    </a:lnTo>
                    <a:lnTo>
                      <a:pt x="261112" y="34798"/>
                    </a:lnTo>
                    <a:lnTo>
                      <a:pt x="267462" y="34798"/>
                    </a:lnTo>
                    <a:lnTo>
                      <a:pt x="270128" y="32258"/>
                    </a:lnTo>
                    <a:lnTo>
                      <a:pt x="270128" y="25908"/>
                    </a:lnTo>
                    <a:lnTo>
                      <a:pt x="267462" y="23367"/>
                    </a:lnTo>
                    <a:close/>
                  </a:path>
                  <a:path w="317500" h="314325">
                    <a:moveTo>
                      <a:pt x="243840" y="23367"/>
                    </a:moveTo>
                    <a:lnTo>
                      <a:pt x="237236" y="23367"/>
                    </a:lnTo>
                    <a:lnTo>
                      <a:pt x="234569" y="25908"/>
                    </a:lnTo>
                    <a:lnTo>
                      <a:pt x="234569" y="32258"/>
                    </a:lnTo>
                    <a:lnTo>
                      <a:pt x="237236" y="34798"/>
                    </a:lnTo>
                    <a:lnTo>
                      <a:pt x="243840" y="34798"/>
                    </a:lnTo>
                    <a:lnTo>
                      <a:pt x="246506" y="32258"/>
                    </a:lnTo>
                    <a:lnTo>
                      <a:pt x="246506" y="25908"/>
                    </a:lnTo>
                    <a:lnTo>
                      <a:pt x="243840" y="23367"/>
                    </a:lnTo>
                    <a:close/>
                  </a:path>
                  <a:path w="317500" h="314325">
                    <a:moveTo>
                      <a:pt x="220345" y="23367"/>
                    </a:moveTo>
                    <a:lnTo>
                      <a:pt x="213614" y="23367"/>
                    </a:lnTo>
                    <a:lnTo>
                      <a:pt x="210947" y="25908"/>
                    </a:lnTo>
                    <a:lnTo>
                      <a:pt x="210947" y="32258"/>
                    </a:lnTo>
                    <a:lnTo>
                      <a:pt x="213614" y="34798"/>
                    </a:lnTo>
                    <a:lnTo>
                      <a:pt x="220345" y="34798"/>
                    </a:lnTo>
                    <a:lnTo>
                      <a:pt x="223012" y="32258"/>
                    </a:lnTo>
                    <a:lnTo>
                      <a:pt x="223012" y="25908"/>
                    </a:lnTo>
                    <a:lnTo>
                      <a:pt x="220345" y="23367"/>
                    </a:lnTo>
                    <a:close/>
                  </a:path>
                  <a:path w="317500" h="314325">
                    <a:moveTo>
                      <a:pt x="196850" y="23367"/>
                    </a:moveTo>
                    <a:lnTo>
                      <a:pt x="190373" y="23367"/>
                    </a:lnTo>
                    <a:lnTo>
                      <a:pt x="187833" y="25908"/>
                    </a:lnTo>
                    <a:lnTo>
                      <a:pt x="187833" y="32258"/>
                    </a:lnTo>
                    <a:lnTo>
                      <a:pt x="190373" y="34798"/>
                    </a:lnTo>
                    <a:lnTo>
                      <a:pt x="196850" y="34798"/>
                    </a:lnTo>
                    <a:lnTo>
                      <a:pt x="199390" y="32258"/>
                    </a:lnTo>
                    <a:lnTo>
                      <a:pt x="199390" y="25908"/>
                    </a:lnTo>
                    <a:lnTo>
                      <a:pt x="196850" y="23367"/>
                    </a:lnTo>
                    <a:close/>
                  </a:path>
                  <a:path w="317500" h="314325">
                    <a:moveTo>
                      <a:pt x="173354" y="23367"/>
                    </a:moveTo>
                    <a:lnTo>
                      <a:pt x="167004" y="23367"/>
                    </a:lnTo>
                    <a:lnTo>
                      <a:pt x="164338" y="25908"/>
                    </a:lnTo>
                    <a:lnTo>
                      <a:pt x="164338" y="32258"/>
                    </a:lnTo>
                    <a:lnTo>
                      <a:pt x="167004" y="34798"/>
                    </a:lnTo>
                    <a:lnTo>
                      <a:pt x="173354" y="34798"/>
                    </a:lnTo>
                    <a:lnTo>
                      <a:pt x="175895" y="32258"/>
                    </a:lnTo>
                    <a:lnTo>
                      <a:pt x="175895" y="25908"/>
                    </a:lnTo>
                    <a:lnTo>
                      <a:pt x="173354" y="23367"/>
                    </a:lnTo>
                    <a:close/>
                  </a:path>
                  <a:path w="317500" h="314325">
                    <a:moveTo>
                      <a:pt x="150114" y="23367"/>
                    </a:moveTo>
                    <a:lnTo>
                      <a:pt x="143383" y="23367"/>
                    </a:lnTo>
                    <a:lnTo>
                      <a:pt x="140716" y="25908"/>
                    </a:lnTo>
                    <a:lnTo>
                      <a:pt x="140716" y="32258"/>
                    </a:lnTo>
                    <a:lnTo>
                      <a:pt x="143383" y="34798"/>
                    </a:lnTo>
                    <a:lnTo>
                      <a:pt x="150114" y="34798"/>
                    </a:lnTo>
                    <a:lnTo>
                      <a:pt x="152780" y="32258"/>
                    </a:lnTo>
                    <a:lnTo>
                      <a:pt x="152780" y="25908"/>
                    </a:lnTo>
                    <a:lnTo>
                      <a:pt x="150114" y="23367"/>
                    </a:lnTo>
                    <a:close/>
                  </a:path>
                  <a:path w="317500" h="314325">
                    <a:moveTo>
                      <a:pt x="126619" y="23367"/>
                    </a:moveTo>
                    <a:lnTo>
                      <a:pt x="120015" y="23367"/>
                    </a:lnTo>
                    <a:lnTo>
                      <a:pt x="117348" y="25908"/>
                    </a:lnTo>
                    <a:lnTo>
                      <a:pt x="117348" y="32258"/>
                    </a:lnTo>
                    <a:lnTo>
                      <a:pt x="120015" y="34798"/>
                    </a:lnTo>
                    <a:lnTo>
                      <a:pt x="126619" y="34798"/>
                    </a:lnTo>
                    <a:lnTo>
                      <a:pt x="129286" y="32258"/>
                    </a:lnTo>
                    <a:lnTo>
                      <a:pt x="129286" y="25908"/>
                    </a:lnTo>
                    <a:lnTo>
                      <a:pt x="126619" y="23367"/>
                    </a:lnTo>
                    <a:close/>
                  </a:path>
                  <a:path w="317500" h="314325">
                    <a:moveTo>
                      <a:pt x="103124" y="23367"/>
                    </a:moveTo>
                    <a:lnTo>
                      <a:pt x="96774" y="23367"/>
                    </a:lnTo>
                    <a:lnTo>
                      <a:pt x="94106" y="25908"/>
                    </a:lnTo>
                    <a:lnTo>
                      <a:pt x="94106" y="32258"/>
                    </a:lnTo>
                    <a:lnTo>
                      <a:pt x="96774" y="34798"/>
                    </a:lnTo>
                    <a:lnTo>
                      <a:pt x="103124" y="34798"/>
                    </a:lnTo>
                    <a:lnTo>
                      <a:pt x="105664" y="32258"/>
                    </a:lnTo>
                    <a:lnTo>
                      <a:pt x="105664" y="25908"/>
                    </a:lnTo>
                    <a:lnTo>
                      <a:pt x="103124" y="23367"/>
                    </a:lnTo>
                    <a:close/>
                  </a:path>
                  <a:path w="317500" h="314325">
                    <a:moveTo>
                      <a:pt x="79628" y="23367"/>
                    </a:moveTo>
                    <a:lnTo>
                      <a:pt x="73278" y="23367"/>
                    </a:lnTo>
                    <a:lnTo>
                      <a:pt x="70739" y="25908"/>
                    </a:lnTo>
                    <a:lnTo>
                      <a:pt x="70739" y="32258"/>
                    </a:lnTo>
                    <a:lnTo>
                      <a:pt x="73278" y="34798"/>
                    </a:lnTo>
                    <a:lnTo>
                      <a:pt x="79628" y="34798"/>
                    </a:lnTo>
                    <a:lnTo>
                      <a:pt x="82296" y="32258"/>
                    </a:lnTo>
                    <a:lnTo>
                      <a:pt x="82296" y="25908"/>
                    </a:lnTo>
                    <a:lnTo>
                      <a:pt x="79628" y="23367"/>
                    </a:lnTo>
                    <a:close/>
                  </a:path>
                  <a:path w="317500" h="314325">
                    <a:moveTo>
                      <a:pt x="56006" y="23367"/>
                    </a:moveTo>
                    <a:lnTo>
                      <a:pt x="49656" y="23367"/>
                    </a:lnTo>
                    <a:lnTo>
                      <a:pt x="47117" y="25908"/>
                    </a:lnTo>
                    <a:lnTo>
                      <a:pt x="47117" y="32258"/>
                    </a:lnTo>
                    <a:lnTo>
                      <a:pt x="49656" y="34798"/>
                    </a:lnTo>
                    <a:lnTo>
                      <a:pt x="56006" y="34798"/>
                    </a:lnTo>
                    <a:lnTo>
                      <a:pt x="58674" y="32258"/>
                    </a:lnTo>
                    <a:lnTo>
                      <a:pt x="58674" y="25908"/>
                    </a:lnTo>
                    <a:lnTo>
                      <a:pt x="56006" y="23367"/>
                    </a:lnTo>
                    <a:close/>
                  </a:path>
                  <a:path w="317500" h="314325">
                    <a:moveTo>
                      <a:pt x="32639" y="23367"/>
                    </a:moveTo>
                    <a:lnTo>
                      <a:pt x="26162" y="23367"/>
                    </a:lnTo>
                    <a:lnTo>
                      <a:pt x="23622" y="25908"/>
                    </a:lnTo>
                    <a:lnTo>
                      <a:pt x="23622" y="32258"/>
                    </a:lnTo>
                    <a:lnTo>
                      <a:pt x="26162" y="34798"/>
                    </a:lnTo>
                    <a:lnTo>
                      <a:pt x="32639" y="34798"/>
                    </a:lnTo>
                    <a:lnTo>
                      <a:pt x="35178" y="32258"/>
                    </a:lnTo>
                    <a:lnTo>
                      <a:pt x="35178" y="25908"/>
                    </a:lnTo>
                    <a:lnTo>
                      <a:pt x="32639" y="23367"/>
                    </a:lnTo>
                    <a:close/>
                  </a:path>
                  <a:path w="317500" h="314325">
                    <a:moveTo>
                      <a:pt x="9017" y="23367"/>
                    </a:moveTo>
                    <a:lnTo>
                      <a:pt x="2540" y="23367"/>
                    </a:lnTo>
                    <a:lnTo>
                      <a:pt x="0" y="25908"/>
                    </a:lnTo>
                    <a:lnTo>
                      <a:pt x="0" y="32258"/>
                    </a:lnTo>
                    <a:lnTo>
                      <a:pt x="2540" y="34798"/>
                    </a:lnTo>
                    <a:lnTo>
                      <a:pt x="9017" y="34798"/>
                    </a:lnTo>
                    <a:lnTo>
                      <a:pt x="11556" y="32258"/>
                    </a:lnTo>
                    <a:lnTo>
                      <a:pt x="11556" y="25908"/>
                    </a:lnTo>
                    <a:lnTo>
                      <a:pt x="9017" y="23367"/>
                    </a:lnTo>
                    <a:close/>
                  </a:path>
                  <a:path w="317500" h="314325">
                    <a:moveTo>
                      <a:pt x="314071" y="0"/>
                    </a:moveTo>
                    <a:lnTo>
                      <a:pt x="307594" y="0"/>
                    </a:lnTo>
                    <a:lnTo>
                      <a:pt x="305053" y="2412"/>
                    </a:lnTo>
                    <a:lnTo>
                      <a:pt x="305053" y="9016"/>
                    </a:lnTo>
                    <a:lnTo>
                      <a:pt x="307594" y="11811"/>
                    </a:lnTo>
                    <a:lnTo>
                      <a:pt x="314071" y="11811"/>
                    </a:lnTo>
                    <a:lnTo>
                      <a:pt x="316992" y="9016"/>
                    </a:lnTo>
                    <a:lnTo>
                      <a:pt x="316992" y="2412"/>
                    </a:lnTo>
                    <a:lnTo>
                      <a:pt x="314071" y="0"/>
                    </a:lnTo>
                    <a:close/>
                  </a:path>
                  <a:path w="317500" h="314325">
                    <a:moveTo>
                      <a:pt x="290702" y="0"/>
                    </a:moveTo>
                    <a:lnTo>
                      <a:pt x="284479" y="0"/>
                    </a:lnTo>
                    <a:lnTo>
                      <a:pt x="281940" y="2412"/>
                    </a:lnTo>
                    <a:lnTo>
                      <a:pt x="281940" y="9016"/>
                    </a:lnTo>
                    <a:lnTo>
                      <a:pt x="284479" y="11811"/>
                    </a:lnTo>
                    <a:lnTo>
                      <a:pt x="290702" y="11811"/>
                    </a:lnTo>
                    <a:lnTo>
                      <a:pt x="293497" y="9016"/>
                    </a:lnTo>
                    <a:lnTo>
                      <a:pt x="293497" y="2412"/>
                    </a:lnTo>
                    <a:lnTo>
                      <a:pt x="290702" y="0"/>
                    </a:lnTo>
                    <a:close/>
                  </a:path>
                  <a:path w="317500" h="314325">
                    <a:moveTo>
                      <a:pt x="267208" y="0"/>
                    </a:moveTo>
                    <a:lnTo>
                      <a:pt x="260985" y="0"/>
                    </a:lnTo>
                    <a:lnTo>
                      <a:pt x="258445" y="2412"/>
                    </a:lnTo>
                    <a:lnTo>
                      <a:pt x="258445" y="9016"/>
                    </a:lnTo>
                    <a:lnTo>
                      <a:pt x="260985" y="11811"/>
                    </a:lnTo>
                    <a:lnTo>
                      <a:pt x="267208" y="11811"/>
                    </a:lnTo>
                    <a:lnTo>
                      <a:pt x="270128" y="9016"/>
                    </a:lnTo>
                    <a:lnTo>
                      <a:pt x="270128" y="2412"/>
                    </a:lnTo>
                    <a:lnTo>
                      <a:pt x="267208" y="0"/>
                    </a:lnTo>
                    <a:close/>
                  </a:path>
                  <a:path w="317500" h="314325">
                    <a:moveTo>
                      <a:pt x="243586" y="0"/>
                    </a:moveTo>
                    <a:lnTo>
                      <a:pt x="237490" y="0"/>
                    </a:lnTo>
                    <a:lnTo>
                      <a:pt x="234569" y="2412"/>
                    </a:lnTo>
                    <a:lnTo>
                      <a:pt x="234569" y="9016"/>
                    </a:lnTo>
                    <a:lnTo>
                      <a:pt x="237490" y="11811"/>
                    </a:lnTo>
                    <a:lnTo>
                      <a:pt x="243586" y="11811"/>
                    </a:lnTo>
                    <a:lnTo>
                      <a:pt x="246506" y="9016"/>
                    </a:lnTo>
                    <a:lnTo>
                      <a:pt x="246506" y="2412"/>
                    </a:lnTo>
                    <a:lnTo>
                      <a:pt x="243586" y="0"/>
                    </a:lnTo>
                    <a:close/>
                  </a:path>
                  <a:path w="317500" h="314325">
                    <a:moveTo>
                      <a:pt x="220472" y="0"/>
                    </a:moveTo>
                    <a:lnTo>
                      <a:pt x="213868" y="0"/>
                    </a:lnTo>
                    <a:lnTo>
                      <a:pt x="210947" y="2412"/>
                    </a:lnTo>
                    <a:lnTo>
                      <a:pt x="210947" y="9016"/>
                    </a:lnTo>
                    <a:lnTo>
                      <a:pt x="213868" y="11811"/>
                    </a:lnTo>
                    <a:lnTo>
                      <a:pt x="220472" y="11811"/>
                    </a:lnTo>
                    <a:lnTo>
                      <a:pt x="223012" y="9016"/>
                    </a:lnTo>
                    <a:lnTo>
                      <a:pt x="223012" y="2412"/>
                    </a:lnTo>
                    <a:lnTo>
                      <a:pt x="220472" y="0"/>
                    </a:lnTo>
                    <a:close/>
                  </a:path>
                  <a:path w="317500" h="314325">
                    <a:moveTo>
                      <a:pt x="196850" y="0"/>
                    </a:moveTo>
                    <a:lnTo>
                      <a:pt x="190246" y="0"/>
                    </a:lnTo>
                    <a:lnTo>
                      <a:pt x="187833" y="2412"/>
                    </a:lnTo>
                    <a:lnTo>
                      <a:pt x="187833" y="9016"/>
                    </a:lnTo>
                    <a:lnTo>
                      <a:pt x="190246" y="11811"/>
                    </a:lnTo>
                    <a:lnTo>
                      <a:pt x="196850" y="11811"/>
                    </a:lnTo>
                    <a:lnTo>
                      <a:pt x="199390" y="9016"/>
                    </a:lnTo>
                    <a:lnTo>
                      <a:pt x="199390" y="2412"/>
                    </a:lnTo>
                    <a:lnTo>
                      <a:pt x="196850" y="0"/>
                    </a:lnTo>
                    <a:close/>
                  </a:path>
                  <a:path w="317500" h="314325">
                    <a:moveTo>
                      <a:pt x="173481" y="0"/>
                    </a:moveTo>
                    <a:lnTo>
                      <a:pt x="166877" y="0"/>
                    </a:lnTo>
                    <a:lnTo>
                      <a:pt x="164338" y="2412"/>
                    </a:lnTo>
                    <a:lnTo>
                      <a:pt x="164338" y="9016"/>
                    </a:lnTo>
                    <a:lnTo>
                      <a:pt x="166877" y="11811"/>
                    </a:lnTo>
                    <a:lnTo>
                      <a:pt x="173481" y="11811"/>
                    </a:lnTo>
                    <a:lnTo>
                      <a:pt x="175895" y="9016"/>
                    </a:lnTo>
                    <a:lnTo>
                      <a:pt x="175895" y="2412"/>
                    </a:lnTo>
                    <a:lnTo>
                      <a:pt x="173481" y="0"/>
                    </a:lnTo>
                    <a:close/>
                  </a:path>
                  <a:path w="317500" h="314325">
                    <a:moveTo>
                      <a:pt x="150241" y="0"/>
                    </a:moveTo>
                    <a:lnTo>
                      <a:pt x="143255" y="0"/>
                    </a:lnTo>
                    <a:lnTo>
                      <a:pt x="140716" y="2412"/>
                    </a:lnTo>
                    <a:lnTo>
                      <a:pt x="140716" y="9016"/>
                    </a:lnTo>
                    <a:lnTo>
                      <a:pt x="143255" y="11811"/>
                    </a:lnTo>
                    <a:lnTo>
                      <a:pt x="150241" y="11811"/>
                    </a:lnTo>
                    <a:lnTo>
                      <a:pt x="152780" y="9016"/>
                    </a:lnTo>
                    <a:lnTo>
                      <a:pt x="152780" y="2412"/>
                    </a:lnTo>
                    <a:lnTo>
                      <a:pt x="150241" y="0"/>
                    </a:lnTo>
                    <a:close/>
                  </a:path>
                  <a:path w="317500" h="314325">
                    <a:moveTo>
                      <a:pt x="126873" y="0"/>
                    </a:moveTo>
                    <a:lnTo>
                      <a:pt x="119761" y="0"/>
                    </a:lnTo>
                    <a:lnTo>
                      <a:pt x="117348" y="2412"/>
                    </a:lnTo>
                    <a:lnTo>
                      <a:pt x="117348" y="9016"/>
                    </a:lnTo>
                    <a:lnTo>
                      <a:pt x="119761" y="11811"/>
                    </a:lnTo>
                    <a:lnTo>
                      <a:pt x="126873" y="11811"/>
                    </a:lnTo>
                    <a:lnTo>
                      <a:pt x="129286" y="9016"/>
                    </a:lnTo>
                    <a:lnTo>
                      <a:pt x="129286" y="2412"/>
                    </a:lnTo>
                    <a:lnTo>
                      <a:pt x="126873" y="0"/>
                    </a:lnTo>
                    <a:close/>
                  </a:path>
                  <a:path w="317500" h="314325">
                    <a:moveTo>
                      <a:pt x="102870" y="0"/>
                    </a:moveTo>
                    <a:lnTo>
                      <a:pt x="96647" y="0"/>
                    </a:lnTo>
                    <a:lnTo>
                      <a:pt x="94106" y="2412"/>
                    </a:lnTo>
                    <a:lnTo>
                      <a:pt x="94106" y="9016"/>
                    </a:lnTo>
                    <a:lnTo>
                      <a:pt x="96647" y="11811"/>
                    </a:lnTo>
                    <a:lnTo>
                      <a:pt x="102870" y="11811"/>
                    </a:lnTo>
                    <a:lnTo>
                      <a:pt x="105664" y="9016"/>
                    </a:lnTo>
                    <a:lnTo>
                      <a:pt x="105664" y="2412"/>
                    </a:lnTo>
                    <a:lnTo>
                      <a:pt x="102870" y="0"/>
                    </a:lnTo>
                    <a:close/>
                  </a:path>
                  <a:path w="317500" h="314325">
                    <a:moveTo>
                      <a:pt x="79375" y="0"/>
                    </a:moveTo>
                    <a:lnTo>
                      <a:pt x="73151" y="0"/>
                    </a:lnTo>
                    <a:lnTo>
                      <a:pt x="70739" y="2412"/>
                    </a:lnTo>
                    <a:lnTo>
                      <a:pt x="70739" y="9016"/>
                    </a:lnTo>
                    <a:lnTo>
                      <a:pt x="73151" y="11811"/>
                    </a:lnTo>
                    <a:lnTo>
                      <a:pt x="79375" y="11811"/>
                    </a:lnTo>
                    <a:lnTo>
                      <a:pt x="82296" y="9016"/>
                    </a:lnTo>
                    <a:lnTo>
                      <a:pt x="82296" y="2412"/>
                    </a:lnTo>
                    <a:lnTo>
                      <a:pt x="79375" y="0"/>
                    </a:lnTo>
                    <a:close/>
                  </a:path>
                  <a:path w="317500" h="314325">
                    <a:moveTo>
                      <a:pt x="56134" y="0"/>
                    </a:moveTo>
                    <a:lnTo>
                      <a:pt x="49529" y="0"/>
                    </a:lnTo>
                    <a:lnTo>
                      <a:pt x="47117" y="2412"/>
                    </a:lnTo>
                    <a:lnTo>
                      <a:pt x="47117" y="9016"/>
                    </a:lnTo>
                    <a:lnTo>
                      <a:pt x="49529" y="11811"/>
                    </a:lnTo>
                    <a:lnTo>
                      <a:pt x="56134" y="11811"/>
                    </a:lnTo>
                    <a:lnTo>
                      <a:pt x="58674" y="9016"/>
                    </a:lnTo>
                    <a:lnTo>
                      <a:pt x="58674" y="2412"/>
                    </a:lnTo>
                    <a:lnTo>
                      <a:pt x="56134" y="0"/>
                    </a:lnTo>
                    <a:close/>
                  </a:path>
                  <a:path w="317500" h="314325">
                    <a:moveTo>
                      <a:pt x="32766" y="0"/>
                    </a:moveTo>
                    <a:lnTo>
                      <a:pt x="26543" y="0"/>
                    </a:lnTo>
                    <a:lnTo>
                      <a:pt x="23622" y="2412"/>
                    </a:lnTo>
                    <a:lnTo>
                      <a:pt x="23622" y="9016"/>
                    </a:lnTo>
                    <a:lnTo>
                      <a:pt x="26543" y="11811"/>
                    </a:lnTo>
                    <a:lnTo>
                      <a:pt x="32766" y="11811"/>
                    </a:lnTo>
                    <a:lnTo>
                      <a:pt x="35178" y="9016"/>
                    </a:lnTo>
                    <a:lnTo>
                      <a:pt x="35178" y="2412"/>
                    </a:lnTo>
                    <a:lnTo>
                      <a:pt x="32766" y="0"/>
                    </a:lnTo>
                    <a:close/>
                  </a:path>
                  <a:path w="317500" h="314325">
                    <a:moveTo>
                      <a:pt x="9144" y="0"/>
                    </a:moveTo>
                    <a:lnTo>
                      <a:pt x="2921" y="0"/>
                    </a:lnTo>
                    <a:lnTo>
                      <a:pt x="0" y="2412"/>
                    </a:lnTo>
                    <a:lnTo>
                      <a:pt x="0" y="9016"/>
                    </a:lnTo>
                    <a:lnTo>
                      <a:pt x="2921" y="11811"/>
                    </a:lnTo>
                    <a:lnTo>
                      <a:pt x="9144" y="11811"/>
                    </a:lnTo>
                    <a:lnTo>
                      <a:pt x="11556" y="9016"/>
                    </a:lnTo>
                    <a:lnTo>
                      <a:pt x="11556" y="241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5" name="组合 54"/>
            <p:cNvGrpSpPr>
              <a:grpSpLocks noChangeAspect="1"/>
            </p:cNvGrpSpPr>
            <p:nvPr/>
          </p:nvGrpSpPr>
          <p:grpSpPr>
            <a:xfrm>
              <a:off x="2351584" y="3017207"/>
              <a:ext cx="624790" cy="616868"/>
              <a:chOff x="8269007" y="2787537"/>
              <a:chExt cx="350520" cy="346075"/>
            </a:xfrm>
          </p:grpSpPr>
          <p:sp>
            <p:nvSpPr>
              <p:cNvPr id="56" name="object 32"/>
              <p:cNvSpPr/>
              <p:nvPr/>
            </p:nvSpPr>
            <p:spPr>
              <a:xfrm>
                <a:off x="8269007" y="2787537"/>
                <a:ext cx="350520" cy="346075"/>
              </a:xfrm>
              <a:custGeom>
                <a:avLst/>
                <a:gdLst/>
                <a:ahLst/>
                <a:cxnLst/>
                <a:rect l="l" t="t" r="r" b="b"/>
                <a:pathLst>
                  <a:path w="350520" h="346075">
                    <a:moveTo>
                      <a:pt x="345312" y="0"/>
                    </a:moveTo>
                    <a:lnTo>
                      <a:pt x="5206" y="0"/>
                    </a:lnTo>
                    <a:lnTo>
                      <a:pt x="0" y="5079"/>
                    </a:lnTo>
                    <a:lnTo>
                      <a:pt x="0" y="340867"/>
                    </a:lnTo>
                    <a:lnTo>
                      <a:pt x="5206" y="345948"/>
                    </a:lnTo>
                    <a:lnTo>
                      <a:pt x="345312" y="345948"/>
                    </a:lnTo>
                    <a:lnTo>
                      <a:pt x="350519" y="340867"/>
                    </a:lnTo>
                    <a:lnTo>
                      <a:pt x="350519" y="5079"/>
                    </a:lnTo>
                    <a:close/>
                  </a:path>
                </a:pathLst>
              </a:custGeom>
              <a:solidFill>
                <a:srgbClr val="0386C1"/>
              </a:solidFill>
              <a:effectLst/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7" name="object 33"/>
              <p:cNvSpPr/>
              <p:nvPr/>
            </p:nvSpPr>
            <p:spPr>
              <a:xfrm>
                <a:off x="8285517" y="2800998"/>
                <a:ext cx="317500" cy="314325"/>
              </a:xfrm>
              <a:custGeom>
                <a:avLst/>
                <a:gdLst/>
                <a:ahLst/>
                <a:cxnLst/>
                <a:rect l="l" t="t" r="r" b="b"/>
                <a:pathLst>
                  <a:path w="317500" h="314325">
                    <a:moveTo>
                      <a:pt x="314071" y="302387"/>
                    </a:moveTo>
                    <a:lnTo>
                      <a:pt x="307594" y="302387"/>
                    </a:lnTo>
                    <a:lnTo>
                      <a:pt x="305053" y="304926"/>
                    </a:lnTo>
                    <a:lnTo>
                      <a:pt x="305053" y="311530"/>
                    </a:lnTo>
                    <a:lnTo>
                      <a:pt x="307594" y="313943"/>
                    </a:lnTo>
                    <a:lnTo>
                      <a:pt x="314071" y="313943"/>
                    </a:lnTo>
                    <a:lnTo>
                      <a:pt x="316992" y="311530"/>
                    </a:lnTo>
                    <a:lnTo>
                      <a:pt x="316992" y="304926"/>
                    </a:lnTo>
                    <a:lnTo>
                      <a:pt x="314071" y="302387"/>
                    </a:lnTo>
                    <a:close/>
                  </a:path>
                  <a:path w="317500" h="314325">
                    <a:moveTo>
                      <a:pt x="290956" y="302387"/>
                    </a:moveTo>
                    <a:lnTo>
                      <a:pt x="284606" y="302387"/>
                    </a:lnTo>
                    <a:lnTo>
                      <a:pt x="281940" y="305053"/>
                    </a:lnTo>
                    <a:lnTo>
                      <a:pt x="281940" y="311403"/>
                    </a:lnTo>
                    <a:lnTo>
                      <a:pt x="284606" y="313943"/>
                    </a:lnTo>
                    <a:lnTo>
                      <a:pt x="290956" y="313943"/>
                    </a:lnTo>
                    <a:lnTo>
                      <a:pt x="293497" y="311403"/>
                    </a:lnTo>
                    <a:lnTo>
                      <a:pt x="293497" y="305053"/>
                    </a:lnTo>
                    <a:lnTo>
                      <a:pt x="290956" y="302387"/>
                    </a:lnTo>
                    <a:close/>
                  </a:path>
                  <a:path w="317500" h="314325">
                    <a:moveTo>
                      <a:pt x="267462" y="302387"/>
                    </a:moveTo>
                    <a:lnTo>
                      <a:pt x="261112" y="302387"/>
                    </a:lnTo>
                    <a:lnTo>
                      <a:pt x="258445" y="305053"/>
                    </a:lnTo>
                    <a:lnTo>
                      <a:pt x="258445" y="311403"/>
                    </a:lnTo>
                    <a:lnTo>
                      <a:pt x="261112" y="313943"/>
                    </a:lnTo>
                    <a:lnTo>
                      <a:pt x="267462" y="313943"/>
                    </a:lnTo>
                    <a:lnTo>
                      <a:pt x="270128" y="311403"/>
                    </a:lnTo>
                    <a:lnTo>
                      <a:pt x="270128" y="305053"/>
                    </a:lnTo>
                    <a:lnTo>
                      <a:pt x="267462" y="302387"/>
                    </a:lnTo>
                    <a:close/>
                  </a:path>
                  <a:path w="317500" h="314325">
                    <a:moveTo>
                      <a:pt x="243840" y="302387"/>
                    </a:moveTo>
                    <a:lnTo>
                      <a:pt x="237236" y="302387"/>
                    </a:lnTo>
                    <a:lnTo>
                      <a:pt x="234569" y="305053"/>
                    </a:lnTo>
                    <a:lnTo>
                      <a:pt x="234569" y="311403"/>
                    </a:lnTo>
                    <a:lnTo>
                      <a:pt x="237236" y="313943"/>
                    </a:lnTo>
                    <a:lnTo>
                      <a:pt x="243840" y="313943"/>
                    </a:lnTo>
                    <a:lnTo>
                      <a:pt x="246506" y="311403"/>
                    </a:lnTo>
                    <a:lnTo>
                      <a:pt x="246506" y="305053"/>
                    </a:lnTo>
                    <a:lnTo>
                      <a:pt x="243840" y="302387"/>
                    </a:lnTo>
                    <a:close/>
                  </a:path>
                  <a:path w="317500" h="314325">
                    <a:moveTo>
                      <a:pt x="220345" y="302387"/>
                    </a:moveTo>
                    <a:lnTo>
                      <a:pt x="213614" y="302387"/>
                    </a:lnTo>
                    <a:lnTo>
                      <a:pt x="210947" y="305053"/>
                    </a:lnTo>
                    <a:lnTo>
                      <a:pt x="210947" y="311403"/>
                    </a:lnTo>
                    <a:lnTo>
                      <a:pt x="213614" y="313943"/>
                    </a:lnTo>
                    <a:lnTo>
                      <a:pt x="220345" y="313943"/>
                    </a:lnTo>
                    <a:lnTo>
                      <a:pt x="223012" y="311403"/>
                    </a:lnTo>
                    <a:lnTo>
                      <a:pt x="223012" y="305053"/>
                    </a:lnTo>
                    <a:lnTo>
                      <a:pt x="220345" y="302387"/>
                    </a:lnTo>
                    <a:close/>
                  </a:path>
                  <a:path w="317500" h="314325">
                    <a:moveTo>
                      <a:pt x="196850" y="302387"/>
                    </a:moveTo>
                    <a:lnTo>
                      <a:pt x="190373" y="302387"/>
                    </a:lnTo>
                    <a:lnTo>
                      <a:pt x="187833" y="305053"/>
                    </a:lnTo>
                    <a:lnTo>
                      <a:pt x="187833" y="311403"/>
                    </a:lnTo>
                    <a:lnTo>
                      <a:pt x="190373" y="313943"/>
                    </a:lnTo>
                    <a:lnTo>
                      <a:pt x="196850" y="313943"/>
                    </a:lnTo>
                    <a:lnTo>
                      <a:pt x="199390" y="311403"/>
                    </a:lnTo>
                    <a:lnTo>
                      <a:pt x="199390" y="305053"/>
                    </a:lnTo>
                    <a:lnTo>
                      <a:pt x="196850" y="302387"/>
                    </a:lnTo>
                    <a:close/>
                  </a:path>
                  <a:path w="317500" h="314325">
                    <a:moveTo>
                      <a:pt x="173354" y="302387"/>
                    </a:moveTo>
                    <a:lnTo>
                      <a:pt x="167004" y="302387"/>
                    </a:lnTo>
                    <a:lnTo>
                      <a:pt x="164338" y="305053"/>
                    </a:lnTo>
                    <a:lnTo>
                      <a:pt x="164338" y="311403"/>
                    </a:lnTo>
                    <a:lnTo>
                      <a:pt x="167004" y="313943"/>
                    </a:lnTo>
                    <a:lnTo>
                      <a:pt x="173354" y="313943"/>
                    </a:lnTo>
                    <a:lnTo>
                      <a:pt x="175895" y="311403"/>
                    </a:lnTo>
                    <a:lnTo>
                      <a:pt x="175895" y="305053"/>
                    </a:lnTo>
                    <a:lnTo>
                      <a:pt x="173354" y="302387"/>
                    </a:lnTo>
                    <a:close/>
                  </a:path>
                  <a:path w="317500" h="314325">
                    <a:moveTo>
                      <a:pt x="150114" y="302387"/>
                    </a:moveTo>
                    <a:lnTo>
                      <a:pt x="143383" y="302387"/>
                    </a:lnTo>
                    <a:lnTo>
                      <a:pt x="140716" y="305053"/>
                    </a:lnTo>
                    <a:lnTo>
                      <a:pt x="140716" y="311403"/>
                    </a:lnTo>
                    <a:lnTo>
                      <a:pt x="143383" y="313943"/>
                    </a:lnTo>
                    <a:lnTo>
                      <a:pt x="150114" y="313943"/>
                    </a:lnTo>
                    <a:lnTo>
                      <a:pt x="152780" y="311403"/>
                    </a:lnTo>
                    <a:lnTo>
                      <a:pt x="152780" y="305053"/>
                    </a:lnTo>
                    <a:lnTo>
                      <a:pt x="150114" y="302387"/>
                    </a:lnTo>
                    <a:close/>
                  </a:path>
                  <a:path w="317500" h="314325">
                    <a:moveTo>
                      <a:pt x="126619" y="302387"/>
                    </a:moveTo>
                    <a:lnTo>
                      <a:pt x="120015" y="302387"/>
                    </a:lnTo>
                    <a:lnTo>
                      <a:pt x="117348" y="305053"/>
                    </a:lnTo>
                    <a:lnTo>
                      <a:pt x="117348" y="311403"/>
                    </a:lnTo>
                    <a:lnTo>
                      <a:pt x="120015" y="313943"/>
                    </a:lnTo>
                    <a:lnTo>
                      <a:pt x="126619" y="313943"/>
                    </a:lnTo>
                    <a:lnTo>
                      <a:pt x="129286" y="311403"/>
                    </a:lnTo>
                    <a:lnTo>
                      <a:pt x="129286" y="305053"/>
                    </a:lnTo>
                    <a:lnTo>
                      <a:pt x="126619" y="302387"/>
                    </a:lnTo>
                    <a:close/>
                  </a:path>
                  <a:path w="317500" h="314325">
                    <a:moveTo>
                      <a:pt x="103124" y="302387"/>
                    </a:moveTo>
                    <a:lnTo>
                      <a:pt x="96774" y="302387"/>
                    </a:lnTo>
                    <a:lnTo>
                      <a:pt x="94106" y="305053"/>
                    </a:lnTo>
                    <a:lnTo>
                      <a:pt x="94106" y="311403"/>
                    </a:lnTo>
                    <a:lnTo>
                      <a:pt x="96774" y="313943"/>
                    </a:lnTo>
                    <a:lnTo>
                      <a:pt x="103124" y="313943"/>
                    </a:lnTo>
                    <a:lnTo>
                      <a:pt x="105664" y="311403"/>
                    </a:lnTo>
                    <a:lnTo>
                      <a:pt x="105664" y="305053"/>
                    </a:lnTo>
                    <a:lnTo>
                      <a:pt x="103124" y="302387"/>
                    </a:lnTo>
                    <a:close/>
                  </a:path>
                  <a:path w="317500" h="314325">
                    <a:moveTo>
                      <a:pt x="79628" y="302387"/>
                    </a:moveTo>
                    <a:lnTo>
                      <a:pt x="73278" y="302387"/>
                    </a:lnTo>
                    <a:lnTo>
                      <a:pt x="70739" y="305053"/>
                    </a:lnTo>
                    <a:lnTo>
                      <a:pt x="70739" y="311403"/>
                    </a:lnTo>
                    <a:lnTo>
                      <a:pt x="73278" y="313943"/>
                    </a:lnTo>
                    <a:lnTo>
                      <a:pt x="79628" y="313943"/>
                    </a:lnTo>
                    <a:lnTo>
                      <a:pt x="82296" y="311403"/>
                    </a:lnTo>
                    <a:lnTo>
                      <a:pt x="82296" y="305053"/>
                    </a:lnTo>
                    <a:lnTo>
                      <a:pt x="79628" y="302387"/>
                    </a:lnTo>
                    <a:close/>
                  </a:path>
                  <a:path w="317500" h="314325">
                    <a:moveTo>
                      <a:pt x="56006" y="302387"/>
                    </a:moveTo>
                    <a:lnTo>
                      <a:pt x="49656" y="302387"/>
                    </a:lnTo>
                    <a:lnTo>
                      <a:pt x="47117" y="305053"/>
                    </a:lnTo>
                    <a:lnTo>
                      <a:pt x="47117" y="311403"/>
                    </a:lnTo>
                    <a:lnTo>
                      <a:pt x="49656" y="313943"/>
                    </a:lnTo>
                    <a:lnTo>
                      <a:pt x="56006" y="313943"/>
                    </a:lnTo>
                    <a:lnTo>
                      <a:pt x="58674" y="311403"/>
                    </a:lnTo>
                    <a:lnTo>
                      <a:pt x="58674" y="305053"/>
                    </a:lnTo>
                    <a:lnTo>
                      <a:pt x="56006" y="302387"/>
                    </a:lnTo>
                    <a:close/>
                  </a:path>
                  <a:path w="317500" h="314325">
                    <a:moveTo>
                      <a:pt x="32639" y="302387"/>
                    </a:moveTo>
                    <a:lnTo>
                      <a:pt x="26162" y="302387"/>
                    </a:lnTo>
                    <a:lnTo>
                      <a:pt x="23622" y="305053"/>
                    </a:lnTo>
                    <a:lnTo>
                      <a:pt x="23622" y="311403"/>
                    </a:lnTo>
                    <a:lnTo>
                      <a:pt x="26162" y="313943"/>
                    </a:lnTo>
                    <a:lnTo>
                      <a:pt x="32639" y="313943"/>
                    </a:lnTo>
                    <a:lnTo>
                      <a:pt x="35178" y="311403"/>
                    </a:lnTo>
                    <a:lnTo>
                      <a:pt x="35178" y="305053"/>
                    </a:lnTo>
                    <a:lnTo>
                      <a:pt x="32639" y="302387"/>
                    </a:lnTo>
                    <a:close/>
                  </a:path>
                  <a:path w="317500" h="314325">
                    <a:moveTo>
                      <a:pt x="9017" y="302387"/>
                    </a:moveTo>
                    <a:lnTo>
                      <a:pt x="2540" y="302387"/>
                    </a:lnTo>
                    <a:lnTo>
                      <a:pt x="0" y="305053"/>
                    </a:lnTo>
                    <a:lnTo>
                      <a:pt x="0" y="311403"/>
                    </a:lnTo>
                    <a:lnTo>
                      <a:pt x="2540" y="313943"/>
                    </a:lnTo>
                    <a:lnTo>
                      <a:pt x="9017" y="313943"/>
                    </a:lnTo>
                    <a:lnTo>
                      <a:pt x="11556" y="311403"/>
                    </a:lnTo>
                    <a:lnTo>
                      <a:pt x="11556" y="305053"/>
                    </a:lnTo>
                    <a:lnTo>
                      <a:pt x="9017" y="302387"/>
                    </a:lnTo>
                    <a:close/>
                  </a:path>
                  <a:path w="317500" h="314325">
                    <a:moveTo>
                      <a:pt x="314071" y="278891"/>
                    </a:moveTo>
                    <a:lnTo>
                      <a:pt x="307594" y="278891"/>
                    </a:lnTo>
                    <a:lnTo>
                      <a:pt x="305053" y="281813"/>
                    </a:lnTo>
                    <a:lnTo>
                      <a:pt x="305053" y="288036"/>
                    </a:lnTo>
                    <a:lnTo>
                      <a:pt x="307594" y="290449"/>
                    </a:lnTo>
                    <a:lnTo>
                      <a:pt x="314071" y="290449"/>
                    </a:lnTo>
                    <a:lnTo>
                      <a:pt x="316992" y="288036"/>
                    </a:lnTo>
                    <a:lnTo>
                      <a:pt x="316992" y="281813"/>
                    </a:lnTo>
                    <a:lnTo>
                      <a:pt x="314071" y="278891"/>
                    </a:lnTo>
                    <a:close/>
                  </a:path>
                  <a:path w="317500" h="314325">
                    <a:moveTo>
                      <a:pt x="290956" y="278891"/>
                    </a:moveTo>
                    <a:lnTo>
                      <a:pt x="284606" y="278891"/>
                    </a:lnTo>
                    <a:lnTo>
                      <a:pt x="281940" y="281559"/>
                    </a:lnTo>
                    <a:lnTo>
                      <a:pt x="281940" y="287909"/>
                    </a:lnTo>
                    <a:lnTo>
                      <a:pt x="284606" y="290449"/>
                    </a:lnTo>
                    <a:lnTo>
                      <a:pt x="290956" y="290449"/>
                    </a:lnTo>
                    <a:lnTo>
                      <a:pt x="293497" y="287909"/>
                    </a:lnTo>
                    <a:lnTo>
                      <a:pt x="293497" y="281559"/>
                    </a:lnTo>
                    <a:lnTo>
                      <a:pt x="290956" y="278891"/>
                    </a:lnTo>
                    <a:close/>
                  </a:path>
                  <a:path w="317500" h="314325">
                    <a:moveTo>
                      <a:pt x="267462" y="278891"/>
                    </a:moveTo>
                    <a:lnTo>
                      <a:pt x="261112" y="278891"/>
                    </a:lnTo>
                    <a:lnTo>
                      <a:pt x="258445" y="281559"/>
                    </a:lnTo>
                    <a:lnTo>
                      <a:pt x="258445" y="287909"/>
                    </a:lnTo>
                    <a:lnTo>
                      <a:pt x="261112" y="290449"/>
                    </a:lnTo>
                    <a:lnTo>
                      <a:pt x="267462" y="290449"/>
                    </a:lnTo>
                    <a:lnTo>
                      <a:pt x="270128" y="287909"/>
                    </a:lnTo>
                    <a:lnTo>
                      <a:pt x="270128" y="281559"/>
                    </a:lnTo>
                    <a:lnTo>
                      <a:pt x="267462" y="278891"/>
                    </a:lnTo>
                    <a:close/>
                  </a:path>
                  <a:path w="317500" h="314325">
                    <a:moveTo>
                      <a:pt x="243840" y="278891"/>
                    </a:moveTo>
                    <a:lnTo>
                      <a:pt x="237236" y="278891"/>
                    </a:lnTo>
                    <a:lnTo>
                      <a:pt x="234569" y="281559"/>
                    </a:lnTo>
                    <a:lnTo>
                      <a:pt x="234569" y="287909"/>
                    </a:lnTo>
                    <a:lnTo>
                      <a:pt x="237236" y="290449"/>
                    </a:lnTo>
                    <a:lnTo>
                      <a:pt x="243840" y="290449"/>
                    </a:lnTo>
                    <a:lnTo>
                      <a:pt x="246506" y="287909"/>
                    </a:lnTo>
                    <a:lnTo>
                      <a:pt x="246506" y="281559"/>
                    </a:lnTo>
                    <a:lnTo>
                      <a:pt x="243840" y="278891"/>
                    </a:lnTo>
                    <a:close/>
                  </a:path>
                  <a:path w="317500" h="314325">
                    <a:moveTo>
                      <a:pt x="220345" y="278891"/>
                    </a:moveTo>
                    <a:lnTo>
                      <a:pt x="213614" y="278891"/>
                    </a:lnTo>
                    <a:lnTo>
                      <a:pt x="210947" y="281559"/>
                    </a:lnTo>
                    <a:lnTo>
                      <a:pt x="210947" y="287909"/>
                    </a:lnTo>
                    <a:lnTo>
                      <a:pt x="213614" y="290449"/>
                    </a:lnTo>
                    <a:lnTo>
                      <a:pt x="220345" y="290449"/>
                    </a:lnTo>
                    <a:lnTo>
                      <a:pt x="223012" y="287909"/>
                    </a:lnTo>
                    <a:lnTo>
                      <a:pt x="223012" y="281559"/>
                    </a:lnTo>
                    <a:lnTo>
                      <a:pt x="220345" y="278891"/>
                    </a:lnTo>
                    <a:close/>
                  </a:path>
                  <a:path w="317500" h="314325">
                    <a:moveTo>
                      <a:pt x="196850" y="278891"/>
                    </a:moveTo>
                    <a:lnTo>
                      <a:pt x="190373" y="278891"/>
                    </a:lnTo>
                    <a:lnTo>
                      <a:pt x="187833" y="281559"/>
                    </a:lnTo>
                    <a:lnTo>
                      <a:pt x="187833" y="287909"/>
                    </a:lnTo>
                    <a:lnTo>
                      <a:pt x="190373" y="290449"/>
                    </a:lnTo>
                    <a:lnTo>
                      <a:pt x="196850" y="290449"/>
                    </a:lnTo>
                    <a:lnTo>
                      <a:pt x="199390" y="287909"/>
                    </a:lnTo>
                    <a:lnTo>
                      <a:pt x="199390" y="281559"/>
                    </a:lnTo>
                    <a:lnTo>
                      <a:pt x="196850" y="278891"/>
                    </a:lnTo>
                    <a:close/>
                  </a:path>
                  <a:path w="317500" h="314325">
                    <a:moveTo>
                      <a:pt x="173354" y="278891"/>
                    </a:moveTo>
                    <a:lnTo>
                      <a:pt x="167004" y="278891"/>
                    </a:lnTo>
                    <a:lnTo>
                      <a:pt x="164338" y="281559"/>
                    </a:lnTo>
                    <a:lnTo>
                      <a:pt x="164338" y="287909"/>
                    </a:lnTo>
                    <a:lnTo>
                      <a:pt x="167004" y="290449"/>
                    </a:lnTo>
                    <a:lnTo>
                      <a:pt x="173354" y="290449"/>
                    </a:lnTo>
                    <a:lnTo>
                      <a:pt x="175895" y="287909"/>
                    </a:lnTo>
                    <a:lnTo>
                      <a:pt x="175895" y="281559"/>
                    </a:lnTo>
                    <a:lnTo>
                      <a:pt x="173354" y="278891"/>
                    </a:lnTo>
                    <a:close/>
                  </a:path>
                  <a:path w="317500" h="314325">
                    <a:moveTo>
                      <a:pt x="150114" y="278891"/>
                    </a:moveTo>
                    <a:lnTo>
                      <a:pt x="143383" y="278891"/>
                    </a:lnTo>
                    <a:lnTo>
                      <a:pt x="140716" y="281559"/>
                    </a:lnTo>
                    <a:lnTo>
                      <a:pt x="140716" y="287909"/>
                    </a:lnTo>
                    <a:lnTo>
                      <a:pt x="143383" y="290449"/>
                    </a:lnTo>
                    <a:lnTo>
                      <a:pt x="150114" y="290449"/>
                    </a:lnTo>
                    <a:lnTo>
                      <a:pt x="152780" y="287909"/>
                    </a:lnTo>
                    <a:lnTo>
                      <a:pt x="152780" y="281559"/>
                    </a:lnTo>
                    <a:lnTo>
                      <a:pt x="150114" y="278891"/>
                    </a:lnTo>
                    <a:close/>
                  </a:path>
                  <a:path w="317500" h="314325">
                    <a:moveTo>
                      <a:pt x="126619" y="278891"/>
                    </a:moveTo>
                    <a:lnTo>
                      <a:pt x="120015" y="278891"/>
                    </a:lnTo>
                    <a:lnTo>
                      <a:pt x="117348" y="281559"/>
                    </a:lnTo>
                    <a:lnTo>
                      <a:pt x="117348" y="287909"/>
                    </a:lnTo>
                    <a:lnTo>
                      <a:pt x="120015" y="290449"/>
                    </a:lnTo>
                    <a:lnTo>
                      <a:pt x="126619" y="290449"/>
                    </a:lnTo>
                    <a:lnTo>
                      <a:pt x="129286" y="287909"/>
                    </a:lnTo>
                    <a:lnTo>
                      <a:pt x="129286" y="281559"/>
                    </a:lnTo>
                    <a:lnTo>
                      <a:pt x="126619" y="278891"/>
                    </a:lnTo>
                    <a:close/>
                  </a:path>
                  <a:path w="317500" h="314325">
                    <a:moveTo>
                      <a:pt x="103124" y="278891"/>
                    </a:moveTo>
                    <a:lnTo>
                      <a:pt x="96774" y="278891"/>
                    </a:lnTo>
                    <a:lnTo>
                      <a:pt x="94106" y="281559"/>
                    </a:lnTo>
                    <a:lnTo>
                      <a:pt x="94106" y="287909"/>
                    </a:lnTo>
                    <a:lnTo>
                      <a:pt x="96774" y="290449"/>
                    </a:lnTo>
                    <a:lnTo>
                      <a:pt x="103124" y="290449"/>
                    </a:lnTo>
                    <a:lnTo>
                      <a:pt x="105664" y="287909"/>
                    </a:lnTo>
                    <a:lnTo>
                      <a:pt x="105664" y="281559"/>
                    </a:lnTo>
                    <a:lnTo>
                      <a:pt x="103124" y="278891"/>
                    </a:lnTo>
                    <a:close/>
                  </a:path>
                  <a:path w="317500" h="314325">
                    <a:moveTo>
                      <a:pt x="79628" y="278891"/>
                    </a:moveTo>
                    <a:lnTo>
                      <a:pt x="73278" y="278891"/>
                    </a:lnTo>
                    <a:lnTo>
                      <a:pt x="70739" y="281559"/>
                    </a:lnTo>
                    <a:lnTo>
                      <a:pt x="70739" y="287909"/>
                    </a:lnTo>
                    <a:lnTo>
                      <a:pt x="73278" y="290449"/>
                    </a:lnTo>
                    <a:lnTo>
                      <a:pt x="79628" y="290449"/>
                    </a:lnTo>
                    <a:lnTo>
                      <a:pt x="82296" y="287909"/>
                    </a:lnTo>
                    <a:lnTo>
                      <a:pt x="82296" y="281559"/>
                    </a:lnTo>
                    <a:lnTo>
                      <a:pt x="79628" y="278891"/>
                    </a:lnTo>
                    <a:close/>
                  </a:path>
                  <a:path w="317500" h="314325">
                    <a:moveTo>
                      <a:pt x="56006" y="278891"/>
                    </a:moveTo>
                    <a:lnTo>
                      <a:pt x="49656" y="278891"/>
                    </a:lnTo>
                    <a:lnTo>
                      <a:pt x="47117" y="281559"/>
                    </a:lnTo>
                    <a:lnTo>
                      <a:pt x="47117" y="287909"/>
                    </a:lnTo>
                    <a:lnTo>
                      <a:pt x="49656" y="290449"/>
                    </a:lnTo>
                    <a:lnTo>
                      <a:pt x="56006" y="290449"/>
                    </a:lnTo>
                    <a:lnTo>
                      <a:pt x="58674" y="287909"/>
                    </a:lnTo>
                    <a:lnTo>
                      <a:pt x="58674" y="281559"/>
                    </a:lnTo>
                    <a:lnTo>
                      <a:pt x="56006" y="278891"/>
                    </a:lnTo>
                    <a:close/>
                  </a:path>
                  <a:path w="317500" h="314325">
                    <a:moveTo>
                      <a:pt x="32639" y="278891"/>
                    </a:moveTo>
                    <a:lnTo>
                      <a:pt x="26162" y="278891"/>
                    </a:lnTo>
                    <a:lnTo>
                      <a:pt x="23622" y="281559"/>
                    </a:lnTo>
                    <a:lnTo>
                      <a:pt x="23622" y="287909"/>
                    </a:lnTo>
                    <a:lnTo>
                      <a:pt x="26162" y="290449"/>
                    </a:lnTo>
                    <a:lnTo>
                      <a:pt x="32639" y="290449"/>
                    </a:lnTo>
                    <a:lnTo>
                      <a:pt x="35178" y="287909"/>
                    </a:lnTo>
                    <a:lnTo>
                      <a:pt x="35178" y="281559"/>
                    </a:lnTo>
                    <a:lnTo>
                      <a:pt x="32639" y="278891"/>
                    </a:lnTo>
                    <a:close/>
                  </a:path>
                  <a:path w="317500" h="314325">
                    <a:moveTo>
                      <a:pt x="9017" y="278891"/>
                    </a:moveTo>
                    <a:lnTo>
                      <a:pt x="2540" y="278891"/>
                    </a:lnTo>
                    <a:lnTo>
                      <a:pt x="0" y="281559"/>
                    </a:lnTo>
                    <a:lnTo>
                      <a:pt x="0" y="287909"/>
                    </a:lnTo>
                    <a:lnTo>
                      <a:pt x="2540" y="290449"/>
                    </a:lnTo>
                    <a:lnTo>
                      <a:pt x="9017" y="290449"/>
                    </a:lnTo>
                    <a:lnTo>
                      <a:pt x="11556" y="287909"/>
                    </a:lnTo>
                    <a:lnTo>
                      <a:pt x="11556" y="281559"/>
                    </a:lnTo>
                    <a:lnTo>
                      <a:pt x="9017" y="278891"/>
                    </a:lnTo>
                    <a:close/>
                  </a:path>
                  <a:path w="317500" h="314325">
                    <a:moveTo>
                      <a:pt x="314071" y="255650"/>
                    </a:moveTo>
                    <a:lnTo>
                      <a:pt x="307594" y="255650"/>
                    </a:lnTo>
                    <a:lnTo>
                      <a:pt x="305053" y="258445"/>
                    </a:lnTo>
                    <a:lnTo>
                      <a:pt x="305053" y="264540"/>
                    </a:lnTo>
                    <a:lnTo>
                      <a:pt x="307594" y="267462"/>
                    </a:lnTo>
                    <a:lnTo>
                      <a:pt x="314071" y="267462"/>
                    </a:lnTo>
                    <a:lnTo>
                      <a:pt x="316992" y="264540"/>
                    </a:lnTo>
                    <a:lnTo>
                      <a:pt x="316992" y="258445"/>
                    </a:lnTo>
                    <a:lnTo>
                      <a:pt x="314071" y="255650"/>
                    </a:lnTo>
                    <a:close/>
                  </a:path>
                  <a:path w="317500" h="314325">
                    <a:moveTo>
                      <a:pt x="290956" y="255650"/>
                    </a:moveTo>
                    <a:lnTo>
                      <a:pt x="284606" y="255650"/>
                    </a:lnTo>
                    <a:lnTo>
                      <a:pt x="281940" y="258190"/>
                    </a:lnTo>
                    <a:lnTo>
                      <a:pt x="281940" y="264795"/>
                    </a:lnTo>
                    <a:lnTo>
                      <a:pt x="284606" y="267462"/>
                    </a:lnTo>
                    <a:lnTo>
                      <a:pt x="290956" y="267462"/>
                    </a:lnTo>
                    <a:lnTo>
                      <a:pt x="293497" y="264795"/>
                    </a:lnTo>
                    <a:lnTo>
                      <a:pt x="293497" y="258190"/>
                    </a:lnTo>
                    <a:lnTo>
                      <a:pt x="290956" y="255650"/>
                    </a:lnTo>
                    <a:close/>
                  </a:path>
                  <a:path w="317500" h="314325">
                    <a:moveTo>
                      <a:pt x="32639" y="255650"/>
                    </a:moveTo>
                    <a:lnTo>
                      <a:pt x="26162" y="255650"/>
                    </a:lnTo>
                    <a:lnTo>
                      <a:pt x="23622" y="258190"/>
                    </a:lnTo>
                    <a:lnTo>
                      <a:pt x="23622" y="264795"/>
                    </a:lnTo>
                    <a:lnTo>
                      <a:pt x="26162" y="267462"/>
                    </a:lnTo>
                    <a:lnTo>
                      <a:pt x="32639" y="267462"/>
                    </a:lnTo>
                    <a:lnTo>
                      <a:pt x="35178" y="264795"/>
                    </a:lnTo>
                    <a:lnTo>
                      <a:pt x="35178" y="258190"/>
                    </a:lnTo>
                    <a:lnTo>
                      <a:pt x="32639" y="255650"/>
                    </a:lnTo>
                    <a:close/>
                  </a:path>
                  <a:path w="317500" h="314325">
                    <a:moveTo>
                      <a:pt x="9017" y="255650"/>
                    </a:moveTo>
                    <a:lnTo>
                      <a:pt x="2540" y="255650"/>
                    </a:lnTo>
                    <a:lnTo>
                      <a:pt x="0" y="258190"/>
                    </a:lnTo>
                    <a:lnTo>
                      <a:pt x="0" y="264795"/>
                    </a:lnTo>
                    <a:lnTo>
                      <a:pt x="2540" y="267462"/>
                    </a:lnTo>
                    <a:lnTo>
                      <a:pt x="9017" y="267462"/>
                    </a:lnTo>
                    <a:lnTo>
                      <a:pt x="11556" y="264795"/>
                    </a:lnTo>
                    <a:lnTo>
                      <a:pt x="11556" y="258190"/>
                    </a:lnTo>
                    <a:lnTo>
                      <a:pt x="9017" y="255650"/>
                    </a:lnTo>
                    <a:close/>
                  </a:path>
                  <a:path w="317500" h="314325">
                    <a:moveTo>
                      <a:pt x="314071" y="232537"/>
                    </a:moveTo>
                    <a:lnTo>
                      <a:pt x="307594" y="232537"/>
                    </a:lnTo>
                    <a:lnTo>
                      <a:pt x="305053" y="235076"/>
                    </a:lnTo>
                    <a:lnTo>
                      <a:pt x="305053" y="241680"/>
                    </a:lnTo>
                    <a:lnTo>
                      <a:pt x="307594" y="244093"/>
                    </a:lnTo>
                    <a:lnTo>
                      <a:pt x="314071" y="244093"/>
                    </a:lnTo>
                    <a:lnTo>
                      <a:pt x="316992" y="241680"/>
                    </a:lnTo>
                    <a:lnTo>
                      <a:pt x="316992" y="235076"/>
                    </a:lnTo>
                    <a:lnTo>
                      <a:pt x="314071" y="232537"/>
                    </a:lnTo>
                    <a:close/>
                  </a:path>
                  <a:path w="317500" h="314325">
                    <a:moveTo>
                      <a:pt x="290956" y="232537"/>
                    </a:moveTo>
                    <a:lnTo>
                      <a:pt x="284606" y="232537"/>
                    </a:lnTo>
                    <a:lnTo>
                      <a:pt x="281940" y="235203"/>
                    </a:lnTo>
                    <a:lnTo>
                      <a:pt x="281940" y="241553"/>
                    </a:lnTo>
                    <a:lnTo>
                      <a:pt x="284606" y="244093"/>
                    </a:lnTo>
                    <a:lnTo>
                      <a:pt x="290956" y="244093"/>
                    </a:lnTo>
                    <a:lnTo>
                      <a:pt x="293497" y="241553"/>
                    </a:lnTo>
                    <a:lnTo>
                      <a:pt x="293497" y="235203"/>
                    </a:lnTo>
                    <a:lnTo>
                      <a:pt x="290956" y="232537"/>
                    </a:lnTo>
                    <a:close/>
                  </a:path>
                  <a:path w="317500" h="314325">
                    <a:moveTo>
                      <a:pt x="32639" y="232537"/>
                    </a:moveTo>
                    <a:lnTo>
                      <a:pt x="26162" y="232537"/>
                    </a:lnTo>
                    <a:lnTo>
                      <a:pt x="23622" y="235203"/>
                    </a:lnTo>
                    <a:lnTo>
                      <a:pt x="23622" y="241553"/>
                    </a:lnTo>
                    <a:lnTo>
                      <a:pt x="26162" y="244093"/>
                    </a:lnTo>
                    <a:lnTo>
                      <a:pt x="32639" y="244093"/>
                    </a:lnTo>
                    <a:lnTo>
                      <a:pt x="35178" y="241553"/>
                    </a:lnTo>
                    <a:lnTo>
                      <a:pt x="35178" y="235203"/>
                    </a:lnTo>
                    <a:lnTo>
                      <a:pt x="32639" y="232537"/>
                    </a:lnTo>
                    <a:close/>
                  </a:path>
                  <a:path w="317500" h="314325">
                    <a:moveTo>
                      <a:pt x="9017" y="232537"/>
                    </a:moveTo>
                    <a:lnTo>
                      <a:pt x="2540" y="232537"/>
                    </a:lnTo>
                    <a:lnTo>
                      <a:pt x="0" y="235203"/>
                    </a:lnTo>
                    <a:lnTo>
                      <a:pt x="0" y="241553"/>
                    </a:lnTo>
                    <a:lnTo>
                      <a:pt x="2540" y="244093"/>
                    </a:lnTo>
                    <a:lnTo>
                      <a:pt x="9017" y="244093"/>
                    </a:lnTo>
                    <a:lnTo>
                      <a:pt x="11556" y="241553"/>
                    </a:lnTo>
                    <a:lnTo>
                      <a:pt x="11556" y="235203"/>
                    </a:lnTo>
                    <a:lnTo>
                      <a:pt x="9017" y="232537"/>
                    </a:lnTo>
                    <a:close/>
                  </a:path>
                  <a:path w="317500" h="314325">
                    <a:moveTo>
                      <a:pt x="314071" y="209041"/>
                    </a:moveTo>
                    <a:lnTo>
                      <a:pt x="307594" y="209041"/>
                    </a:lnTo>
                    <a:lnTo>
                      <a:pt x="305053" y="211582"/>
                    </a:lnTo>
                    <a:lnTo>
                      <a:pt x="305053" y="218186"/>
                    </a:lnTo>
                    <a:lnTo>
                      <a:pt x="307594" y="220599"/>
                    </a:lnTo>
                    <a:lnTo>
                      <a:pt x="314071" y="220599"/>
                    </a:lnTo>
                    <a:lnTo>
                      <a:pt x="316992" y="218186"/>
                    </a:lnTo>
                    <a:lnTo>
                      <a:pt x="316992" y="211582"/>
                    </a:lnTo>
                    <a:lnTo>
                      <a:pt x="314071" y="209041"/>
                    </a:lnTo>
                    <a:close/>
                  </a:path>
                  <a:path w="317500" h="314325">
                    <a:moveTo>
                      <a:pt x="290956" y="209041"/>
                    </a:moveTo>
                    <a:lnTo>
                      <a:pt x="284606" y="209041"/>
                    </a:lnTo>
                    <a:lnTo>
                      <a:pt x="281940" y="211709"/>
                    </a:lnTo>
                    <a:lnTo>
                      <a:pt x="281940" y="218059"/>
                    </a:lnTo>
                    <a:lnTo>
                      <a:pt x="284606" y="220599"/>
                    </a:lnTo>
                    <a:lnTo>
                      <a:pt x="290956" y="220599"/>
                    </a:lnTo>
                    <a:lnTo>
                      <a:pt x="293497" y="218059"/>
                    </a:lnTo>
                    <a:lnTo>
                      <a:pt x="293497" y="211709"/>
                    </a:lnTo>
                    <a:lnTo>
                      <a:pt x="290956" y="209041"/>
                    </a:lnTo>
                    <a:close/>
                  </a:path>
                  <a:path w="317500" h="314325">
                    <a:moveTo>
                      <a:pt x="32639" y="209041"/>
                    </a:moveTo>
                    <a:lnTo>
                      <a:pt x="26162" y="209041"/>
                    </a:lnTo>
                    <a:lnTo>
                      <a:pt x="23622" y="211709"/>
                    </a:lnTo>
                    <a:lnTo>
                      <a:pt x="23622" y="218059"/>
                    </a:lnTo>
                    <a:lnTo>
                      <a:pt x="26162" y="220599"/>
                    </a:lnTo>
                    <a:lnTo>
                      <a:pt x="32639" y="220599"/>
                    </a:lnTo>
                    <a:lnTo>
                      <a:pt x="35178" y="218059"/>
                    </a:lnTo>
                    <a:lnTo>
                      <a:pt x="35178" y="211709"/>
                    </a:lnTo>
                    <a:lnTo>
                      <a:pt x="32639" y="209041"/>
                    </a:lnTo>
                    <a:close/>
                  </a:path>
                  <a:path w="317500" h="314325">
                    <a:moveTo>
                      <a:pt x="9017" y="209041"/>
                    </a:moveTo>
                    <a:lnTo>
                      <a:pt x="2540" y="209041"/>
                    </a:lnTo>
                    <a:lnTo>
                      <a:pt x="0" y="211709"/>
                    </a:lnTo>
                    <a:lnTo>
                      <a:pt x="0" y="218059"/>
                    </a:lnTo>
                    <a:lnTo>
                      <a:pt x="2540" y="220599"/>
                    </a:lnTo>
                    <a:lnTo>
                      <a:pt x="9017" y="220599"/>
                    </a:lnTo>
                    <a:lnTo>
                      <a:pt x="11556" y="218059"/>
                    </a:lnTo>
                    <a:lnTo>
                      <a:pt x="11556" y="211709"/>
                    </a:lnTo>
                    <a:lnTo>
                      <a:pt x="9017" y="209041"/>
                    </a:lnTo>
                    <a:close/>
                  </a:path>
                  <a:path w="317500" h="314325">
                    <a:moveTo>
                      <a:pt x="314071" y="185800"/>
                    </a:moveTo>
                    <a:lnTo>
                      <a:pt x="307594" y="185800"/>
                    </a:lnTo>
                    <a:lnTo>
                      <a:pt x="305053" y="188595"/>
                    </a:lnTo>
                    <a:lnTo>
                      <a:pt x="305053" y="195072"/>
                    </a:lnTo>
                    <a:lnTo>
                      <a:pt x="307594" y="197612"/>
                    </a:lnTo>
                    <a:lnTo>
                      <a:pt x="314071" y="197612"/>
                    </a:lnTo>
                    <a:lnTo>
                      <a:pt x="316992" y="195072"/>
                    </a:lnTo>
                    <a:lnTo>
                      <a:pt x="316992" y="188595"/>
                    </a:lnTo>
                    <a:lnTo>
                      <a:pt x="314071" y="185800"/>
                    </a:lnTo>
                    <a:close/>
                  </a:path>
                  <a:path w="317500" h="314325">
                    <a:moveTo>
                      <a:pt x="290702" y="185800"/>
                    </a:moveTo>
                    <a:lnTo>
                      <a:pt x="284479" y="185800"/>
                    </a:lnTo>
                    <a:lnTo>
                      <a:pt x="281940" y="188595"/>
                    </a:lnTo>
                    <a:lnTo>
                      <a:pt x="281940" y="195072"/>
                    </a:lnTo>
                    <a:lnTo>
                      <a:pt x="284479" y="197612"/>
                    </a:lnTo>
                    <a:lnTo>
                      <a:pt x="290702" y="197612"/>
                    </a:lnTo>
                    <a:lnTo>
                      <a:pt x="293497" y="195072"/>
                    </a:lnTo>
                    <a:lnTo>
                      <a:pt x="293497" y="188595"/>
                    </a:lnTo>
                    <a:lnTo>
                      <a:pt x="290702" y="185800"/>
                    </a:lnTo>
                    <a:close/>
                  </a:path>
                  <a:path w="317500" h="314325">
                    <a:moveTo>
                      <a:pt x="32766" y="185800"/>
                    </a:moveTo>
                    <a:lnTo>
                      <a:pt x="26543" y="185800"/>
                    </a:lnTo>
                    <a:lnTo>
                      <a:pt x="23622" y="188595"/>
                    </a:lnTo>
                    <a:lnTo>
                      <a:pt x="23622" y="195072"/>
                    </a:lnTo>
                    <a:lnTo>
                      <a:pt x="26543" y="197612"/>
                    </a:lnTo>
                    <a:lnTo>
                      <a:pt x="32766" y="197612"/>
                    </a:lnTo>
                    <a:lnTo>
                      <a:pt x="35178" y="195072"/>
                    </a:lnTo>
                    <a:lnTo>
                      <a:pt x="35178" y="188595"/>
                    </a:lnTo>
                    <a:lnTo>
                      <a:pt x="32766" y="185800"/>
                    </a:lnTo>
                    <a:close/>
                  </a:path>
                  <a:path w="317500" h="314325">
                    <a:moveTo>
                      <a:pt x="9144" y="185800"/>
                    </a:moveTo>
                    <a:lnTo>
                      <a:pt x="2921" y="185800"/>
                    </a:lnTo>
                    <a:lnTo>
                      <a:pt x="0" y="188595"/>
                    </a:lnTo>
                    <a:lnTo>
                      <a:pt x="0" y="195072"/>
                    </a:lnTo>
                    <a:lnTo>
                      <a:pt x="2921" y="197612"/>
                    </a:lnTo>
                    <a:lnTo>
                      <a:pt x="9144" y="197612"/>
                    </a:lnTo>
                    <a:lnTo>
                      <a:pt x="11556" y="195072"/>
                    </a:lnTo>
                    <a:lnTo>
                      <a:pt x="11556" y="188595"/>
                    </a:lnTo>
                    <a:lnTo>
                      <a:pt x="9144" y="185800"/>
                    </a:lnTo>
                    <a:close/>
                  </a:path>
                  <a:path w="317500" h="314325">
                    <a:moveTo>
                      <a:pt x="314071" y="162687"/>
                    </a:moveTo>
                    <a:lnTo>
                      <a:pt x="307594" y="162687"/>
                    </a:lnTo>
                    <a:lnTo>
                      <a:pt x="305053" y="165608"/>
                    </a:lnTo>
                    <a:lnTo>
                      <a:pt x="305053" y="171830"/>
                    </a:lnTo>
                    <a:lnTo>
                      <a:pt x="307594" y="174243"/>
                    </a:lnTo>
                    <a:lnTo>
                      <a:pt x="314071" y="174243"/>
                    </a:lnTo>
                    <a:lnTo>
                      <a:pt x="316992" y="171830"/>
                    </a:lnTo>
                    <a:lnTo>
                      <a:pt x="316992" y="165608"/>
                    </a:lnTo>
                    <a:lnTo>
                      <a:pt x="314071" y="162687"/>
                    </a:lnTo>
                    <a:close/>
                  </a:path>
                  <a:path w="317500" h="314325">
                    <a:moveTo>
                      <a:pt x="290956" y="162687"/>
                    </a:moveTo>
                    <a:lnTo>
                      <a:pt x="284606" y="162687"/>
                    </a:lnTo>
                    <a:lnTo>
                      <a:pt x="281940" y="165353"/>
                    </a:lnTo>
                    <a:lnTo>
                      <a:pt x="281940" y="171703"/>
                    </a:lnTo>
                    <a:lnTo>
                      <a:pt x="284606" y="174243"/>
                    </a:lnTo>
                    <a:lnTo>
                      <a:pt x="290956" y="174243"/>
                    </a:lnTo>
                    <a:lnTo>
                      <a:pt x="293497" y="171703"/>
                    </a:lnTo>
                    <a:lnTo>
                      <a:pt x="293497" y="165353"/>
                    </a:lnTo>
                    <a:lnTo>
                      <a:pt x="290956" y="162687"/>
                    </a:lnTo>
                    <a:close/>
                  </a:path>
                  <a:path w="317500" h="314325">
                    <a:moveTo>
                      <a:pt x="32639" y="162687"/>
                    </a:moveTo>
                    <a:lnTo>
                      <a:pt x="26162" y="162687"/>
                    </a:lnTo>
                    <a:lnTo>
                      <a:pt x="23622" y="165353"/>
                    </a:lnTo>
                    <a:lnTo>
                      <a:pt x="23622" y="171703"/>
                    </a:lnTo>
                    <a:lnTo>
                      <a:pt x="26162" y="174243"/>
                    </a:lnTo>
                    <a:lnTo>
                      <a:pt x="32639" y="174243"/>
                    </a:lnTo>
                    <a:lnTo>
                      <a:pt x="35178" y="171703"/>
                    </a:lnTo>
                    <a:lnTo>
                      <a:pt x="35178" y="165353"/>
                    </a:lnTo>
                    <a:lnTo>
                      <a:pt x="32639" y="162687"/>
                    </a:lnTo>
                    <a:close/>
                  </a:path>
                  <a:path w="317500" h="314325">
                    <a:moveTo>
                      <a:pt x="9017" y="162687"/>
                    </a:moveTo>
                    <a:lnTo>
                      <a:pt x="2540" y="162687"/>
                    </a:lnTo>
                    <a:lnTo>
                      <a:pt x="0" y="165353"/>
                    </a:lnTo>
                    <a:lnTo>
                      <a:pt x="0" y="171703"/>
                    </a:lnTo>
                    <a:lnTo>
                      <a:pt x="2540" y="174243"/>
                    </a:lnTo>
                    <a:lnTo>
                      <a:pt x="9017" y="174243"/>
                    </a:lnTo>
                    <a:lnTo>
                      <a:pt x="11556" y="171703"/>
                    </a:lnTo>
                    <a:lnTo>
                      <a:pt x="11556" y="165353"/>
                    </a:lnTo>
                    <a:lnTo>
                      <a:pt x="9017" y="162687"/>
                    </a:lnTo>
                    <a:close/>
                  </a:path>
                  <a:path w="317500" h="314325">
                    <a:moveTo>
                      <a:pt x="314071" y="139700"/>
                    </a:moveTo>
                    <a:lnTo>
                      <a:pt x="307594" y="139700"/>
                    </a:lnTo>
                    <a:lnTo>
                      <a:pt x="305053" y="142112"/>
                    </a:lnTo>
                    <a:lnTo>
                      <a:pt x="305053" y="148336"/>
                    </a:lnTo>
                    <a:lnTo>
                      <a:pt x="307594" y="151257"/>
                    </a:lnTo>
                    <a:lnTo>
                      <a:pt x="314071" y="151257"/>
                    </a:lnTo>
                    <a:lnTo>
                      <a:pt x="316992" y="148336"/>
                    </a:lnTo>
                    <a:lnTo>
                      <a:pt x="316992" y="142112"/>
                    </a:lnTo>
                    <a:lnTo>
                      <a:pt x="314071" y="139700"/>
                    </a:lnTo>
                    <a:close/>
                  </a:path>
                  <a:path w="317500" h="314325">
                    <a:moveTo>
                      <a:pt x="290956" y="139700"/>
                    </a:moveTo>
                    <a:lnTo>
                      <a:pt x="284606" y="139700"/>
                    </a:lnTo>
                    <a:lnTo>
                      <a:pt x="281940" y="142239"/>
                    </a:lnTo>
                    <a:lnTo>
                      <a:pt x="281940" y="148589"/>
                    </a:lnTo>
                    <a:lnTo>
                      <a:pt x="284606" y="151257"/>
                    </a:lnTo>
                    <a:lnTo>
                      <a:pt x="290956" y="151257"/>
                    </a:lnTo>
                    <a:lnTo>
                      <a:pt x="293497" y="148589"/>
                    </a:lnTo>
                    <a:lnTo>
                      <a:pt x="293497" y="142239"/>
                    </a:lnTo>
                    <a:lnTo>
                      <a:pt x="290956" y="139700"/>
                    </a:lnTo>
                    <a:close/>
                  </a:path>
                  <a:path w="317500" h="314325">
                    <a:moveTo>
                      <a:pt x="32639" y="139700"/>
                    </a:moveTo>
                    <a:lnTo>
                      <a:pt x="26162" y="139700"/>
                    </a:lnTo>
                    <a:lnTo>
                      <a:pt x="23622" y="142239"/>
                    </a:lnTo>
                    <a:lnTo>
                      <a:pt x="23622" y="148589"/>
                    </a:lnTo>
                    <a:lnTo>
                      <a:pt x="26162" y="151257"/>
                    </a:lnTo>
                    <a:lnTo>
                      <a:pt x="32639" y="151257"/>
                    </a:lnTo>
                    <a:lnTo>
                      <a:pt x="35178" y="148589"/>
                    </a:lnTo>
                    <a:lnTo>
                      <a:pt x="35178" y="142239"/>
                    </a:lnTo>
                    <a:lnTo>
                      <a:pt x="32639" y="139700"/>
                    </a:lnTo>
                    <a:close/>
                  </a:path>
                  <a:path w="317500" h="314325">
                    <a:moveTo>
                      <a:pt x="9017" y="139700"/>
                    </a:moveTo>
                    <a:lnTo>
                      <a:pt x="2540" y="139700"/>
                    </a:lnTo>
                    <a:lnTo>
                      <a:pt x="0" y="142239"/>
                    </a:lnTo>
                    <a:lnTo>
                      <a:pt x="0" y="148589"/>
                    </a:lnTo>
                    <a:lnTo>
                      <a:pt x="2540" y="151257"/>
                    </a:lnTo>
                    <a:lnTo>
                      <a:pt x="9017" y="151257"/>
                    </a:lnTo>
                    <a:lnTo>
                      <a:pt x="11556" y="148589"/>
                    </a:lnTo>
                    <a:lnTo>
                      <a:pt x="11556" y="142239"/>
                    </a:lnTo>
                    <a:lnTo>
                      <a:pt x="9017" y="139700"/>
                    </a:lnTo>
                    <a:close/>
                  </a:path>
                  <a:path w="317500" h="314325">
                    <a:moveTo>
                      <a:pt x="314071" y="116204"/>
                    </a:moveTo>
                    <a:lnTo>
                      <a:pt x="307594" y="116204"/>
                    </a:lnTo>
                    <a:lnTo>
                      <a:pt x="305053" y="118617"/>
                    </a:lnTo>
                    <a:lnTo>
                      <a:pt x="305053" y="125222"/>
                    </a:lnTo>
                    <a:lnTo>
                      <a:pt x="307594" y="127762"/>
                    </a:lnTo>
                    <a:lnTo>
                      <a:pt x="314071" y="127762"/>
                    </a:lnTo>
                    <a:lnTo>
                      <a:pt x="316992" y="125222"/>
                    </a:lnTo>
                    <a:lnTo>
                      <a:pt x="316992" y="118617"/>
                    </a:lnTo>
                    <a:lnTo>
                      <a:pt x="314071" y="116204"/>
                    </a:lnTo>
                    <a:close/>
                  </a:path>
                  <a:path w="317500" h="314325">
                    <a:moveTo>
                      <a:pt x="290956" y="116204"/>
                    </a:moveTo>
                    <a:lnTo>
                      <a:pt x="284606" y="116204"/>
                    </a:lnTo>
                    <a:lnTo>
                      <a:pt x="281940" y="118745"/>
                    </a:lnTo>
                    <a:lnTo>
                      <a:pt x="281940" y="125095"/>
                    </a:lnTo>
                    <a:lnTo>
                      <a:pt x="284606" y="127762"/>
                    </a:lnTo>
                    <a:lnTo>
                      <a:pt x="290956" y="127762"/>
                    </a:lnTo>
                    <a:lnTo>
                      <a:pt x="293497" y="125095"/>
                    </a:lnTo>
                    <a:lnTo>
                      <a:pt x="293497" y="118745"/>
                    </a:lnTo>
                    <a:lnTo>
                      <a:pt x="290956" y="116204"/>
                    </a:lnTo>
                    <a:close/>
                  </a:path>
                  <a:path w="317500" h="314325">
                    <a:moveTo>
                      <a:pt x="32639" y="116204"/>
                    </a:moveTo>
                    <a:lnTo>
                      <a:pt x="26162" y="116204"/>
                    </a:lnTo>
                    <a:lnTo>
                      <a:pt x="23622" y="118745"/>
                    </a:lnTo>
                    <a:lnTo>
                      <a:pt x="23622" y="125095"/>
                    </a:lnTo>
                    <a:lnTo>
                      <a:pt x="26162" y="127762"/>
                    </a:lnTo>
                    <a:lnTo>
                      <a:pt x="32639" y="127762"/>
                    </a:lnTo>
                    <a:lnTo>
                      <a:pt x="35178" y="125095"/>
                    </a:lnTo>
                    <a:lnTo>
                      <a:pt x="35178" y="118745"/>
                    </a:lnTo>
                    <a:lnTo>
                      <a:pt x="32639" y="116204"/>
                    </a:lnTo>
                    <a:close/>
                  </a:path>
                  <a:path w="317500" h="314325">
                    <a:moveTo>
                      <a:pt x="9017" y="116204"/>
                    </a:moveTo>
                    <a:lnTo>
                      <a:pt x="2540" y="116204"/>
                    </a:lnTo>
                    <a:lnTo>
                      <a:pt x="0" y="118745"/>
                    </a:lnTo>
                    <a:lnTo>
                      <a:pt x="0" y="125095"/>
                    </a:lnTo>
                    <a:lnTo>
                      <a:pt x="2540" y="127762"/>
                    </a:lnTo>
                    <a:lnTo>
                      <a:pt x="9017" y="127762"/>
                    </a:lnTo>
                    <a:lnTo>
                      <a:pt x="11556" y="125095"/>
                    </a:lnTo>
                    <a:lnTo>
                      <a:pt x="11556" y="118745"/>
                    </a:lnTo>
                    <a:lnTo>
                      <a:pt x="9017" y="116204"/>
                    </a:lnTo>
                    <a:close/>
                  </a:path>
                  <a:path w="317500" h="314325">
                    <a:moveTo>
                      <a:pt x="314071" y="92837"/>
                    </a:moveTo>
                    <a:lnTo>
                      <a:pt x="307594" y="92837"/>
                    </a:lnTo>
                    <a:lnTo>
                      <a:pt x="305053" y="95376"/>
                    </a:lnTo>
                    <a:lnTo>
                      <a:pt x="305053" y="102235"/>
                    </a:lnTo>
                    <a:lnTo>
                      <a:pt x="307594" y="104648"/>
                    </a:lnTo>
                    <a:lnTo>
                      <a:pt x="314071" y="104648"/>
                    </a:lnTo>
                    <a:lnTo>
                      <a:pt x="316992" y="102235"/>
                    </a:lnTo>
                    <a:lnTo>
                      <a:pt x="316992" y="95376"/>
                    </a:lnTo>
                    <a:lnTo>
                      <a:pt x="314071" y="92837"/>
                    </a:lnTo>
                    <a:close/>
                  </a:path>
                  <a:path w="317500" h="314325">
                    <a:moveTo>
                      <a:pt x="290956" y="92837"/>
                    </a:moveTo>
                    <a:lnTo>
                      <a:pt x="284606" y="92837"/>
                    </a:lnTo>
                    <a:lnTo>
                      <a:pt x="281940" y="95503"/>
                    </a:lnTo>
                    <a:lnTo>
                      <a:pt x="281940" y="102108"/>
                    </a:lnTo>
                    <a:lnTo>
                      <a:pt x="284606" y="104648"/>
                    </a:lnTo>
                    <a:lnTo>
                      <a:pt x="290956" y="104648"/>
                    </a:lnTo>
                    <a:lnTo>
                      <a:pt x="293497" y="102108"/>
                    </a:lnTo>
                    <a:lnTo>
                      <a:pt x="293497" y="95503"/>
                    </a:lnTo>
                    <a:lnTo>
                      <a:pt x="290956" y="92837"/>
                    </a:lnTo>
                    <a:close/>
                  </a:path>
                  <a:path w="317500" h="314325">
                    <a:moveTo>
                      <a:pt x="32639" y="92837"/>
                    </a:moveTo>
                    <a:lnTo>
                      <a:pt x="26162" y="92837"/>
                    </a:lnTo>
                    <a:lnTo>
                      <a:pt x="23622" y="95503"/>
                    </a:lnTo>
                    <a:lnTo>
                      <a:pt x="23622" y="102108"/>
                    </a:lnTo>
                    <a:lnTo>
                      <a:pt x="26162" y="104648"/>
                    </a:lnTo>
                    <a:lnTo>
                      <a:pt x="32639" y="104648"/>
                    </a:lnTo>
                    <a:lnTo>
                      <a:pt x="35178" y="102108"/>
                    </a:lnTo>
                    <a:lnTo>
                      <a:pt x="35178" y="95503"/>
                    </a:lnTo>
                    <a:lnTo>
                      <a:pt x="32639" y="92837"/>
                    </a:lnTo>
                    <a:close/>
                  </a:path>
                  <a:path w="317500" h="314325">
                    <a:moveTo>
                      <a:pt x="9017" y="92837"/>
                    </a:moveTo>
                    <a:lnTo>
                      <a:pt x="2540" y="92837"/>
                    </a:lnTo>
                    <a:lnTo>
                      <a:pt x="0" y="95503"/>
                    </a:lnTo>
                    <a:lnTo>
                      <a:pt x="0" y="102108"/>
                    </a:lnTo>
                    <a:lnTo>
                      <a:pt x="2540" y="104648"/>
                    </a:lnTo>
                    <a:lnTo>
                      <a:pt x="9017" y="104648"/>
                    </a:lnTo>
                    <a:lnTo>
                      <a:pt x="11556" y="102108"/>
                    </a:lnTo>
                    <a:lnTo>
                      <a:pt x="11556" y="95503"/>
                    </a:lnTo>
                    <a:lnTo>
                      <a:pt x="9017" y="92837"/>
                    </a:lnTo>
                    <a:close/>
                  </a:path>
                  <a:path w="317500" h="314325">
                    <a:moveTo>
                      <a:pt x="314071" y="69850"/>
                    </a:moveTo>
                    <a:lnTo>
                      <a:pt x="307594" y="69850"/>
                    </a:lnTo>
                    <a:lnTo>
                      <a:pt x="305053" y="72262"/>
                    </a:lnTo>
                    <a:lnTo>
                      <a:pt x="305053" y="78866"/>
                    </a:lnTo>
                    <a:lnTo>
                      <a:pt x="307594" y="81407"/>
                    </a:lnTo>
                    <a:lnTo>
                      <a:pt x="314071" y="81407"/>
                    </a:lnTo>
                    <a:lnTo>
                      <a:pt x="316992" y="78866"/>
                    </a:lnTo>
                    <a:lnTo>
                      <a:pt x="316992" y="72262"/>
                    </a:lnTo>
                    <a:lnTo>
                      <a:pt x="314071" y="69850"/>
                    </a:lnTo>
                    <a:close/>
                  </a:path>
                  <a:path w="317500" h="314325">
                    <a:moveTo>
                      <a:pt x="290956" y="69850"/>
                    </a:moveTo>
                    <a:lnTo>
                      <a:pt x="284606" y="69850"/>
                    </a:lnTo>
                    <a:lnTo>
                      <a:pt x="281940" y="72389"/>
                    </a:lnTo>
                    <a:lnTo>
                      <a:pt x="281940" y="78739"/>
                    </a:lnTo>
                    <a:lnTo>
                      <a:pt x="284606" y="81407"/>
                    </a:lnTo>
                    <a:lnTo>
                      <a:pt x="290956" y="81407"/>
                    </a:lnTo>
                    <a:lnTo>
                      <a:pt x="293497" y="78739"/>
                    </a:lnTo>
                    <a:lnTo>
                      <a:pt x="293497" y="72389"/>
                    </a:lnTo>
                    <a:lnTo>
                      <a:pt x="290956" y="69850"/>
                    </a:lnTo>
                    <a:close/>
                  </a:path>
                  <a:path w="317500" h="314325">
                    <a:moveTo>
                      <a:pt x="32639" y="69850"/>
                    </a:moveTo>
                    <a:lnTo>
                      <a:pt x="26162" y="69850"/>
                    </a:lnTo>
                    <a:lnTo>
                      <a:pt x="23622" y="72389"/>
                    </a:lnTo>
                    <a:lnTo>
                      <a:pt x="23622" y="78739"/>
                    </a:lnTo>
                    <a:lnTo>
                      <a:pt x="26162" y="81407"/>
                    </a:lnTo>
                    <a:lnTo>
                      <a:pt x="32639" y="81407"/>
                    </a:lnTo>
                    <a:lnTo>
                      <a:pt x="35178" y="78739"/>
                    </a:lnTo>
                    <a:lnTo>
                      <a:pt x="35178" y="72389"/>
                    </a:lnTo>
                    <a:lnTo>
                      <a:pt x="32639" y="69850"/>
                    </a:lnTo>
                    <a:close/>
                  </a:path>
                  <a:path w="317500" h="314325">
                    <a:moveTo>
                      <a:pt x="9017" y="69850"/>
                    </a:moveTo>
                    <a:lnTo>
                      <a:pt x="2540" y="69850"/>
                    </a:lnTo>
                    <a:lnTo>
                      <a:pt x="0" y="72389"/>
                    </a:lnTo>
                    <a:lnTo>
                      <a:pt x="0" y="78739"/>
                    </a:lnTo>
                    <a:lnTo>
                      <a:pt x="2540" y="81407"/>
                    </a:lnTo>
                    <a:lnTo>
                      <a:pt x="9017" y="81407"/>
                    </a:lnTo>
                    <a:lnTo>
                      <a:pt x="11556" y="78739"/>
                    </a:lnTo>
                    <a:lnTo>
                      <a:pt x="11556" y="72389"/>
                    </a:lnTo>
                    <a:lnTo>
                      <a:pt x="9017" y="69850"/>
                    </a:lnTo>
                    <a:close/>
                  </a:path>
                  <a:path w="317500" h="314325">
                    <a:moveTo>
                      <a:pt x="314071" y="46354"/>
                    </a:moveTo>
                    <a:lnTo>
                      <a:pt x="307594" y="46354"/>
                    </a:lnTo>
                    <a:lnTo>
                      <a:pt x="305053" y="49275"/>
                    </a:lnTo>
                    <a:lnTo>
                      <a:pt x="305053" y="55372"/>
                    </a:lnTo>
                    <a:lnTo>
                      <a:pt x="307594" y="57912"/>
                    </a:lnTo>
                    <a:lnTo>
                      <a:pt x="314071" y="57912"/>
                    </a:lnTo>
                    <a:lnTo>
                      <a:pt x="316992" y="55372"/>
                    </a:lnTo>
                    <a:lnTo>
                      <a:pt x="316992" y="49275"/>
                    </a:lnTo>
                    <a:lnTo>
                      <a:pt x="314071" y="46354"/>
                    </a:lnTo>
                    <a:close/>
                  </a:path>
                  <a:path w="317500" h="314325">
                    <a:moveTo>
                      <a:pt x="290956" y="46354"/>
                    </a:moveTo>
                    <a:lnTo>
                      <a:pt x="284606" y="46354"/>
                    </a:lnTo>
                    <a:lnTo>
                      <a:pt x="281940" y="48895"/>
                    </a:lnTo>
                    <a:lnTo>
                      <a:pt x="281940" y="55245"/>
                    </a:lnTo>
                    <a:lnTo>
                      <a:pt x="284606" y="57912"/>
                    </a:lnTo>
                    <a:lnTo>
                      <a:pt x="290956" y="57912"/>
                    </a:lnTo>
                    <a:lnTo>
                      <a:pt x="293497" y="55245"/>
                    </a:lnTo>
                    <a:lnTo>
                      <a:pt x="293497" y="48895"/>
                    </a:lnTo>
                    <a:lnTo>
                      <a:pt x="290956" y="46354"/>
                    </a:lnTo>
                    <a:close/>
                  </a:path>
                  <a:path w="317500" h="314325">
                    <a:moveTo>
                      <a:pt x="32639" y="46354"/>
                    </a:moveTo>
                    <a:lnTo>
                      <a:pt x="26162" y="46354"/>
                    </a:lnTo>
                    <a:lnTo>
                      <a:pt x="23622" y="48895"/>
                    </a:lnTo>
                    <a:lnTo>
                      <a:pt x="23622" y="55245"/>
                    </a:lnTo>
                    <a:lnTo>
                      <a:pt x="26162" y="57912"/>
                    </a:lnTo>
                    <a:lnTo>
                      <a:pt x="32639" y="57912"/>
                    </a:lnTo>
                    <a:lnTo>
                      <a:pt x="35178" y="55245"/>
                    </a:lnTo>
                    <a:lnTo>
                      <a:pt x="35178" y="48895"/>
                    </a:lnTo>
                    <a:lnTo>
                      <a:pt x="32639" y="46354"/>
                    </a:lnTo>
                    <a:close/>
                  </a:path>
                  <a:path w="317500" h="314325">
                    <a:moveTo>
                      <a:pt x="9017" y="46354"/>
                    </a:moveTo>
                    <a:lnTo>
                      <a:pt x="2540" y="46354"/>
                    </a:lnTo>
                    <a:lnTo>
                      <a:pt x="0" y="48895"/>
                    </a:lnTo>
                    <a:lnTo>
                      <a:pt x="0" y="55245"/>
                    </a:lnTo>
                    <a:lnTo>
                      <a:pt x="2540" y="57912"/>
                    </a:lnTo>
                    <a:lnTo>
                      <a:pt x="9017" y="57912"/>
                    </a:lnTo>
                    <a:lnTo>
                      <a:pt x="11556" y="55245"/>
                    </a:lnTo>
                    <a:lnTo>
                      <a:pt x="11556" y="48895"/>
                    </a:lnTo>
                    <a:lnTo>
                      <a:pt x="9017" y="46354"/>
                    </a:lnTo>
                    <a:close/>
                  </a:path>
                  <a:path w="317500" h="314325">
                    <a:moveTo>
                      <a:pt x="314071" y="23367"/>
                    </a:moveTo>
                    <a:lnTo>
                      <a:pt x="307594" y="23367"/>
                    </a:lnTo>
                    <a:lnTo>
                      <a:pt x="305053" y="25780"/>
                    </a:lnTo>
                    <a:lnTo>
                      <a:pt x="305053" y="32003"/>
                    </a:lnTo>
                    <a:lnTo>
                      <a:pt x="307594" y="34798"/>
                    </a:lnTo>
                    <a:lnTo>
                      <a:pt x="314071" y="34798"/>
                    </a:lnTo>
                    <a:lnTo>
                      <a:pt x="316992" y="32003"/>
                    </a:lnTo>
                    <a:lnTo>
                      <a:pt x="316992" y="25780"/>
                    </a:lnTo>
                    <a:lnTo>
                      <a:pt x="314071" y="23367"/>
                    </a:lnTo>
                    <a:close/>
                  </a:path>
                  <a:path w="317500" h="314325">
                    <a:moveTo>
                      <a:pt x="290956" y="23367"/>
                    </a:moveTo>
                    <a:lnTo>
                      <a:pt x="284606" y="23367"/>
                    </a:lnTo>
                    <a:lnTo>
                      <a:pt x="281940" y="25908"/>
                    </a:lnTo>
                    <a:lnTo>
                      <a:pt x="281940" y="32258"/>
                    </a:lnTo>
                    <a:lnTo>
                      <a:pt x="284606" y="34798"/>
                    </a:lnTo>
                    <a:lnTo>
                      <a:pt x="290956" y="34798"/>
                    </a:lnTo>
                    <a:lnTo>
                      <a:pt x="293497" y="32258"/>
                    </a:lnTo>
                    <a:lnTo>
                      <a:pt x="293497" y="25908"/>
                    </a:lnTo>
                    <a:lnTo>
                      <a:pt x="290956" y="23367"/>
                    </a:lnTo>
                    <a:close/>
                  </a:path>
                  <a:path w="317500" h="314325">
                    <a:moveTo>
                      <a:pt x="267462" y="23367"/>
                    </a:moveTo>
                    <a:lnTo>
                      <a:pt x="261112" y="23367"/>
                    </a:lnTo>
                    <a:lnTo>
                      <a:pt x="258445" y="25908"/>
                    </a:lnTo>
                    <a:lnTo>
                      <a:pt x="258445" y="32258"/>
                    </a:lnTo>
                    <a:lnTo>
                      <a:pt x="261112" y="34798"/>
                    </a:lnTo>
                    <a:lnTo>
                      <a:pt x="267462" y="34798"/>
                    </a:lnTo>
                    <a:lnTo>
                      <a:pt x="270128" y="32258"/>
                    </a:lnTo>
                    <a:lnTo>
                      <a:pt x="270128" y="25908"/>
                    </a:lnTo>
                    <a:lnTo>
                      <a:pt x="267462" y="23367"/>
                    </a:lnTo>
                    <a:close/>
                  </a:path>
                  <a:path w="317500" h="314325">
                    <a:moveTo>
                      <a:pt x="243840" y="23367"/>
                    </a:moveTo>
                    <a:lnTo>
                      <a:pt x="237236" y="23367"/>
                    </a:lnTo>
                    <a:lnTo>
                      <a:pt x="234569" y="25908"/>
                    </a:lnTo>
                    <a:lnTo>
                      <a:pt x="234569" y="32258"/>
                    </a:lnTo>
                    <a:lnTo>
                      <a:pt x="237236" y="34798"/>
                    </a:lnTo>
                    <a:lnTo>
                      <a:pt x="243840" y="34798"/>
                    </a:lnTo>
                    <a:lnTo>
                      <a:pt x="246506" y="32258"/>
                    </a:lnTo>
                    <a:lnTo>
                      <a:pt x="246506" y="25908"/>
                    </a:lnTo>
                    <a:lnTo>
                      <a:pt x="243840" y="23367"/>
                    </a:lnTo>
                    <a:close/>
                  </a:path>
                  <a:path w="317500" h="314325">
                    <a:moveTo>
                      <a:pt x="220345" y="23367"/>
                    </a:moveTo>
                    <a:lnTo>
                      <a:pt x="213614" y="23367"/>
                    </a:lnTo>
                    <a:lnTo>
                      <a:pt x="210947" y="25908"/>
                    </a:lnTo>
                    <a:lnTo>
                      <a:pt x="210947" y="32258"/>
                    </a:lnTo>
                    <a:lnTo>
                      <a:pt x="213614" y="34798"/>
                    </a:lnTo>
                    <a:lnTo>
                      <a:pt x="220345" y="34798"/>
                    </a:lnTo>
                    <a:lnTo>
                      <a:pt x="223012" y="32258"/>
                    </a:lnTo>
                    <a:lnTo>
                      <a:pt x="223012" y="25908"/>
                    </a:lnTo>
                    <a:lnTo>
                      <a:pt x="220345" y="23367"/>
                    </a:lnTo>
                    <a:close/>
                  </a:path>
                  <a:path w="317500" h="314325">
                    <a:moveTo>
                      <a:pt x="196850" y="23367"/>
                    </a:moveTo>
                    <a:lnTo>
                      <a:pt x="190373" y="23367"/>
                    </a:lnTo>
                    <a:lnTo>
                      <a:pt x="187833" y="25908"/>
                    </a:lnTo>
                    <a:lnTo>
                      <a:pt x="187833" y="32258"/>
                    </a:lnTo>
                    <a:lnTo>
                      <a:pt x="190373" y="34798"/>
                    </a:lnTo>
                    <a:lnTo>
                      <a:pt x="196850" y="34798"/>
                    </a:lnTo>
                    <a:lnTo>
                      <a:pt x="199390" y="32258"/>
                    </a:lnTo>
                    <a:lnTo>
                      <a:pt x="199390" y="25908"/>
                    </a:lnTo>
                    <a:lnTo>
                      <a:pt x="196850" y="23367"/>
                    </a:lnTo>
                    <a:close/>
                  </a:path>
                  <a:path w="317500" h="314325">
                    <a:moveTo>
                      <a:pt x="173354" y="23367"/>
                    </a:moveTo>
                    <a:lnTo>
                      <a:pt x="167004" y="23367"/>
                    </a:lnTo>
                    <a:lnTo>
                      <a:pt x="164338" y="25908"/>
                    </a:lnTo>
                    <a:lnTo>
                      <a:pt x="164338" y="32258"/>
                    </a:lnTo>
                    <a:lnTo>
                      <a:pt x="167004" y="34798"/>
                    </a:lnTo>
                    <a:lnTo>
                      <a:pt x="173354" y="34798"/>
                    </a:lnTo>
                    <a:lnTo>
                      <a:pt x="175895" y="32258"/>
                    </a:lnTo>
                    <a:lnTo>
                      <a:pt x="175895" y="25908"/>
                    </a:lnTo>
                    <a:lnTo>
                      <a:pt x="173354" y="23367"/>
                    </a:lnTo>
                    <a:close/>
                  </a:path>
                  <a:path w="317500" h="314325">
                    <a:moveTo>
                      <a:pt x="150114" y="23367"/>
                    </a:moveTo>
                    <a:lnTo>
                      <a:pt x="143383" y="23367"/>
                    </a:lnTo>
                    <a:lnTo>
                      <a:pt x="140716" y="25908"/>
                    </a:lnTo>
                    <a:lnTo>
                      <a:pt x="140716" y="32258"/>
                    </a:lnTo>
                    <a:lnTo>
                      <a:pt x="143383" y="34798"/>
                    </a:lnTo>
                    <a:lnTo>
                      <a:pt x="150114" y="34798"/>
                    </a:lnTo>
                    <a:lnTo>
                      <a:pt x="152780" y="32258"/>
                    </a:lnTo>
                    <a:lnTo>
                      <a:pt x="152780" y="25908"/>
                    </a:lnTo>
                    <a:lnTo>
                      <a:pt x="150114" y="23367"/>
                    </a:lnTo>
                    <a:close/>
                  </a:path>
                  <a:path w="317500" h="314325">
                    <a:moveTo>
                      <a:pt x="126619" y="23367"/>
                    </a:moveTo>
                    <a:lnTo>
                      <a:pt x="120015" y="23367"/>
                    </a:lnTo>
                    <a:lnTo>
                      <a:pt x="117348" y="25908"/>
                    </a:lnTo>
                    <a:lnTo>
                      <a:pt x="117348" y="32258"/>
                    </a:lnTo>
                    <a:lnTo>
                      <a:pt x="120015" y="34798"/>
                    </a:lnTo>
                    <a:lnTo>
                      <a:pt x="126619" y="34798"/>
                    </a:lnTo>
                    <a:lnTo>
                      <a:pt x="129286" y="32258"/>
                    </a:lnTo>
                    <a:lnTo>
                      <a:pt x="129286" y="25908"/>
                    </a:lnTo>
                    <a:lnTo>
                      <a:pt x="126619" y="23367"/>
                    </a:lnTo>
                    <a:close/>
                  </a:path>
                  <a:path w="317500" h="314325">
                    <a:moveTo>
                      <a:pt x="103124" y="23367"/>
                    </a:moveTo>
                    <a:lnTo>
                      <a:pt x="96774" y="23367"/>
                    </a:lnTo>
                    <a:lnTo>
                      <a:pt x="94106" y="25908"/>
                    </a:lnTo>
                    <a:lnTo>
                      <a:pt x="94106" y="32258"/>
                    </a:lnTo>
                    <a:lnTo>
                      <a:pt x="96774" y="34798"/>
                    </a:lnTo>
                    <a:lnTo>
                      <a:pt x="103124" y="34798"/>
                    </a:lnTo>
                    <a:lnTo>
                      <a:pt x="105664" y="32258"/>
                    </a:lnTo>
                    <a:lnTo>
                      <a:pt x="105664" y="25908"/>
                    </a:lnTo>
                    <a:lnTo>
                      <a:pt x="103124" y="23367"/>
                    </a:lnTo>
                    <a:close/>
                  </a:path>
                  <a:path w="317500" h="314325">
                    <a:moveTo>
                      <a:pt x="79628" y="23367"/>
                    </a:moveTo>
                    <a:lnTo>
                      <a:pt x="73278" y="23367"/>
                    </a:lnTo>
                    <a:lnTo>
                      <a:pt x="70739" y="25908"/>
                    </a:lnTo>
                    <a:lnTo>
                      <a:pt x="70739" y="32258"/>
                    </a:lnTo>
                    <a:lnTo>
                      <a:pt x="73278" y="34798"/>
                    </a:lnTo>
                    <a:lnTo>
                      <a:pt x="79628" y="34798"/>
                    </a:lnTo>
                    <a:lnTo>
                      <a:pt x="82296" y="32258"/>
                    </a:lnTo>
                    <a:lnTo>
                      <a:pt x="82296" y="25908"/>
                    </a:lnTo>
                    <a:lnTo>
                      <a:pt x="79628" y="23367"/>
                    </a:lnTo>
                    <a:close/>
                  </a:path>
                  <a:path w="317500" h="314325">
                    <a:moveTo>
                      <a:pt x="56006" y="23367"/>
                    </a:moveTo>
                    <a:lnTo>
                      <a:pt x="49656" y="23367"/>
                    </a:lnTo>
                    <a:lnTo>
                      <a:pt x="47117" y="25908"/>
                    </a:lnTo>
                    <a:lnTo>
                      <a:pt x="47117" y="32258"/>
                    </a:lnTo>
                    <a:lnTo>
                      <a:pt x="49656" y="34798"/>
                    </a:lnTo>
                    <a:lnTo>
                      <a:pt x="56006" y="34798"/>
                    </a:lnTo>
                    <a:lnTo>
                      <a:pt x="58674" y="32258"/>
                    </a:lnTo>
                    <a:lnTo>
                      <a:pt x="58674" y="25908"/>
                    </a:lnTo>
                    <a:lnTo>
                      <a:pt x="56006" y="23367"/>
                    </a:lnTo>
                    <a:close/>
                  </a:path>
                  <a:path w="317500" h="314325">
                    <a:moveTo>
                      <a:pt x="32639" y="23367"/>
                    </a:moveTo>
                    <a:lnTo>
                      <a:pt x="26162" y="23367"/>
                    </a:lnTo>
                    <a:lnTo>
                      <a:pt x="23622" y="25908"/>
                    </a:lnTo>
                    <a:lnTo>
                      <a:pt x="23622" y="32258"/>
                    </a:lnTo>
                    <a:lnTo>
                      <a:pt x="26162" y="34798"/>
                    </a:lnTo>
                    <a:lnTo>
                      <a:pt x="32639" y="34798"/>
                    </a:lnTo>
                    <a:lnTo>
                      <a:pt x="35178" y="32258"/>
                    </a:lnTo>
                    <a:lnTo>
                      <a:pt x="35178" y="25908"/>
                    </a:lnTo>
                    <a:lnTo>
                      <a:pt x="32639" y="23367"/>
                    </a:lnTo>
                    <a:close/>
                  </a:path>
                  <a:path w="317500" h="314325">
                    <a:moveTo>
                      <a:pt x="9017" y="23367"/>
                    </a:moveTo>
                    <a:lnTo>
                      <a:pt x="2540" y="23367"/>
                    </a:lnTo>
                    <a:lnTo>
                      <a:pt x="0" y="25908"/>
                    </a:lnTo>
                    <a:lnTo>
                      <a:pt x="0" y="32258"/>
                    </a:lnTo>
                    <a:lnTo>
                      <a:pt x="2540" y="34798"/>
                    </a:lnTo>
                    <a:lnTo>
                      <a:pt x="9017" y="34798"/>
                    </a:lnTo>
                    <a:lnTo>
                      <a:pt x="11556" y="32258"/>
                    </a:lnTo>
                    <a:lnTo>
                      <a:pt x="11556" y="25908"/>
                    </a:lnTo>
                    <a:lnTo>
                      <a:pt x="9017" y="23367"/>
                    </a:lnTo>
                    <a:close/>
                  </a:path>
                  <a:path w="317500" h="314325">
                    <a:moveTo>
                      <a:pt x="314071" y="0"/>
                    </a:moveTo>
                    <a:lnTo>
                      <a:pt x="307594" y="0"/>
                    </a:lnTo>
                    <a:lnTo>
                      <a:pt x="305053" y="2412"/>
                    </a:lnTo>
                    <a:lnTo>
                      <a:pt x="305053" y="9016"/>
                    </a:lnTo>
                    <a:lnTo>
                      <a:pt x="307594" y="11811"/>
                    </a:lnTo>
                    <a:lnTo>
                      <a:pt x="314071" y="11811"/>
                    </a:lnTo>
                    <a:lnTo>
                      <a:pt x="316992" y="9016"/>
                    </a:lnTo>
                    <a:lnTo>
                      <a:pt x="316992" y="2412"/>
                    </a:lnTo>
                    <a:lnTo>
                      <a:pt x="314071" y="0"/>
                    </a:lnTo>
                    <a:close/>
                  </a:path>
                  <a:path w="317500" h="314325">
                    <a:moveTo>
                      <a:pt x="290702" y="0"/>
                    </a:moveTo>
                    <a:lnTo>
                      <a:pt x="284479" y="0"/>
                    </a:lnTo>
                    <a:lnTo>
                      <a:pt x="281940" y="2412"/>
                    </a:lnTo>
                    <a:lnTo>
                      <a:pt x="281940" y="9016"/>
                    </a:lnTo>
                    <a:lnTo>
                      <a:pt x="284479" y="11811"/>
                    </a:lnTo>
                    <a:lnTo>
                      <a:pt x="290702" y="11811"/>
                    </a:lnTo>
                    <a:lnTo>
                      <a:pt x="293497" y="9016"/>
                    </a:lnTo>
                    <a:lnTo>
                      <a:pt x="293497" y="2412"/>
                    </a:lnTo>
                    <a:lnTo>
                      <a:pt x="290702" y="0"/>
                    </a:lnTo>
                    <a:close/>
                  </a:path>
                  <a:path w="317500" h="314325">
                    <a:moveTo>
                      <a:pt x="267208" y="0"/>
                    </a:moveTo>
                    <a:lnTo>
                      <a:pt x="260985" y="0"/>
                    </a:lnTo>
                    <a:lnTo>
                      <a:pt x="258445" y="2412"/>
                    </a:lnTo>
                    <a:lnTo>
                      <a:pt x="258445" y="9016"/>
                    </a:lnTo>
                    <a:lnTo>
                      <a:pt x="260985" y="11811"/>
                    </a:lnTo>
                    <a:lnTo>
                      <a:pt x="267208" y="11811"/>
                    </a:lnTo>
                    <a:lnTo>
                      <a:pt x="270128" y="9016"/>
                    </a:lnTo>
                    <a:lnTo>
                      <a:pt x="270128" y="2412"/>
                    </a:lnTo>
                    <a:lnTo>
                      <a:pt x="267208" y="0"/>
                    </a:lnTo>
                    <a:close/>
                  </a:path>
                  <a:path w="317500" h="314325">
                    <a:moveTo>
                      <a:pt x="243586" y="0"/>
                    </a:moveTo>
                    <a:lnTo>
                      <a:pt x="237490" y="0"/>
                    </a:lnTo>
                    <a:lnTo>
                      <a:pt x="234569" y="2412"/>
                    </a:lnTo>
                    <a:lnTo>
                      <a:pt x="234569" y="9016"/>
                    </a:lnTo>
                    <a:lnTo>
                      <a:pt x="237490" y="11811"/>
                    </a:lnTo>
                    <a:lnTo>
                      <a:pt x="243586" y="11811"/>
                    </a:lnTo>
                    <a:lnTo>
                      <a:pt x="246506" y="9016"/>
                    </a:lnTo>
                    <a:lnTo>
                      <a:pt x="246506" y="2412"/>
                    </a:lnTo>
                    <a:lnTo>
                      <a:pt x="243586" y="0"/>
                    </a:lnTo>
                    <a:close/>
                  </a:path>
                  <a:path w="317500" h="314325">
                    <a:moveTo>
                      <a:pt x="220472" y="0"/>
                    </a:moveTo>
                    <a:lnTo>
                      <a:pt x="213868" y="0"/>
                    </a:lnTo>
                    <a:lnTo>
                      <a:pt x="210947" y="2412"/>
                    </a:lnTo>
                    <a:lnTo>
                      <a:pt x="210947" y="9016"/>
                    </a:lnTo>
                    <a:lnTo>
                      <a:pt x="213868" y="11811"/>
                    </a:lnTo>
                    <a:lnTo>
                      <a:pt x="220472" y="11811"/>
                    </a:lnTo>
                    <a:lnTo>
                      <a:pt x="223012" y="9016"/>
                    </a:lnTo>
                    <a:lnTo>
                      <a:pt x="223012" y="2412"/>
                    </a:lnTo>
                    <a:lnTo>
                      <a:pt x="220472" y="0"/>
                    </a:lnTo>
                    <a:close/>
                  </a:path>
                  <a:path w="317500" h="314325">
                    <a:moveTo>
                      <a:pt x="196850" y="0"/>
                    </a:moveTo>
                    <a:lnTo>
                      <a:pt x="190246" y="0"/>
                    </a:lnTo>
                    <a:lnTo>
                      <a:pt x="187833" y="2412"/>
                    </a:lnTo>
                    <a:lnTo>
                      <a:pt x="187833" y="9016"/>
                    </a:lnTo>
                    <a:lnTo>
                      <a:pt x="190246" y="11811"/>
                    </a:lnTo>
                    <a:lnTo>
                      <a:pt x="196850" y="11811"/>
                    </a:lnTo>
                    <a:lnTo>
                      <a:pt x="199390" y="9016"/>
                    </a:lnTo>
                    <a:lnTo>
                      <a:pt x="199390" y="2412"/>
                    </a:lnTo>
                    <a:lnTo>
                      <a:pt x="196850" y="0"/>
                    </a:lnTo>
                    <a:close/>
                  </a:path>
                  <a:path w="317500" h="314325">
                    <a:moveTo>
                      <a:pt x="173481" y="0"/>
                    </a:moveTo>
                    <a:lnTo>
                      <a:pt x="166877" y="0"/>
                    </a:lnTo>
                    <a:lnTo>
                      <a:pt x="164338" y="2412"/>
                    </a:lnTo>
                    <a:lnTo>
                      <a:pt x="164338" y="9016"/>
                    </a:lnTo>
                    <a:lnTo>
                      <a:pt x="166877" y="11811"/>
                    </a:lnTo>
                    <a:lnTo>
                      <a:pt x="173481" y="11811"/>
                    </a:lnTo>
                    <a:lnTo>
                      <a:pt x="175895" y="9016"/>
                    </a:lnTo>
                    <a:lnTo>
                      <a:pt x="175895" y="2412"/>
                    </a:lnTo>
                    <a:lnTo>
                      <a:pt x="173481" y="0"/>
                    </a:lnTo>
                    <a:close/>
                  </a:path>
                  <a:path w="317500" h="314325">
                    <a:moveTo>
                      <a:pt x="150241" y="0"/>
                    </a:moveTo>
                    <a:lnTo>
                      <a:pt x="143255" y="0"/>
                    </a:lnTo>
                    <a:lnTo>
                      <a:pt x="140716" y="2412"/>
                    </a:lnTo>
                    <a:lnTo>
                      <a:pt x="140716" y="9016"/>
                    </a:lnTo>
                    <a:lnTo>
                      <a:pt x="143255" y="11811"/>
                    </a:lnTo>
                    <a:lnTo>
                      <a:pt x="150241" y="11811"/>
                    </a:lnTo>
                    <a:lnTo>
                      <a:pt x="152780" y="9016"/>
                    </a:lnTo>
                    <a:lnTo>
                      <a:pt x="152780" y="2412"/>
                    </a:lnTo>
                    <a:lnTo>
                      <a:pt x="150241" y="0"/>
                    </a:lnTo>
                    <a:close/>
                  </a:path>
                  <a:path w="317500" h="314325">
                    <a:moveTo>
                      <a:pt x="126873" y="0"/>
                    </a:moveTo>
                    <a:lnTo>
                      <a:pt x="119761" y="0"/>
                    </a:lnTo>
                    <a:lnTo>
                      <a:pt x="117348" y="2412"/>
                    </a:lnTo>
                    <a:lnTo>
                      <a:pt x="117348" y="9016"/>
                    </a:lnTo>
                    <a:lnTo>
                      <a:pt x="119761" y="11811"/>
                    </a:lnTo>
                    <a:lnTo>
                      <a:pt x="126873" y="11811"/>
                    </a:lnTo>
                    <a:lnTo>
                      <a:pt x="129286" y="9016"/>
                    </a:lnTo>
                    <a:lnTo>
                      <a:pt x="129286" y="2412"/>
                    </a:lnTo>
                    <a:lnTo>
                      <a:pt x="126873" y="0"/>
                    </a:lnTo>
                    <a:close/>
                  </a:path>
                  <a:path w="317500" h="314325">
                    <a:moveTo>
                      <a:pt x="102870" y="0"/>
                    </a:moveTo>
                    <a:lnTo>
                      <a:pt x="96647" y="0"/>
                    </a:lnTo>
                    <a:lnTo>
                      <a:pt x="94106" y="2412"/>
                    </a:lnTo>
                    <a:lnTo>
                      <a:pt x="94106" y="9016"/>
                    </a:lnTo>
                    <a:lnTo>
                      <a:pt x="96647" y="11811"/>
                    </a:lnTo>
                    <a:lnTo>
                      <a:pt x="102870" y="11811"/>
                    </a:lnTo>
                    <a:lnTo>
                      <a:pt x="105664" y="9016"/>
                    </a:lnTo>
                    <a:lnTo>
                      <a:pt x="105664" y="2412"/>
                    </a:lnTo>
                    <a:lnTo>
                      <a:pt x="102870" y="0"/>
                    </a:lnTo>
                    <a:close/>
                  </a:path>
                  <a:path w="317500" h="314325">
                    <a:moveTo>
                      <a:pt x="79375" y="0"/>
                    </a:moveTo>
                    <a:lnTo>
                      <a:pt x="73151" y="0"/>
                    </a:lnTo>
                    <a:lnTo>
                      <a:pt x="70739" y="2412"/>
                    </a:lnTo>
                    <a:lnTo>
                      <a:pt x="70739" y="9016"/>
                    </a:lnTo>
                    <a:lnTo>
                      <a:pt x="73151" y="11811"/>
                    </a:lnTo>
                    <a:lnTo>
                      <a:pt x="79375" y="11811"/>
                    </a:lnTo>
                    <a:lnTo>
                      <a:pt x="82296" y="9016"/>
                    </a:lnTo>
                    <a:lnTo>
                      <a:pt x="82296" y="2412"/>
                    </a:lnTo>
                    <a:lnTo>
                      <a:pt x="79375" y="0"/>
                    </a:lnTo>
                    <a:close/>
                  </a:path>
                  <a:path w="317500" h="314325">
                    <a:moveTo>
                      <a:pt x="56134" y="0"/>
                    </a:moveTo>
                    <a:lnTo>
                      <a:pt x="49529" y="0"/>
                    </a:lnTo>
                    <a:lnTo>
                      <a:pt x="47117" y="2412"/>
                    </a:lnTo>
                    <a:lnTo>
                      <a:pt x="47117" y="9016"/>
                    </a:lnTo>
                    <a:lnTo>
                      <a:pt x="49529" y="11811"/>
                    </a:lnTo>
                    <a:lnTo>
                      <a:pt x="56134" y="11811"/>
                    </a:lnTo>
                    <a:lnTo>
                      <a:pt x="58674" y="9016"/>
                    </a:lnTo>
                    <a:lnTo>
                      <a:pt x="58674" y="2412"/>
                    </a:lnTo>
                    <a:lnTo>
                      <a:pt x="56134" y="0"/>
                    </a:lnTo>
                    <a:close/>
                  </a:path>
                  <a:path w="317500" h="314325">
                    <a:moveTo>
                      <a:pt x="32766" y="0"/>
                    </a:moveTo>
                    <a:lnTo>
                      <a:pt x="26543" y="0"/>
                    </a:lnTo>
                    <a:lnTo>
                      <a:pt x="23622" y="2412"/>
                    </a:lnTo>
                    <a:lnTo>
                      <a:pt x="23622" y="9016"/>
                    </a:lnTo>
                    <a:lnTo>
                      <a:pt x="26543" y="11811"/>
                    </a:lnTo>
                    <a:lnTo>
                      <a:pt x="32766" y="11811"/>
                    </a:lnTo>
                    <a:lnTo>
                      <a:pt x="35178" y="9016"/>
                    </a:lnTo>
                    <a:lnTo>
                      <a:pt x="35178" y="2412"/>
                    </a:lnTo>
                    <a:lnTo>
                      <a:pt x="32766" y="0"/>
                    </a:lnTo>
                    <a:close/>
                  </a:path>
                  <a:path w="317500" h="314325">
                    <a:moveTo>
                      <a:pt x="9144" y="0"/>
                    </a:moveTo>
                    <a:lnTo>
                      <a:pt x="2921" y="0"/>
                    </a:lnTo>
                    <a:lnTo>
                      <a:pt x="0" y="2412"/>
                    </a:lnTo>
                    <a:lnTo>
                      <a:pt x="0" y="9016"/>
                    </a:lnTo>
                    <a:lnTo>
                      <a:pt x="2921" y="11811"/>
                    </a:lnTo>
                    <a:lnTo>
                      <a:pt x="9144" y="11811"/>
                    </a:lnTo>
                    <a:lnTo>
                      <a:pt x="11556" y="9016"/>
                    </a:lnTo>
                    <a:lnTo>
                      <a:pt x="11556" y="241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8" name="组合 57"/>
            <p:cNvGrpSpPr>
              <a:grpSpLocks noChangeAspect="1"/>
            </p:cNvGrpSpPr>
            <p:nvPr/>
          </p:nvGrpSpPr>
          <p:grpSpPr>
            <a:xfrm>
              <a:off x="2351584" y="3995112"/>
              <a:ext cx="624790" cy="616868"/>
              <a:chOff x="8269007" y="2787537"/>
              <a:chExt cx="350520" cy="346075"/>
            </a:xfrm>
          </p:grpSpPr>
          <p:sp>
            <p:nvSpPr>
              <p:cNvPr id="59" name="object 32"/>
              <p:cNvSpPr/>
              <p:nvPr/>
            </p:nvSpPr>
            <p:spPr>
              <a:xfrm>
                <a:off x="8269007" y="2787537"/>
                <a:ext cx="350520" cy="346075"/>
              </a:xfrm>
              <a:custGeom>
                <a:avLst/>
                <a:gdLst/>
                <a:ahLst/>
                <a:cxnLst/>
                <a:rect l="l" t="t" r="r" b="b"/>
                <a:pathLst>
                  <a:path w="350520" h="346075">
                    <a:moveTo>
                      <a:pt x="345312" y="0"/>
                    </a:moveTo>
                    <a:lnTo>
                      <a:pt x="5206" y="0"/>
                    </a:lnTo>
                    <a:lnTo>
                      <a:pt x="0" y="5079"/>
                    </a:lnTo>
                    <a:lnTo>
                      <a:pt x="0" y="340867"/>
                    </a:lnTo>
                    <a:lnTo>
                      <a:pt x="5206" y="345948"/>
                    </a:lnTo>
                    <a:lnTo>
                      <a:pt x="345312" y="345948"/>
                    </a:lnTo>
                    <a:lnTo>
                      <a:pt x="350519" y="340867"/>
                    </a:lnTo>
                    <a:lnTo>
                      <a:pt x="350519" y="5079"/>
                    </a:lnTo>
                    <a:close/>
                  </a:path>
                </a:pathLst>
              </a:custGeom>
              <a:solidFill>
                <a:srgbClr val="3051DA"/>
              </a:solidFill>
              <a:effectLst/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0" name="object 33"/>
              <p:cNvSpPr/>
              <p:nvPr/>
            </p:nvSpPr>
            <p:spPr>
              <a:xfrm>
                <a:off x="8285517" y="2800998"/>
                <a:ext cx="317500" cy="314325"/>
              </a:xfrm>
              <a:custGeom>
                <a:avLst/>
                <a:gdLst/>
                <a:ahLst/>
                <a:cxnLst/>
                <a:rect l="l" t="t" r="r" b="b"/>
                <a:pathLst>
                  <a:path w="317500" h="314325">
                    <a:moveTo>
                      <a:pt x="314071" y="302387"/>
                    </a:moveTo>
                    <a:lnTo>
                      <a:pt x="307594" y="302387"/>
                    </a:lnTo>
                    <a:lnTo>
                      <a:pt x="305053" y="304926"/>
                    </a:lnTo>
                    <a:lnTo>
                      <a:pt x="305053" y="311530"/>
                    </a:lnTo>
                    <a:lnTo>
                      <a:pt x="307594" y="313943"/>
                    </a:lnTo>
                    <a:lnTo>
                      <a:pt x="314071" y="313943"/>
                    </a:lnTo>
                    <a:lnTo>
                      <a:pt x="316992" y="311530"/>
                    </a:lnTo>
                    <a:lnTo>
                      <a:pt x="316992" y="304926"/>
                    </a:lnTo>
                    <a:lnTo>
                      <a:pt x="314071" y="302387"/>
                    </a:lnTo>
                    <a:close/>
                  </a:path>
                  <a:path w="317500" h="314325">
                    <a:moveTo>
                      <a:pt x="290956" y="302387"/>
                    </a:moveTo>
                    <a:lnTo>
                      <a:pt x="284606" y="302387"/>
                    </a:lnTo>
                    <a:lnTo>
                      <a:pt x="281940" y="305053"/>
                    </a:lnTo>
                    <a:lnTo>
                      <a:pt x="281940" y="311403"/>
                    </a:lnTo>
                    <a:lnTo>
                      <a:pt x="284606" y="313943"/>
                    </a:lnTo>
                    <a:lnTo>
                      <a:pt x="290956" y="313943"/>
                    </a:lnTo>
                    <a:lnTo>
                      <a:pt x="293497" y="311403"/>
                    </a:lnTo>
                    <a:lnTo>
                      <a:pt x="293497" y="305053"/>
                    </a:lnTo>
                    <a:lnTo>
                      <a:pt x="290956" y="302387"/>
                    </a:lnTo>
                    <a:close/>
                  </a:path>
                  <a:path w="317500" h="314325">
                    <a:moveTo>
                      <a:pt x="267462" y="302387"/>
                    </a:moveTo>
                    <a:lnTo>
                      <a:pt x="261112" y="302387"/>
                    </a:lnTo>
                    <a:lnTo>
                      <a:pt x="258445" y="305053"/>
                    </a:lnTo>
                    <a:lnTo>
                      <a:pt x="258445" y="311403"/>
                    </a:lnTo>
                    <a:lnTo>
                      <a:pt x="261112" y="313943"/>
                    </a:lnTo>
                    <a:lnTo>
                      <a:pt x="267462" y="313943"/>
                    </a:lnTo>
                    <a:lnTo>
                      <a:pt x="270128" y="311403"/>
                    </a:lnTo>
                    <a:lnTo>
                      <a:pt x="270128" y="305053"/>
                    </a:lnTo>
                    <a:lnTo>
                      <a:pt x="267462" y="302387"/>
                    </a:lnTo>
                    <a:close/>
                  </a:path>
                  <a:path w="317500" h="314325">
                    <a:moveTo>
                      <a:pt x="243840" y="302387"/>
                    </a:moveTo>
                    <a:lnTo>
                      <a:pt x="237236" y="302387"/>
                    </a:lnTo>
                    <a:lnTo>
                      <a:pt x="234569" y="305053"/>
                    </a:lnTo>
                    <a:lnTo>
                      <a:pt x="234569" y="311403"/>
                    </a:lnTo>
                    <a:lnTo>
                      <a:pt x="237236" y="313943"/>
                    </a:lnTo>
                    <a:lnTo>
                      <a:pt x="243840" y="313943"/>
                    </a:lnTo>
                    <a:lnTo>
                      <a:pt x="246506" y="311403"/>
                    </a:lnTo>
                    <a:lnTo>
                      <a:pt x="246506" y="305053"/>
                    </a:lnTo>
                    <a:lnTo>
                      <a:pt x="243840" y="302387"/>
                    </a:lnTo>
                    <a:close/>
                  </a:path>
                  <a:path w="317500" h="314325">
                    <a:moveTo>
                      <a:pt x="220345" y="302387"/>
                    </a:moveTo>
                    <a:lnTo>
                      <a:pt x="213614" y="302387"/>
                    </a:lnTo>
                    <a:lnTo>
                      <a:pt x="210947" y="305053"/>
                    </a:lnTo>
                    <a:lnTo>
                      <a:pt x="210947" y="311403"/>
                    </a:lnTo>
                    <a:lnTo>
                      <a:pt x="213614" y="313943"/>
                    </a:lnTo>
                    <a:lnTo>
                      <a:pt x="220345" y="313943"/>
                    </a:lnTo>
                    <a:lnTo>
                      <a:pt x="223012" y="311403"/>
                    </a:lnTo>
                    <a:lnTo>
                      <a:pt x="223012" y="305053"/>
                    </a:lnTo>
                    <a:lnTo>
                      <a:pt x="220345" y="302387"/>
                    </a:lnTo>
                    <a:close/>
                  </a:path>
                  <a:path w="317500" h="314325">
                    <a:moveTo>
                      <a:pt x="196850" y="302387"/>
                    </a:moveTo>
                    <a:lnTo>
                      <a:pt x="190373" y="302387"/>
                    </a:lnTo>
                    <a:lnTo>
                      <a:pt x="187833" y="305053"/>
                    </a:lnTo>
                    <a:lnTo>
                      <a:pt x="187833" y="311403"/>
                    </a:lnTo>
                    <a:lnTo>
                      <a:pt x="190373" y="313943"/>
                    </a:lnTo>
                    <a:lnTo>
                      <a:pt x="196850" y="313943"/>
                    </a:lnTo>
                    <a:lnTo>
                      <a:pt x="199390" y="311403"/>
                    </a:lnTo>
                    <a:lnTo>
                      <a:pt x="199390" y="305053"/>
                    </a:lnTo>
                    <a:lnTo>
                      <a:pt x="196850" y="302387"/>
                    </a:lnTo>
                    <a:close/>
                  </a:path>
                  <a:path w="317500" h="314325">
                    <a:moveTo>
                      <a:pt x="173354" y="302387"/>
                    </a:moveTo>
                    <a:lnTo>
                      <a:pt x="167004" y="302387"/>
                    </a:lnTo>
                    <a:lnTo>
                      <a:pt x="164338" y="305053"/>
                    </a:lnTo>
                    <a:lnTo>
                      <a:pt x="164338" y="311403"/>
                    </a:lnTo>
                    <a:lnTo>
                      <a:pt x="167004" y="313943"/>
                    </a:lnTo>
                    <a:lnTo>
                      <a:pt x="173354" y="313943"/>
                    </a:lnTo>
                    <a:lnTo>
                      <a:pt x="175895" y="311403"/>
                    </a:lnTo>
                    <a:lnTo>
                      <a:pt x="175895" y="305053"/>
                    </a:lnTo>
                    <a:lnTo>
                      <a:pt x="173354" y="302387"/>
                    </a:lnTo>
                    <a:close/>
                  </a:path>
                  <a:path w="317500" h="314325">
                    <a:moveTo>
                      <a:pt x="150114" y="302387"/>
                    </a:moveTo>
                    <a:lnTo>
                      <a:pt x="143383" y="302387"/>
                    </a:lnTo>
                    <a:lnTo>
                      <a:pt x="140716" y="305053"/>
                    </a:lnTo>
                    <a:lnTo>
                      <a:pt x="140716" y="311403"/>
                    </a:lnTo>
                    <a:lnTo>
                      <a:pt x="143383" y="313943"/>
                    </a:lnTo>
                    <a:lnTo>
                      <a:pt x="150114" y="313943"/>
                    </a:lnTo>
                    <a:lnTo>
                      <a:pt x="152780" y="311403"/>
                    </a:lnTo>
                    <a:lnTo>
                      <a:pt x="152780" y="305053"/>
                    </a:lnTo>
                    <a:lnTo>
                      <a:pt x="150114" y="302387"/>
                    </a:lnTo>
                    <a:close/>
                  </a:path>
                  <a:path w="317500" h="314325">
                    <a:moveTo>
                      <a:pt x="126619" y="302387"/>
                    </a:moveTo>
                    <a:lnTo>
                      <a:pt x="120015" y="302387"/>
                    </a:lnTo>
                    <a:lnTo>
                      <a:pt x="117348" y="305053"/>
                    </a:lnTo>
                    <a:lnTo>
                      <a:pt x="117348" y="311403"/>
                    </a:lnTo>
                    <a:lnTo>
                      <a:pt x="120015" y="313943"/>
                    </a:lnTo>
                    <a:lnTo>
                      <a:pt x="126619" y="313943"/>
                    </a:lnTo>
                    <a:lnTo>
                      <a:pt x="129286" y="311403"/>
                    </a:lnTo>
                    <a:lnTo>
                      <a:pt x="129286" y="305053"/>
                    </a:lnTo>
                    <a:lnTo>
                      <a:pt x="126619" y="302387"/>
                    </a:lnTo>
                    <a:close/>
                  </a:path>
                  <a:path w="317500" h="314325">
                    <a:moveTo>
                      <a:pt x="103124" y="302387"/>
                    </a:moveTo>
                    <a:lnTo>
                      <a:pt x="96774" y="302387"/>
                    </a:lnTo>
                    <a:lnTo>
                      <a:pt x="94106" y="305053"/>
                    </a:lnTo>
                    <a:lnTo>
                      <a:pt x="94106" y="311403"/>
                    </a:lnTo>
                    <a:lnTo>
                      <a:pt x="96774" y="313943"/>
                    </a:lnTo>
                    <a:lnTo>
                      <a:pt x="103124" y="313943"/>
                    </a:lnTo>
                    <a:lnTo>
                      <a:pt x="105664" y="311403"/>
                    </a:lnTo>
                    <a:lnTo>
                      <a:pt x="105664" y="305053"/>
                    </a:lnTo>
                    <a:lnTo>
                      <a:pt x="103124" y="302387"/>
                    </a:lnTo>
                    <a:close/>
                  </a:path>
                  <a:path w="317500" h="314325">
                    <a:moveTo>
                      <a:pt x="79628" y="302387"/>
                    </a:moveTo>
                    <a:lnTo>
                      <a:pt x="73278" y="302387"/>
                    </a:lnTo>
                    <a:lnTo>
                      <a:pt x="70739" y="305053"/>
                    </a:lnTo>
                    <a:lnTo>
                      <a:pt x="70739" y="311403"/>
                    </a:lnTo>
                    <a:lnTo>
                      <a:pt x="73278" y="313943"/>
                    </a:lnTo>
                    <a:lnTo>
                      <a:pt x="79628" y="313943"/>
                    </a:lnTo>
                    <a:lnTo>
                      <a:pt x="82296" y="311403"/>
                    </a:lnTo>
                    <a:lnTo>
                      <a:pt x="82296" y="305053"/>
                    </a:lnTo>
                    <a:lnTo>
                      <a:pt x="79628" y="302387"/>
                    </a:lnTo>
                    <a:close/>
                  </a:path>
                  <a:path w="317500" h="314325">
                    <a:moveTo>
                      <a:pt x="56006" y="302387"/>
                    </a:moveTo>
                    <a:lnTo>
                      <a:pt x="49656" y="302387"/>
                    </a:lnTo>
                    <a:lnTo>
                      <a:pt x="47117" y="305053"/>
                    </a:lnTo>
                    <a:lnTo>
                      <a:pt x="47117" y="311403"/>
                    </a:lnTo>
                    <a:lnTo>
                      <a:pt x="49656" y="313943"/>
                    </a:lnTo>
                    <a:lnTo>
                      <a:pt x="56006" y="313943"/>
                    </a:lnTo>
                    <a:lnTo>
                      <a:pt x="58674" y="311403"/>
                    </a:lnTo>
                    <a:lnTo>
                      <a:pt x="58674" y="305053"/>
                    </a:lnTo>
                    <a:lnTo>
                      <a:pt x="56006" y="302387"/>
                    </a:lnTo>
                    <a:close/>
                  </a:path>
                  <a:path w="317500" h="314325">
                    <a:moveTo>
                      <a:pt x="32639" y="302387"/>
                    </a:moveTo>
                    <a:lnTo>
                      <a:pt x="26162" y="302387"/>
                    </a:lnTo>
                    <a:lnTo>
                      <a:pt x="23622" y="305053"/>
                    </a:lnTo>
                    <a:lnTo>
                      <a:pt x="23622" y="311403"/>
                    </a:lnTo>
                    <a:lnTo>
                      <a:pt x="26162" y="313943"/>
                    </a:lnTo>
                    <a:lnTo>
                      <a:pt x="32639" y="313943"/>
                    </a:lnTo>
                    <a:lnTo>
                      <a:pt x="35178" y="311403"/>
                    </a:lnTo>
                    <a:lnTo>
                      <a:pt x="35178" y="305053"/>
                    </a:lnTo>
                    <a:lnTo>
                      <a:pt x="32639" y="302387"/>
                    </a:lnTo>
                    <a:close/>
                  </a:path>
                  <a:path w="317500" h="314325">
                    <a:moveTo>
                      <a:pt x="9017" y="302387"/>
                    </a:moveTo>
                    <a:lnTo>
                      <a:pt x="2540" y="302387"/>
                    </a:lnTo>
                    <a:lnTo>
                      <a:pt x="0" y="305053"/>
                    </a:lnTo>
                    <a:lnTo>
                      <a:pt x="0" y="311403"/>
                    </a:lnTo>
                    <a:lnTo>
                      <a:pt x="2540" y="313943"/>
                    </a:lnTo>
                    <a:lnTo>
                      <a:pt x="9017" y="313943"/>
                    </a:lnTo>
                    <a:lnTo>
                      <a:pt x="11556" y="311403"/>
                    </a:lnTo>
                    <a:lnTo>
                      <a:pt x="11556" y="305053"/>
                    </a:lnTo>
                    <a:lnTo>
                      <a:pt x="9017" y="302387"/>
                    </a:lnTo>
                    <a:close/>
                  </a:path>
                  <a:path w="317500" h="314325">
                    <a:moveTo>
                      <a:pt x="314071" y="278891"/>
                    </a:moveTo>
                    <a:lnTo>
                      <a:pt x="307594" y="278891"/>
                    </a:lnTo>
                    <a:lnTo>
                      <a:pt x="305053" y="281813"/>
                    </a:lnTo>
                    <a:lnTo>
                      <a:pt x="305053" y="288036"/>
                    </a:lnTo>
                    <a:lnTo>
                      <a:pt x="307594" y="290449"/>
                    </a:lnTo>
                    <a:lnTo>
                      <a:pt x="314071" y="290449"/>
                    </a:lnTo>
                    <a:lnTo>
                      <a:pt x="316992" y="288036"/>
                    </a:lnTo>
                    <a:lnTo>
                      <a:pt x="316992" y="281813"/>
                    </a:lnTo>
                    <a:lnTo>
                      <a:pt x="314071" y="278891"/>
                    </a:lnTo>
                    <a:close/>
                  </a:path>
                  <a:path w="317500" h="314325">
                    <a:moveTo>
                      <a:pt x="290956" y="278891"/>
                    </a:moveTo>
                    <a:lnTo>
                      <a:pt x="284606" y="278891"/>
                    </a:lnTo>
                    <a:lnTo>
                      <a:pt x="281940" y="281559"/>
                    </a:lnTo>
                    <a:lnTo>
                      <a:pt x="281940" y="287909"/>
                    </a:lnTo>
                    <a:lnTo>
                      <a:pt x="284606" y="290449"/>
                    </a:lnTo>
                    <a:lnTo>
                      <a:pt x="290956" y="290449"/>
                    </a:lnTo>
                    <a:lnTo>
                      <a:pt x="293497" y="287909"/>
                    </a:lnTo>
                    <a:lnTo>
                      <a:pt x="293497" y="281559"/>
                    </a:lnTo>
                    <a:lnTo>
                      <a:pt x="290956" y="278891"/>
                    </a:lnTo>
                    <a:close/>
                  </a:path>
                  <a:path w="317500" h="314325">
                    <a:moveTo>
                      <a:pt x="267462" y="278891"/>
                    </a:moveTo>
                    <a:lnTo>
                      <a:pt x="261112" y="278891"/>
                    </a:lnTo>
                    <a:lnTo>
                      <a:pt x="258445" y="281559"/>
                    </a:lnTo>
                    <a:lnTo>
                      <a:pt x="258445" y="287909"/>
                    </a:lnTo>
                    <a:lnTo>
                      <a:pt x="261112" y="290449"/>
                    </a:lnTo>
                    <a:lnTo>
                      <a:pt x="267462" y="290449"/>
                    </a:lnTo>
                    <a:lnTo>
                      <a:pt x="270128" y="287909"/>
                    </a:lnTo>
                    <a:lnTo>
                      <a:pt x="270128" y="281559"/>
                    </a:lnTo>
                    <a:lnTo>
                      <a:pt x="267462" y="278891"/>
                    </a:lnTo>
                    <a:close/>
                  </a:path>
                  <a:path w="317500" h="314325">
                    <a:moveTo>
                      <a:pt x="243840" y="278891"/>
                    </a:moveTo>
                    <a:lnTo>
                      <a:pt x="237236" y="278891"/>
                    </a:lnTo>
                    <a:lnTo>
                      <a:pt x="234569" y="281559"/>
                    </a:lnTo>
                    <a:lnTo>
                      <a:pt x="234569" y="287909"/>
                    </a:lnTo>
                    <a:lnTo>
                      <a:pt x="237236" y="290449"/>
                    </a:lnTo>
                    <a:lnTo>
                      <a:pt x="243840" y="290449"/>
                    </a:lnTo>
                    <a:lnTo>
                      <a:pt x="246506" y="287909"/>
                    </a:lnTo>
                    <a:lnTo>
                      <a:pt x="246506" y="281559"/>
                    </a:lnTo>
                    <a:lnTo>
                      <a:pt x="243840" y="278891"/>
                    </a:lnTo>
                    <a:close/>
                  </a:path>
                  <a:path w="317500" h="314325">
                    <a:moveTo>
                      <a:pt x="220345" y="278891"/>
                    </a:moveTo>
                    <a:lnTo>
                      <a:pt x="213614" y="278891"/>
                    </a:lnTo>
                    <a:lnTo>
                      <a:pt x="210947" y="281559"/>
                    </a:lnTo>
                    <a:lnTo>
                      <a:pt x="210947" y="287909"/>
                    </a:lnTo>
                    <a:lnTo>
                      <a:pt x="213614" y="290449"/>
                    </a:lnTo>
                    <a:lnTo>
                      <a:pt x="220345" y="290449"/>
                    </a:lnTo>
                    <a:lnTo>
                      <a:pt x="223012" y="287909"/>
                    </a:lnTo>
                    <a:lnTo>
                      <a:pt x="223012" y="281559"/>
                    </a:lnTo>
                    <a:lnTo>
                      <a:pt x="220345" y="278891"/>
                    </a:lnTo>
                    <a:close/>
                  </a:path>
                  <a:path w="317500" h="314325">
                    <a:moveTo>
                      <a:pt x="196850" y="278891"/>
                    </a:moveTo>
                    <a:lnTo>
                      <a:pt x="190373" y="278891"/>
                    </a:lnTo>
                    <a:lnTo>
                      <a:pt x="187833" y="281559"/>
                    </a:lnTo>
                    <a:lnTo>
                      <a:pt x="187833" y="287909"/>
                    </a:lnTo>
                    <a:lnTo>
                      <a:pt x="190373" y="290449"/>
                    </a:lnTo>
                    <a:lnTo>
                      <a:pt x="196850" y="290449"/>
                    </a:lnTo>
                    <a:lnTo>
                      <a:pt x="199390" y="287909"/>
                    </a:lnTo>
                    <a:lnTo>
                      <a:pt x="199390" y="281559"/>
                    </a:lnTo>
                    <a:lnTo>
                      <a:pt x="196850" y="278891"/>
                    </a:lnTo>
                    <a:close/>
                  </a:path>
                  <a:path w="317500" h="314325">
                    <a:moveTo>
                      <a:pt x="173354" y="278891"/>
                    </a:moveTo>
                    <a:lnTo>
                      <a:pt x="167004" y="278891"/>
                    </a:lnTo>
                    <a:lnTo>
                      <a:pt x="164338" y="281559"/>
                    </a:lnTo>
                    <a:lnTo>
                      <a:pt x="164338" y="287909"/>
                    </a:lnTo>
                    <a:lnTo>
                      <a:pt x="167004" y="290449"/>
                    </a:lnTo>
                    <a:lnTo>
                      <a:pt x="173354" y="290449"/>
                    </a:lnTo>
                    <a:lnTo>
                      <a:pt x="175895" y="287909"/>
                    </a:lnTo>
                    <a:lnTo>
                      <a:pt x="175895" y="281559"/>
                    </a:lnTo>
                    <a:lnTo>
                      <a:pt x="173354" y="278891"/>
                    </a:lnTo>
                    <a:close/>
                  </a:path>
                  <a:path w="317500" h="314325">
                    <a:moveTo>
                      <a:pt x="150114" y="278891"/>
                    </a:moveTo>
                    <a:lnTo>
                      <a:pt x="143383" y="278891"/>
                    </a:lnTo>
                    <a:lnTo>
                      <a:pt x="140716" y="281559"/>
                    </a:lnTo>
                    <a:lnTo>
                      <a:pt x="140716" y="287909"/>
                    </a:lnTo>
                    <a:lnTo>
                      <a:pt x="143383" y="290449"/>
                    </a:lnTo>
                    <a:lnTo>
                      <a:pt x="150114" y="290449"/>
                    </a:lnTo>
                    <a:lnTo>
                      <a:pt x="152780" y="287909"/>
                    </a:lnTo>
                    <a:lnTo>
                      <a:pt x="152780" y="281559"/>
                    </a:lnTo>
                    <a:lnTo>
                      <a:pt x="150114" y="278891"/>
                    </a:lnTo>
                    <a:close/>
                  </a:path>
                  <a:path w="317500" h="314325">
                    <a:moveTo>
                      <a:pt x="126619" y="278891"/>
                    </a:moveTo>
                    <a:lnTo>
                      <a:pt x="120015" y="278891"/>
                    </a:lnTo>
                    <a:lnTo>
                      <a:pt x="117348" y="281559"/>
                    </a:lnTo>
                    <a:lnTo>
                      <a:pt x="117348" y="287909"/>
                    </a:lnTo>
                    <a:lnTo>
                      <a:pt x="120015" y="290449"/>
                    </a:lnTo>
                    <a:lnTo>
                      <a:pt x="126619" y="290449"/>
                    </a:lnTo>
                    <a:lnTo>
                      <a:pt x="129286" y="287909"/>
                    </a:lnTo>
                    <a:lnTo>
                      <a:pt x="129286" y="281559"/>
                    </a:lnTo>
                    <a:lnTo>
                      <a:pt x="126619" y="278891"/>
                    </a:lnTo>
                    <a:close/>
                  </a:path>
                  <a:path w="317500" h="314325">
                    <a:moveTo>
                      <a:pt x="103124" y="278891"/>
                    </a:moveTo>
                    <a:lnTo>
                      <a:pt x="96774" y="278891"/>
                    </a:lnTo>
                    <a:lnTo>
                      <a:pt x="94106" y="281559"/>
                    </a:lnTo>
                    <a:lnTo>
                      <a:pt x="94106" y="287909"/>
                    </a:lnTo>
                    <a:lnTo>
                      <a:pt x="96774" y="290449"/>
                    </a:lnTo>
                    <a:lnTo>
                      <a:pt x="103124" y="290449"/>
                    </a:lnTo>
                    <a:lnTo>
                      <a:pt x="105664" y="287909"/>
                    </a:lnTo>
                    <a:lnTo>
                      <a:pt x="105664" y="281559"/>
                    </a:lnTo>
                    <a:lnTo>
                      <a:pt x="103124" y="278891"/>
                    </a:lnTo>
                    <a:close/>
                  </a:path>
                  <a:path w="317500" h="314325">
                    <a:moveTo>
                      <a:pt x="79628" y="278891"/>
                    </a:moveTo>
                    <a:lnTo>
                      <a:pt x="73278" y="278891"/>
                    </a:lnTo>
                    <a:lnTo>
                      <a:pt x="70739" y="281559"/>
                    </a:lnTo>
                    <a:lnTo>
                      <a:pt x="70739" y="287909"/>
                    </a:lnTo>
                    <a:lnTo>
                      <a:pt x="73278" y="290449"/>
                    </a:lnTo>
                    <a:lnTo>
                      <a:pt x="79628" y="290449"/>
                    </a:lnTo>
                    <a:lnTo>
                      <a:pt x="82296" y="287909"/>
                    </a:lnTo>
                    <a:lnTo>
                      <a:pt x="82296" y="281559"/>
                    </a:lnTo>
                    <a:lnTo>
                      <a:pt x="79628" y="278891"/>
                    </a:lnTo>
                    <a:close/>
                  </a:path>
                  <a:path w="317500" h="314325">
                    <a:moveTo>
                      <a:pt x="56006" y="278891"/>
                    </a:moveTo>
                    <a:lnTo>
                      <a:pt x="49656" y="278891"/>
                    </a:lnTo>
                    <a:lnTo>
                      <a:pt x="47117" y="281559"/>
                    </a:lnTo>
                    <a:lnTo>
                      <a:pt x="47117" y="287909"/>
                    </a:lnTo>
                    <a:lnTo>
                      <a:pt x="49656" y="290449"/>
                    </a:lnTo>
                    <a:lnTo>
                      <a:pt x="56006" y="290449"/>
                    </a:lnTo>
                    <a:lnTo>
                      <a:pt x="58674" y="287909"/>
                    </a:lnTo>
                    <a:lnTo>
                      <a:pt x="58674" y="281559"/>
                    </a:lnTo>
                    <a:lnTo>
                      <a:pt x="56006" y="278891"/>
                    </a:lnTo>
                    <a:close/>
                  </a:path>
                  <a:path w="317500" h="314325">
                    <a:moveTo>
                      <a:pt x="32639" y="278891"/>
                    </a:moveTo>
                    <a:lnTo>
                      <a:pt x="26162" y="278891"/>
                    </a:lnTo>
                    <a:lnTo>
                      <a:pt x="23622" y="281559"/>
                    </a:lnTo>
                    <a:lnTo>
                      <a:pt x="23622" y="287909"/>
                    </a:lnTo>
                    <a:lnTo>
                      <a:pt x="26162" y="290449"/>
                    </a:lnTo>
                    <a:lnTo>
                      <a:pt x="32639" y="290449"/>
                    </a:lnTo>
                    <a:lnTo>
                      <a:pt x="35178" y="287909"/>
                    </a:lnTo>
                    <a:lnTo>
                      <a:pt x="35178" y="281559"/>
                    </a:lnTo>
                    <a:lnTo>
                      <a:pt x="32639" y="278891"/>
                    </a:lnTo>
                    <a:close/>
                  </a:path>
                  <a:path w="317500" h="314325">
                    <a:moveTo>
                      <a:pt x="9017" y="278891"/>
                    </a:moveTo>
                    <a:lnTo>
                      <a:pt x="2540" y="278891"/>
                    </a:lnTo>
                    <a:lnTo>
                      <a:pt x="0" y="281559"/>
                    </a:lnTo>
                    <a:lnTo>
                      <a:pt x="0" y="287909"/>
                    </a:lnTo>
                    <a:lnTo>
                      <a:pt x="2540" y="290449"/>
                    </a:lnTo>
                    <a:lnTo>
                      <a:pt x="9017" y="290449"/>
                    </a:lnTo>
                    <a:lnTo>
                      <a:pt x="11556" y="287909"/>
                    </a:lnTo>
                    <a:lnTo>
                      <a:pt x="11556" y="281559"/>
                    </a:lnTo>
                    <a:lnTo>
                      <a:pt x="9017" y="278891"/>
                    </a:lnTo>
                    <a:close/>
                  </a:path>
                  <a:path w="317500" h="314325">
                    <a:moveTo>
                      <a:pt x="314071" y="255650"/>
                    </a:moveTo>
                    <a:lnTo>
                      <a:pt x="307594" y="255650"/>
                    </a:lnTo>
                    <a:lnTo>
                      <a:pt x="305053" y="258445"/>
                    </a:lnTo>
                    <a:lnTo>
                      <a:pt x="305053" y="264540"/>
                    </a:lnTo>
                    <a:lnTo>
                      <a:pt x="307594" y="267462"/>
                    </a:lnTo>
                    <a:lnTo>
                      <a:pt x="314071" y="267462"/>
                    </a:lnTo>
                    <a:lnTo>
                      <a:pt x="316992" y="264540"/>
                    </a:lnTo>
                    <a:lnTo>
                      <a:pt x="316992" y="258445"/>
                    </a:lnTo>
                    <a:lnTo>
                      <a:pt x="314071" y="255650"/>
                    </a:lnTo>
                    <a:close/>
                  </a:path>
                  <a:path w="317500" h="314325">
                    <a:moveTo>
                      <a:pt x="290956" y="255650"/>
                    </a:moveTo>
                    <a:lnTo>
                      <a:pt x="284606" y="255650"/>
                    </a:lnTo>
                    <a:lnTo>
                      <a:pt x="281940" y="258190"/>
                    </a:lnTo>
                    <a:lnTo>
                      <a:pt x="281940" y="264795"/>
                    </a:lnTo>
                    <a:lnTo>
                      <a:pt x="284606" y="267462"/>
                    </a:lnTo>
                    <a:lnTo>
                      <a:pt x="290956" y="267462"/>
                    </a:lnTo>
                    <a:lnTo>
                      <a:pt x="293497" y="264795"/>
                    </a:lnTo>
                    <a:lnTo>
                      <a:pt x="293497" y="258190"/>
                    </a:lnTo>
                    <a:lnTo>
                      <a:pt x="290956" y="255650"/>
                    </a:lnTo>
                    <a:close/>
                  </a:path>
                  <a:path w="317500" h="314325">
                    <a:moveTo>
                      <a:pt x="32639" y="255650"/>
                    </a:moveTo>
                    <a:lnTo>
                      <a:pt x="26162" y="255650"/>
                    </a:lnTo>
                    <a:lnTo>
                      <a:pt x="23622" y="258190"/>
                    </a:lnTo>
                    <a:lnTo>
                      <a:pt x="23622" y="264795"/>
                    </a:lnTo>
                    <a:lnTo>
                      <a:pt x="26162" y="267462"/>
                    </a:lnTo>
                    <a:lnTo>
                      <a:pt x="32639" y="267462"/>
                    </a:lnTo>
                    <a:lnTo>
                      <a:pt x="35178" y="264795"/>
                    </a:lnTo>
                    <a:lnTo>
                      <a:pt x="35178" y="258190"/>
                    </a:lnTo>
                    <a:lnTo>
                      <a:pt x="32639" y="255650"/>
                    </a:lnTo>
                    <a:close/>
                  </a:path>
                  <a:path w="317500" h="314325">
                    <a:moveTo>
                      <a:pt x="9017" y="255650"/>
                    </a:moveTo>
                    <a:lnTo>
                      <a:pt x="2540" y="255650"/>
                    </a:lnTo>
                    <a:lnTo>
                      <a:pt x="0" y="258190"/>
                    </a:lnTo>
                    <a:lnTo>
                      <a:pt x="0" y="264795"/>
                    </a:lnTo>
                    <a:lnTo>
                      <a:pt x="2540" y="267462"/>
                    </a:lnTo>
                    <a:lnTo>
                      <a:pt x="9017" y="267462"/>
                    </a:lnTo>
                    <a:lnTo>
                      <a:pt x="11556" y="264795"/>
                    </a:lnTo>
                    <a:lnTo>
                      <a:pt x="11556" y="258190"/>
                    </a:lnTo>
                    <a:lnTo>
                      <a:pt x="9017" y="255650"/>
                    </a:lnTo>
                    <a:close/>
                  </a:path>
                  <a:path w="317500" h="314325">
                    <a:moveTo>
                      <a:pt x="314071" y="232537"/>
                    </a:moveTo>
                    <a:lnTo>
                      <a:pt x="307594" y="232537"/>
                    </a:lnTo>
                    <a:lnTo>
                      <a:pt x="305053" y="235076"/>
                    </a:lnTo>
                    <a:lnTo>
                      <a:pt x="305053" y="241680"/>
                    </a:lnTo>
                    <a:lnTo>
                      <a:pt x="307594" y="244093"/>
                    </a:lnTo>
                    <a:lnTo>
                      <a:pt x="314071" y="244093"/>
                    </a:lnTo>
                    <a:lnTo>
                      <a:pt x="316992" y="241680"/>
                    </a:lnTo>
                    <a:lnTo>
                      <a:pt x="316992" y="235076"/>
                    </a:lnTo>
                    <a:lnTo>
                      <a:pt x="314071" y="232537"/>
                    </a:lnTo>
                    <a:close/>
                  </a:path>
                  <a:path w="317500" h="314325">
                    <a:moveTo>
                      <a:pt x="290956" y="232537"/>
                    </a:moveTo>
                    <a:lnTo>
                      <a:pt x="284606" y="232537"/>
                    </a:lnTo>
                    <a:lnTo>
                      <a:pt x="281940" y="235203"/>
                    </a:lnTo>
                    <a:lnTo>
                      <a:pt x="281940" y="241553"/>
                    </a:lnTo>
                    <a:lnTo>
                      <a:pt x="284606" y="244093"/>
                    </a:lnTo>
                    <a:lnTo>
                      <a:pt x="290956" y="244093"/>
                    </a:lnTo>
                    <a:lnTo>
                      <a:pt x="293497" y="241553"/>
                    </a:lnTo>
                    <a:lnTo>
                      <a:pt x="293497" y="235203"/>
                    </a:lnTo>
                    <a:lnTo>
                      <a:pt x="290956" y="232537"/>
                    </a:lnTo>
                    <a:close/>
                  </a:path>
                  <a:path w="317500" h="314325">
                    <a:moveTo>
                      <a:pt x="32639" y="232537"/>
                    </a:moveTo>
                    <a:lnTo>
                      <a:pt x="26162" y="232537"/>
                    </a:lnTo>
                    <a:lnTo>
                      <a:pt x="23622" y="235203"/>
                    </a:lnTo>
                    <a:lnTo>
                      <a:pt x="23622" y="241553"/>
                    </a:lnTo>
                    <a:lnTo>
                      <a:pt x="26162" y="244093"/>
                    </a:lnTo>
                    <a:lnTo>
                      <a:pt x="32639" y="244093"/>
                    </a:lnTo>
                    <a:lnTo>
                      <a:pt x="35178" y="241553"/>
                    </a:lnTo>
                    <a:lnTo>
                      <a:pt x="35178" y="235203"/>
                    </a:lnTo>
                    <a:lnTo>
                      <a:pt x="32639" y="232537"/>
                    </a:lnTo>
                    <a:close/>
                  </a:path>
                  <a:path w="317500" h="314325">
                    <a:moveTo>
                      <a:pt x="9017" y="232537"/>
                    </a:moveTo>
                    <a:lnTo>
                      <a:pt x="2540" y="232537"/>
                    </a:lnTo>
                    <a:lnTo>
                      <a:pt x="0" y="235203"/>
                    </a:lnTo>
                    <a:lnTo>
                      <a:pt x="0" y="241553"/>
                    </a:lnTo>
                    <a:lnTo>
                      <a:pt x="2540" y="244093"/>
                    </a:lnTo>
                    <a:lnTo>
                      <a:pt x="9017" y="244093"/>
                    </a:lnTo>
                    <a:lnTo>
                      <a:pt x="11556" y="241553"/>
                    </a:lnTo>
                    <a:lnTo>
                      <a:pt x="11556" y="235203"/>
                    </a:lnTo>
                    <a:lnTo>
                      <a:pt x="9017" y="232537"/>
                    </a:lnTo>
                    <a:close/>
                  </a:path>
                  <a:path w="317500" h="314325">
                    <a:moveTo>
                      <a:pt x="314071" y="209041"/>
                    </a:moveTo>
                    <a:lnTo>
                      <a:pt x="307594" y="209041"/>
                    </a:lnTo>
                    <a:lnTo>
                      <a:pt x="305053" y="211582"/>
                    </a:lnTo>
                    <a:lnTo>
                      <a:pt x="305053" y="218186"/>
                    </a:lnTo>
                    <a:lnTo>
                      <a:pt x="307594" y="220599"/>
                    </a:lnTo>
                    <a:lnTo>
                      <a:pt x="314071" y="220599"/>
                    </a:lnTo>
                    <a:lnTo>
                      <a:pt x="316992" y="218186"/>
                    </a:lnTo>
                    <a:lnTo>
                      <a:pt x="316992" y="211582"/>
                    </a:lnTo>
                    <a:lnTo>
                      <a:pt x="314071" y="209041"/>
                    </a:lnTo>
                    <a:close/>
                  </a:path>
                  <a:path w="317500" h="314325">
                    <a:moveTo>
                      <a:pt x="290956" y="209041"/>
                    </a:moveTo>
                    <a:lnTo>
                      <a:pt x="284606" y="209041"/>
                    </a:lnTo>
                    <a:lnTo>
                      <a:pt x="281940" y="211709"/>
                    </a:lnTo>
                    <a:lnTo>
                      <a:pt x="281940" y="218059"/>
                    </a:lnTo>
                    <a:lnTo>
                      <a:pt x="284606" y="220599"/>
                    </a:lnTo>
                    <a:lnTo>
                      <a:pt x="290956" y="220599"/>
                    </a:lnTo>
                    <a:lnTo>
                      <a:pt x="293497" y="218059"/>
                    </a:lnTo>
                    <a:lnTo>
                      <a:pt x="293497" y="211709"/>
                    </a:lnTo>
                    <a:lnTo>
                      <a:pt x="290956" y="209041"/>
                    </a:lnTo>
                    <a:close/>
                  </a:path>
                  <a:path w="317500" h="314325">
                    <a:moveTo>
                      <a:pt x="32639" y="209041"/>
                    </a:moveTo>
                    <a:lnTo>
                      <a:pt x="26162" y="209041"/>
                    </a:lnTo>
                    <a:lnTo>
                      <a:pt x="23622" y="211709"/>
                    </a:lnTo>
                    <a:lnTo>
                      <a:pt x="23622" y="218059"/>
                    </a:lnTo>
                    <a:lnTo>
                      <a:pt x="26162" y="220599"/>
                    </a:lnTo>
                    <a:lnTo>
                      <a:pt x="32639" y="220599"/>
                    </a:lnTo>
                    <a:lnTo>
                      <a:pt x="35178" y="218059"/>
                    </a:lnTo>
                    <a:lnTo>
                      <a:pt x="35178" y="211709"/>
                    </a:lnTo>
                    <a:lnTo>
                      <a:pt x="32639" y="209041"/>
                    </a:lnTo>
                    <a:close/>
                  </a:path>
                  <a:path w="317500" h="314325">
                    <a:moveTo>
                      <a:pt x="9017" y="209041"/>
                    </a:moveTo>
                    <a:lnTo>
                      <a:pt x="2540" y="209041"/>
                    </a:lnTo>
                    <a:lnTo>
                      <a:pt x="0" y="211709"/>
                    </a:lnTo>
                    <a:lnTo>
                      <a:pt x="0" y="218059"/>
                    </a:lnTo>
                    <a:lnTo>
                      <a:pt x="2540" y="220599"/>
                    </a:lnTo>
                    <a:lnTo>
                      <a:pt x="9017" y="220599"/>
                    </a:lnTo>
                    <a:lnTo>
                      <a:pt x="11556" y="218059"/>
                    </a:lnTo>
                    <a:lnTo>
                      <a:pt x="11556" y="211709"/>
                    </a:lnTo>
                    <a:lnTo>
                      <a:pt x="9017" y="209041"/>
                    </a:lnTo>
                    <a:close/>
                  </a:path>
                  <a:path w="317500" h="314325">
                    <a:moveTo>
                      <a:pt x="314071" y="185800"/>
                    </a:moveTo>
                    <a:lnTo>
                      <a:pt x="307594" y="185800"/>
                    </a:lnTo>
                    <a:lnTo>
                      <a:pt x="305053" y="188595"/>
                    </a:lnTo>
                    <a:lnTo>
                      <a:pt x="305053" y="195072"/>
                    </a:lnTo>
                    <a:lnTo>
                      <a:pt x="307594" y="197612"/>
                    </a:lnTo>
                    <a:lnTo>
                      <a:pt x="314071" y="197612"/>
                    </a:lnTo>
                    <a:lnTo>
                      <a:pt x="316992" y="195072"/>
                    </a:lnTo>
                    <a:lnTo>
                      <a:pt x="316992" y="188595"/>
                    </a:lnTo>
                    <a:lnTo>
                      <a:pt x="314071" y="185800"/>
                    </a:lnTo>
                    <a:close/>
                  </a:path>
                  <a:path w="317500" h="314325">
                    <a:moveTo>
                      <a:pt x="290702" y="185800"/>
                    </a:moveTo>
                    <a:lnTo>
                      <a:pt x="284479" y="185800"/>
                    </a:lnTo>
                    <a:lnTo>
                      <a:pt x="281940" y="188595"/>
                    </a:lnTo>
                    <a:lnTo>
                      <a:pt x="281940" y="195072"/>
                    </a:lnTo>
                    <a:lnTo>
                      <a:pt x="284479" y="197612"/>
                    </a:lnTo>
                    <a:lnTo>
                      <a:pt x="290702" y="197612"/>
                    </a:lnTo>
                    <a:lnTo>
                      <a:pt x="293497" y="195072"/>
                    </a:lnTo>
                    <a:lnTo>
                      <a:pt x="293497" y="188595"/>
                    </a:lnTo>
                    <a:lnTo>
                      <a:pt x="290702" y="185800"/>
                    </a:lnTo>
                    <a:close/>
                  </a:path>
                  <a:path w="317500" h="314325">
                    <a:moveTo>
                      <a:pt x="32766" y="185800"/>
                    </a:moveTo>
                    <a:lnTo>
                      <a:pt x="26543" y="185800"/>
                    </a:lnTo>
                    <a:lnTo>
                      <a:pt x="23622" y="188595"/>
                    </a:lnTo>
                    <a:lnTo>
                      <a:pt x="23622" y="195072"/>
                    </a:lnTo>
                    <a:lnTo>
                      <a:pt x="26543" y="197612"/>
                    </a:lnTo>
                    <a:lnTo>
                      <a:pt x="32766" y="197612"/>
                    </a:lnTo>
                    <a:lnTo>
                      <a:pt x="35178" y="195072"/>
                    </a:lnTo>
                    <a:lnTo>
                      <a:pt x="35178" y="188595"/>
                    </a:lnTo>
                    <a:lnTo>
                      <a:pt x="32766" y="185800"/>
                    </a:lnTo>
                    <a:close/>
                  </a:path>
                  <a:path w="317500" h="314325">
                    <a:moveTo>
                      <a:pt x="9144" y="185800"/>
                    </a:moveTo>
                    <a:lnTo>
                      <a:pt x="2921" y="185800"/>
                    </a:lnTo>
                    <a:lnTo>
                      <a:pt x="0" y="188595"/>
                    </a:lnTo>
                    <a:lnTo>
                      <a:pt x="0" y="195072"/>
                    </a:lnTo>
                    <a:lnTo>
                      <a:pt x="2921" y="197612"/>
                    </a:lnTo>
                    <a:lnTo>
                      <a:pt x="9144" y="197612"/>
                    </a:lnTo>
                    <a:lnTo>
                      <a:pt x="11556" y="195072"/>
                    </a:lnTo>
                    <a:lnTo>
                      <a:pt x="11556" y="188595"/>
                    </a:lnTo>
                    <a:lnTo>
                      <a:pt x="9144" y="185800"/>
                    </a:lnTo>
                    <a:close/>
                  </a:path>
                  <a:path w="317500" h="314325">
                    <a:moveTo>
                      <a:pt x="314071" y="162687"/>
                    </a:moveTo>
                    <a:lnTo>
                      <a:pt x="307594" y="162687"/>
                    </a:lnTo>
                    <a:lnTo>
                      <a:pt x="305053" y="165608"/>
                    </a:lnTo>
                    <a:lnTo>
                      <a:pt x="305053" y="171830"/>
                    </a:lnTo>
                    <a:lnTo>
                      <a:pt x="307594" y="174243"/>
                    </a:lnTo>
                    <a:lnTo>
                      <a:pt x="314071" y="174243"/>
                    </a:lnTo>
                    <a:lnTo>
                      <a:pt x="316992" y="171830"/>
                    </a:lnTo>
                    <a:lnTo>
                      <a:pt x="316992" y="165608"/>
                    </a:lnTo>
                    <a:lnTo>
                      <a:pt x="314071" y="162687"/>
                    </a:lnTo>
                    <a:close/>
                  </a:path>
                  <a:path w="317500" h="314325">
                    <a:moveTo>
                      <a:pt x="290956" y="162687"/>
                    </a:moveTo>
                    <a:lnTo>
                      <a:pt x="284606" y="162687"/>
                    </a:lnTo>
                    <a:lnTo>
                      <a:pt x="281940" y="165353"/>
                    </a:lnTo>
                    <a:lnTo>
                      <a:pt x="281940" y="171703"/>
                    </a:lnTo>
                    <a:lnTo>
                      <a:pt x="284606" y="174243"/>
                    </a:lnTo>
                    <a:lnTo>
                      <a:pt x="290956" y="174243"/>
                    </a:lnTo>
                    <a:lnTo>
                      <a:pt x="293497" y="171703"/>
                    </a:lnTo>
                    <a:lnTo>
                      <a:pt x="293497" y="165353"/>
                    </a:lnTo>
                    <a:lnTo>
                      <a:pt x="290956" y="162687"/>
                    </a:lnTo>
                    <a:close/>
                  </a:path>
                  <a:path w="317500" h="314325">
                    <a:moveTo>
                      <a:pt x="32639" y="162687"/>
                    </a:moveTo>
                    <a:lnTo>
                      <a:pt x="26162" y="162687"/>
                    </a:lnTo>
                    <a:lnTo>
                      <a:pt x="23622" y="165353"/>
                    </a:lnTo>
                    <a:lnTo>
                      <a:pt x="23622" y="171703"/>
                    </a:lnTo>
                    <a:lnTo>
                      <a:pt x="26162" y="174243"/>
                    </a:lnTo>
                    <a:lnTo>
                      <a:pt x="32639" y="174243"/>
                    </a:lnTo>
                    <a:lnTo>
                      <a:pt x="35178" y="171703"/>
                    </a:lnTo>
                    <a:lnTo>
                      <a:pt x="35178" y="165353"/>
                    </a:lnTo>
                    <a:lnTo>
                      <a:pt x="32639" y="162687"/>
                    </a:lnTo>
                    <a:close/>
                  </a:path>
                  <a:path w="317500" h="314325">
                    <a:moveTo>
                      <a:pt x="9017" y="162687"/>
                    </a:moveTo>
                    <a:lnTo>
                      <a:pt x="2540" y="162687"/>
                    </a:lnTo>
                    <a:lnTo>
                      <a:pt x="0" y="165353"/>
                    </a:lnTo>
                    <a:lnTo>
                      <a:pt x="0" y="171703"/>
                    </a:lnTo>
                    <a:lnTo>
                      <a:pt x="2540" y="174243"/>
                    </a:lnTo>
                    <a:lnTo>
                      <a:pt x="9017" y="174243"/>
                    </a:lnTo>
                    <a:lnTo>
                      <a:pt x="11556" y="171703"/>
                    </a:lnTo>
                    <a:lnTo>
                      <a:pt x="11556" y="165353"/>
                    </a:lnTo>
                    <a:lnTo>
                      <a:pt x="9017" y="162687"/>
                    </a:lnTo>
                    <a:close/>
                  </a:path>
                  <a:path w="317500" h="314325">
                    <a:moveTo>
                      <a:pt x="314071" y="139700"/>
                    </a:moveTo>
                    <a:lnTo>
                      <a:pt x="307594" y="139700"/>
                    </a:lnTo>
                    <a:lnTo>
                      <a:pt x="305053" y="142112"/>
                    </a:lnTo>
                    <a:lnTo>
                      <a:pt x="305053" y="148336"/>
                    </a:lnTo>
                    <a:lnTo>
                      <a:pt x="307594" y="151257"/>
                    </a:lnTo>
                    <a:lnTo>
                      <a:pt x="314071" y="151257"/>
                    </a:lnTo>
                    <a:lnTo>
                      <a:pt x="316992" y="148336"/>
                    </a:lnTo>
                    <a:lnTo>
                      <a:pt x="316992" y="142112"/>
                    </a:lnTo>
                    <a:lnTo>
                      <a:pt x="314071" y="139700"/>
                    </a:lnTo>
                    <a:close/>
                  </a:path>
                  <a:path w="317500" h="314325">
                    <a:moveTo>
                      <a:pt x="290956" y="139700"/>
                    </a:moveTo>
                    <a:lnTo>
                      <a:pt x="284606" y="139700"/>
                    </a:lnTo>
                    <a:lnTo>
                      <a:pt x="281940" y="142239"/>
                    </a:lnTo>
                    <a:lnTo>
                      <a:pt x="281940" y="148589"/>
                    </a:lnTo>
                    <a:lnTo>
                      <a:pt x="284606" y="151257"/>
                    </a:lnTo>
                    <a:lnTo>
                      <a:pt x="290956" y="151257"/>
                    </a:lnTo>
                    <a:lnTo>
                      <a:pt x="293497" y="148589"/>
                    </a:lnTo>
                    <a:lnTo>
                      <a:pt x="293497" y="142239"/>
                    </a:lnTo>
                    <a:lnTo>
                      <a:pt x="290956" y="139700"/>
                    </a:lnTo>
                    <a:close/>
                  </a:path>
                  <a:path w="317500" h="314325">
                    <a:moveTo>
                      <a:pt x="32639" y="139700"/>
                    </a:moveTo>
                    <a:lnTo>
                      <a:pt x="26162" y="139700"/>
                    </a:lnTo>
                    <a:lnTo>
                      <a:pt x="23622" y="142239"/>
                    </a:lnTo>
                    <a:lnTo>
                      <a:pt x="23622" y="148589"/>
                    </a:lnTo>
                    <a:lnTo>
                      <a:pt x="26162" y="151257"/>
                    </a:lnTo>
                    <a:lnTo>
                      <a:pt x="32639" y="151257"/>
                    </a:lnTo>
                    <a:lnTo>
                      <a:pt x="35178" y="148589"/>
                    </a:lnTo>
                    <a:lnTo>
                      <a:pt x="35178" y="142239"/>
                    </a:lnTo>
                    <a:lnTo>
                      <a:pt x="32639" y="139700"/>
                    </a:lnTo>
                    <a:close/>
                  </a:path>
                  <a:path w="317500" h="314325">
                    <a:moveTo>
                      <a:pt x="9017" y="139700"/>
                    </a:moveTo>
                    <a:lnTo>
                      <a:pt x="2540" y="139700"/>
                    </a:lnTo>
                    <a:lnTo>
                      <a:pt x="0" y="142239"/>
                    </a:lnTo>
                    <a:lnTo>
                      <a:pt x="0" y="148589"/>
                    </a:lnTo>
                    <a:lnTo>
                      <a:pt x="2540" y="151257"/>
                    </a:lnTo>
                    <a:lnTo>
                      <a:pt x="9017" y="151257"/>
                    </a:lnTo>
                    <a:lnTo>
                      <a:pt x="11556" y="148589"/>
                    </a:lnTo>
                    <a:lnTo>
                      <a:pt x="11556" y="142239"/>
                    </a:lnTo>
                    <a:lnTo>
                      <a:pt x="9017" y="139700"/>
                    </a:lnTo>
                    <a:close/>
                  </a:path>
                  <a:path w="317500" h="314325">
                    <a:moveTo>
                      <a:pt x="314071" y="116204"/>
                    </a:moveTo>
                    <a:lnTo>
                      <a:pt x="307594" y="116204"/>
                    </a:lnTo>
                    <a:lnTo>
                      <a:pt x="305053" y="118617"/>
                    </a:lnTo>
                    <a:lnTo>
                      <a:pt x="305053" y="125222"/>
                    </a:lnTo>
                    <a:lnTo>
                      <a:pt x="307594" y="127762"/>
                    </a:lnTo>
                    <a:lnTo>
                      <a:pt x="314071" y="127762"/>
                    </a:lnTo>
                    <a:lnTo>
                      <a:pt x="316992" y="125222"/>
                    </a:lnTo>
                    <a:lnTo>
                      <a:pt x="316992" y="118617"/>
                    </a:lnTo>
                    <a:lnTo>
                      <a:pt x="314071" y="116204"/>
                    </a:lnTo>
                    <a:close/>
                  </a:path>
                  <a:path w="317500" h="314325">
                    <a:moveTo>
                      <a:pt x="290956" y="116204"/>
                    </a:moveTo>
                    <a:lnTo>
                      <a:pt x="284606" y="116204"/>
                    </a:lnTo>
                    <a:lnTo>
                      <a:pt x="281940" y="118745"/>
                    </a:lnTo>
                    <a:lnTo>
                      <a:pt x="281940" y="125095"/>
                    </a:lnTo>
                    <a:lnTo>
                      <a:pt x="284606" y="127762"/>
                    </a:lnTo>
                    <a:lnTo>
                      <a:pt x="290956" y="127762"/>
                    </a:lnTo>
                    <a:lnTo>
                      <a:pt x="293497" y="125095"/>
                    </a:lnTo>
                    <a:lnTo>
                      <a:pt x="293497" y="118745"/>
                    </a:lnTo>
                    <a:lnTo>
                      <a:pt x="290956" y="116204"/>
                    </a:lnTo>
                    <a:close/>
                  </a:path>
                  <a:path w="317500" h="314325">
                    <a:moveTo>
                      <a:pt x="32639" y="116204"/>
                    </a:moveTo>
                    <a:lnTo>
                      <a:pt x="26162" y="116204"/>
                    </a:lnTo>
                    <a:lnTo>
                      <a:pt x="23622" y="118745"/>
                    </a:lnTo>
                    <a:lnTo>
                      <a:pt x="23622" y="125095"/>
                    </a:lnTo>
                    <a:lnTo>
                      <a:pt x="26162" y="127762"/>
                    </a:lnTo>
                    <a:lnTo>
                      <a:pt x="32639" y="127762"/>
                    </a:lnTo>
                    <a:lnTo>
                      <a:pt x="35178" y="125095"/>
                    </a:lnTo>
                    <a:lnTo>
                      <a:pt x="35178" y="118745"/>
                    </a:lnTo>
                    <a:lnTo>
                      <a:pt x="32639" y="116204"/>
                    </a:lnTo>
                    <a:close/>
                  </a:path>
                  <a:path w="317500" h="314325">
                    <a:moveTo>
                      <a:pt x="9017" y="116204"/>
                    </a:moveTo>
                    <a:lnTo>
                      <a:pt x="2540" y="116204"/>
                    </a:lnTo>
                    <a:lnTo>
                      <a:pt x="0" y="118745"/>
                    </a:lnTo>
                    <a:lnTo>
                      <a:pt x="0" y="125095"/>
                    </a:lnTo>
                    <a:lnTo>
                      <a:pt x="2540" y="127762"/>
                    </a:lnTo>
                    <a:lnTo>
                      <a:pt x="9017" y="127762"/>
                    </a:lnTo>
                    <a:lnTo>
                      <a:pt x="11556" y="125095"/>
                    </a:lnTo>
                    <a:lnTo>
                      <a:pt x="11556" y="118745"/>
                    </a:lnTo>
                    <a:lnTo>
                      <a:pt x="9017" y="116204"/>
                    </a:lnTo>
                    <a:close/>
                  </a:path>
                  <a:path w="317500" h="314325">
                    <a:moveTo>
                      <a:pt x="314071" y="92837"/>
                    </a:moveTo>
                    <a:lnTo>
                      <a:pt x="307594" y="92837"/>
                    </a:lnTo>
                    <a:lnTo>
                      <a:pt x="305053" y="95376"/>
                    </a:lnTo>
                    <a:lnTo>
                      <a:pt x="305053" y="102235"/>
                    </a:lnTo>
                    <a:lnTo>
                      <a:pt x="307594" y="104648"/>
                    </a:lnTo>
                    <a:lnTo>
                      <a:pt x="314071" y="104648"/>
                    </a:lnTo>
                    <a:lnTo>
                      <a:pt x="316992" y="102235"/>
                    </a:lnTo>
                    <a:lnTo>
                      <a:pt x="316992" y="95376"/>
                    </a:lnTo>
                    <a:lnTo>
                      <a:pt x="314071" y="92837"/>
                    </a:lnTo>
                    <a:close/>
                  </a:path>
                  <a:path w="317500" h="314325">
                    <a:moveTo>
                      <a:pt x="290956" y="92837"/>
                    </a:moveTo>
                    <a:lnTo>
                      <a:pt x="284606" y="92837"/>
                    </a:lnTo>
                    <a:lnTo>
                      <a:pt x="281940" y="95503"/>
                    </a:lnTo>
                    <a:lnTo>
                      <a:pt x="281940" y="102108"/>
                    </a:lnTo>
                    <a:lnTo>
                      <a:pt x="284606" y="104648"/>
                    </a:lnTo>
                    <a:lnTo>
                      <a:pt x="290956" y="104648"/>
                    </a:lnTo>
                    <a:lnTo>
                      <a:pt x="293497" y="102108"/>
                    </a:lnTo>
                    <a:lnTo>
                      <a:pt x="293497" y="95503"/>
                    </a:lnTo>
                    <a:lnTo>
                      <a:pt x="290956" y="92837"/>
                    </a:lnTo>
                    <a:close/>
                  </a:path>
                  <a:path w="317500" h="314325">
                    <a:moveTo>
                      <a:pt x="32639" y="92837"/>
                    </a:moveTo>
                    <a:lnTo>
                      <a:pt x="26162" y="92837"/>
                    </a:lnTo>
                    <a:lnTo>
                      <a:pt x="23622" y="95503"/>
                    </a:lnTo>
                    <a:lnTo>
                      <a:pt x="23622" y="102108"/>
                    </a:lnTo>
                    <a:lnTo>
                      <a:pt x="26162" y="104648"/>
                    </a:lnTo>
                    <a:lnTo>
                      <a:pt x="32639" y="104648"/>
                    </a:lnTo>
                    <a:lnTo>
                      <a:pt x="35178" y="102108"/>
                    </a:lnTo>
                    <a:lnTo>
                      <a:pt x="35178" y="95503"/>
                    </a:lnTo>
                    <a:lnTo>
                      <a:pt x="32639" y="92837"/>
                    </a:lnTo>
                    <a:close/>
                  </a:path>
                  <a:path w="317500" h="314325">
                    <a:moveTo>
                      <a:pt x="9017" y="92837"/>
                    </a:moveTo>
                    <a:lnTo>
                      <a:pt x="2540" y="92837"/>
                    </a:lnTo>
                    <a:lnTo>
                      <a:pt x="0" y="95503"/>
                    </a:lnTo>
                    <a:lnTo>
                      <a:pt x="0" y="102108"/>
                    </a:lnTo>
                    <a:lnTo>
                      <a:pt x="2540" y="104648"/>
                    </a:lnTo>
                    <a:lnTo>
                      <a:pt x="9017" y="104648"/>
                    </a:lnTo>
                    <a:lnTo>
                      <a:pt x="11556" y="102108"/>
                    </a:lnTo>
                    <a:lnTo>
                      <a:pt x="11556" y="95503"/>
                    </a:lnTo>
                    <a:lnTo>
                      <a:pt x="9017" y="92837"/>
                    </a:lnTo>
                    <a:close/>
                  </a:path>
                  <a:path w="317500" h="314325">
                    <a:moveTo>
                      <a:pt x="314071" y="69850"/>
                    </a:moveTo>
                    <a:lnTo>
                      <a:pt x="307594" y="69850"/>
                    </a:lnTo>
                    <a:lnTo>
                      <a:pt x="305053" y="72262"/>
                    </a:lnTo>
                    <a:lnTo>
                      <a:pt x="305053" y="78866"/>
                    </a:lnTo>
                    <a:lnTo>
                      <a:pt x="307594" y="81407"/>
                    </a:lnTo>
                    <a:lnTo>
                      <a:pt x="314071" y="81407"/>
                    </a:lnTo>
                    <a:lnTo>
                      <a:pt x="316992" y="78866"/>
                    </a:lnTo>
                    <a:lnTo>
                      <a:pt x="316992" y="72262"/>
                    </a:lnTo>
                    <a:lnTo>
                      <a:pt x="314071" y="69850"/>
                    </a:lnTo>
                    <a:close/>
                  </a:path>
                  <a:path w="317500" h="314325">
                    <a:moveTo>
                      <a:pt x="290956" y="69850"/>
                    </a:moveTo>
                    <a:lnTo>
                      <a:pt x="284606" y="69850"/>
                    </a:lnTo>
                    <a:lnTo>
                      <a:pt x="281940" y="72389"/>
                    </a:lnTo>
                    <a:lnTo>
                      <a:pt x="281940" y="78739"/>
                    </a:lnTo>
                    <a:lnTo>
                      <a:pt x="284606" y="81407"/>
                    </a:lnTo>
                    <a:lnTo>
                      <a:pt x="290956" y="81407"/>
                    </a:lnTo>
                    <a:lnTo>
                      <a:pt x="293497" y="78739"/>
                    </a:lnTo>
                    <a:lnTo>
                      <a:pt x="293497" y="72389"/>
                    </a:lnTo>
                    <a:lnTo>
                      <a:pt x="290956" y="69850"/>
                    </a:lnTo>
                    <a:close/>
                  </a:path>
                  <a:path w="317500" h="314325">
                    <a:moveTo>
                      <a:pt x="32639" y="69850"/>
                    </a:moveTo>
                    <a:lnTo>
                      <a:pt x="26162" y="69850"/>
                    </a:lnTo>
                    <a:lnTo>
                      <a:pt x="23622" y="72389"/>
                    </a:lnTo>
                    <a:lnTo>
                      <a:pt x="23622" y="78739"/>
                    </a:lnTo>
                    <a:lnTo>
                      <a:pt x="26162" y="81407"/>
                    </a:lnTo>
                    <a:lnTo>
                      <a:pt x="32639" y="81407"/>
                    </a:lnTo>
                    <a:lnTo>
                      <a:pt x="35178" y="78739"/>
                    </a:lnTo>
                    <a:lnTo>
                      <a:pt x="35178" y="72389"/>
                    </a:lnTo>
                    <a:lnTo>
                      <a:pt x="32639" y="69850"/>
                    </a:lnTo>
                    <a:close/>
                  </a:path>
                  <a:path w="317500" h="314325">
                    <a:moveTo>
                      <a:pt x="9017" y="69850"/>
                    </a:moveTo>
                    <a:lnTo>
                      <a:pt x="2540" y="69850"/>
                    </a:lnTo>
                    <a:lnTo>
                      <a:pt x="0" y="72389"/>
                    </a:lnTo>
                    <a:lnTo>
                      <a:pt x="0" y="78739"/>
                    </a:lnTo>
                    <a:lnTo>
                      <a:pt x="2540" y="81407"/>
                    </a:lnTo>
                    <a:lnTo>
                      <a:pt x="9017" y="81407"/>
                    </a:lnTo>
                    <a:lnTo>
                      <a:pt x="11556" y="78739"/>
                    </a:lnTo>
                    <a:lnTo>
                      <a:pt x="11556" y="72389"/>
                    </a:lnTo>
                    <a:lnTo>
                      <a:pt x="9017" y="69850"/>
                    </a:lnTo>
                    <a:close/>
                  </a:path>
                  <a:path w="317500" h="314325">
                    <a:moveTo>
                      <a:pt x="314071" y="46354"/>
                    </a:moveTo>
                    <a:lnTo>
                      <a:pt x="307594" y="46354"/>
                    </a:lnTo>
                    <a:lnTo>
                      <a:pt x="305053" y="49275"/>
                    </a:lnTo>
                    <a:lnTo>
                      <a:pt x="305053" y="55372"/>
                    </a:lnTo>
                    <a:lnTo>
                      <a:pt x="307594" y="57912"/>
                    </a:lnTo>
                    <a:lnTo>
                      <a:pt x="314071" y="57912"/>
                    </a:lnTo>
                    <a:lnTo>
                      <a:pt x="316992" y="55372"/>
                    </a:lnTo>
                    <a:lnTo>
                      <a:pt x="316992" y="49275"/>
                    </a:lnTo>
                    <a:lnTo>
                      <a:pt x="314071" y="46354"/>
                    </a:lnTo>
                    <a:close/>
                  </a:path>
                  <a:path w="317500" h="314325">
                    <a:moveTo>
                      <a:pt x="290956" y="46354"/>
                    </a:moveTo>
                    <a:lnTo>
                      <a:pt x="284606" y="46354"/>
                    </a:lnTo>
                    <a:lnTo>
                      <a:pt x="281940" y="48895"/>
                    </a:lnTo>
                    <a:lnTo>
                      <a:pt x="281940" y="55245"/>
                    </a:lnTo>
                    <a:lnTo>
                      <a:pt x="284606" y="57912"/>
                    </a:lnTo>
                    <a:lnTo>
                      <a:pt x="290956" y="57912"/>
                    </a:lnTo>
                    <a:lnTo>
                      <a:pt x="293497" y="55245"/>
                    </a:lnTo>
                    <a:lnTo>
                      <a:pt x="293497" y="48895"/>
                    </a:lnTo>
                    <a:lnTo>
                      <a:pt x="290956" y="46354"/>
                    </a:lnTo>
                    <a:close/>
                  </a:path>
                  <a:path w="317500" h="314325">
                    <a:moveTo>
                      <a:pt x="32639" y="46354"/>
                    </a:moveTo>
                    <a:lnTo>
                      <a:pt x="26162" y="46354"/>
                    </a:lnTo>
                    <a:lnTo>
                      <a:pt x="23622" y="48895"/>
                    </a:lnTo>
                    <a:lnTo>
                      <a:pt x="23622" y="55245"/>
                    </a:lnTo>
                    <a:lnTo>
                      <a:pt x="26162" y="57912"/>
                    </a:lnTo>
                    <a:lnTo>
                      <a:pt x="32639" y="57912"/>
                    </a:lnTo>
                    <a:lnTo>
                      <a:pt x="35178" y="55245"/>
                    </a:lnTo>
                    <a:lnTo>
                      <a:pt x="35178" y="48895"/>
                    </a:lnTo>
                    <a:lnTo>
                      <a:pt x="32639" y="46354"/>
                    </a:lnTo>
                    <a:close/>
                  </a:path>
                  <a:path w="317500" h="314325">
                    <a:moveTo>
                      <a:pt x="9017" y="46354"/>
                    </a:moveTo>
                    <a:lnTo>
                      <a:pt x="2540" y="46354"/>
                    </a:lnTo>
                    <a:lnTo>
                      <a:pt x="0" y="48895"/>
                    </a:lnTo>
                    <a:lnTo>
                      <a:pt x="0" y="55245"/>
                    </a:lnTo>
                    <a:lnTo>
                      <a:pt x="2540" y="57912"/>
                    </a:lnTo>
                    <a:lnTo>
                      <a:pt x="9017" y="57912"/>
                    </a:lnTo>
                    <a:lnTo>
                      <a:pt x="11556" y="55245"/>
                    </a:lnTo>
                    <a:lnTo>
                      <a:pt x="11556" y="48895"/>
                    </a:lnTo>
                    <a:lnTo>
                      <a:pt x="9017" y="46354"/>
                    </a:lnTo>
                    <a:close/>
                  </a:path>
                  <a:path w="317500" h="314325">
                    <a:moveTo>
                      <a:pt x="314071" y="23367"/>
                    </a:moveTo>
                    <a:lnTo>
                      <a:pt x="307594" y="23367"/>
                    </a:lnTo>
                    <a:lnTo>
                      <a:pt x="305053" y="25780"/>
                    </a:lnTo>
                    <a:lnTo>
                      <a:pt x="305053" y="32003"/>
                    </a:lnTo>
                    <a:lnTo>
                      <a:pt x="307594" y="34798"/>
                    </a:lnTo>
                    <a:lnTo>
                      <a:pt x="314071" y="34798"/>
                    </a:lnTo>
                    <a:lnTo>
                      <a:pt x="316992" y="32003"/>
                    </a:lnTo>
                    <a:lnTo>
                      <a:pt x="316992" y="25780"/>
                    </a:lnTo>
                    <a:lnTo>
                      <a:pt x="314071" y="23367"/>
                    </a:lnTo>
                    <a:close/>
                  </a:path>
                  <a:path w="317500" h="314325">
                    <a:moveTo>
                      <a:pt x="290956" y="23367"/>
                    </a:moveTo>
                    <a:lnTo>
                      <a:pt x="284606" y="23367"/>
                    </a:lnTo>
                    <a:lnTo>
                      <a:pt x="281940" y="25908"/>
                    </a:lnTo>
                    <a:lnTo>
                      <a:pt x="281940" y="32258"/>
                    </a:lnTo>
                    <a:lnTo>
                      <a:pt x="284606" y="34798"/>
                    </a:lnTo>
                    <a:lnTo>
                      <a:pt x="290956" y="34798"/>
                    </a:lnTo>
                    <a:lnTo>
                      <a:pt x="293497" y="32258"/>
                    </a:lnTo>
                    <a:lnTo>
                      <a:pt x="293497" y="25908"/>
                    </a:lnTo>
                    <a:lnTo>
                      <a:pt x="290956" y="23367"/>
                    </a:lnTo>
                    <a:close/>
                  </a:path>
                  <a:path w="317500" h="314325">
                    <a:moveTo>
                      <a:pt x="267462" y="23367"/>
                    </a:moveTo>
                    <a:lnTo>
                      <a:pt x="261112" y="23367"/>
                    </a:lnTo>
                    <a:lnTo>
                      <a:pt x="258445" y="25908"/>
                    </a:lnTo>
                    <a:lnTo>
                      <a:pt x="258445" y="32258"/>
                    </a:lnTo>
                    <a:lnTo>
                      <a:pt x="261112" y="34798"/>
                    </a:lnTo>
                    <a:lnTo>
                      <a:pt x="267462" y="34798"/>
                    </a:lnTo>
                    <a:lnTo>
                      <a:pt x="270128" y="32258"/>
                    </a:lnTo>
                    <a:lnTo>
                      <a:pt x="270128" y="25908"/>
                    </a:lnTo>
                    <a:lnTo>
                      <a:pt x="267462" y="23367"/>
                    </a:lnTo>
                    <a:close/>
                  </a:path>
                  <a:path w="317500" h="314325">
                    <a:moveTo>
                      <a:pt x="243840" y="23367"/>
                    </a:moveTo>
                    <a:lnTo>
                      <a:pt x="237236" y="23367"/>
                    </a:lnTo>
                    <a:lnTo>
                      <a:pt x="234569" y="25908"/>
                    </a:lnTo>
                    <a:lnTo>
                      <a:pt x="234569" y="32258"/>
                    </a:lnTo>
                    <a:lnTo>
                      <a:pt x="237236" y="34798"/>
                    </a:lnTo>
                    <a:lnTo>
                      <a:pt x="243840" y="34798"/>
                    </a:lnTo>
                    <a:lnTo>
                      <a:pt x="246506" y="32258"/>
                    </a:lnTo>
                    <a:lnTo>
                      <a:pt x="246506" y="25908"/>
                    </a:lnTo>
                    <a:lnTo>
                      <a:pt x="243840" y="23367"/>
                    </a:lnTo>
                    <a:close/>
                  </a:path>
                  <a:path w="317500" h="314325">
                    <a:moveTo>
                      <a:pt x="220345" y="23367"/>
                    </a:moveTo>
                    <a:lnTo>
                      <a:pt x="213614" y="23367"/>
                    </a:lnTo>
                    <a:lnTo>
                      <a:pt x="210947" y="25908"/>
                    </a:lnTo>
                    <a:lnTo>
                      <a:pt x="210947" y="32258"/>
                    </a:lnTo>
                    <a:lnTo>
                      <a:pt x="213614" y="34798"/>
                    </a:lnTo>
                    <a:lnTo>
                      <a:pt x="220345" y="34798"/>
                    </a:lnTo>
                    <a:lnTo>
                      <a:pt x="223012" y="32258"/>
                    </a:lnTo>
                    <a:lnTo>
                      <a:pt x="223012" y="25908"/>
                    </a:lnTo>
                    <a:lnTo>
                      <a:pt x="220345" y="23367"/>
                    </a:lnTo>
                    <a:close/>
                  </a:path>
                  <a:path w="317500" h="314325">
                    <a:moveTo>
                      <a:pt x="196850" y="23367"/>
                    </a:moveTo>
                    <a:lnTo>
                      <a:pt x="190373" y="23367"/>
                    </a:lnTo>
                    <a:lnTo>
                      <a:pt x="187833" y="25908"/>
                    </a:lnTo>
                    <a:lnTo>
                      <a:pt x="187833" y="32258"/>
                    </a:lnTo>
                    <a:lnTo>
                      <a:pt x="190373" y="34798"/>
                    </a:lnTo>
                    <a:lnTo>
                      <a:pt x="196850" y="34798"/>
                    </a:lnTo>
                    <a:lnTo>
                      <a:pt x="199390" y="32258"/>
                    </a:lnTo>
                    <a:lnTo>
                      <a:pt x="199390" y="25908"/>
                    </a:lnTo>
                    <a:lnTo>
                      <a:pt x="196850" y="23367"/>
                    </a:lnTo>
                    <a:close/>
                  </a:path>
                  <a:path w="317500" h="314325">
                    <a:moveTo>
                      <a:pt x="173354" y="23367"/>
                    </a:moveTo>
                    <a:lnTo>
                      <a:pt x="167004" y="23367"/>
                    </a:lnTo>
                    <a:lnTo>
                      <a:pt x="164338" y="25908"/>
                    </a:lnTo>
                    <a:lnTo>
                      <a:pt x="164338" y="32258"/>
                    </a:lnTo>
                    <a:lnTo>
                      <a:pt x="167004" y="34798"/>
                    </a:lnTo>
                    <a:lnTo>
                      <a:pt x="173354" y="34798"/>
                    </a:lnTo>
                    <a:lnTo>
                      <a:pt x="175895" y="32258"/>
                    </a:lnTo>
                    <a:lnTo>
                      <a:pt x="175895" y="25908"/>
                    </a:lnTo>
                    <a:lnTo>
                      <a:pt x="173354" y="23367"/>
                    </a:lnTo>
                    <a:close/>
                  </a:path>
                  <a:path w="317500" h="314325">
                    <a:moveTo>
                      <a:pt x="150114" y="23367"/>
                    </a:moveTo>
                    <a:lnTo>
                      <a:pt x="143383" y="23367"/>
                    </a:lnTo>
                    <a:lnTo>
                      <a:pt x="140716" y="25908"/>
                    </a:lnTo>
                    <a:lnTo>
                      <a:pt x="140716" y="32258"/>
                    </a:lnTo>
                    <a:lnTo>
                      <a:pt x="143383" y="34798"/>
                    </a:lnTo>
                    <a:lnTo>
                      <a:pt x="150114" y="34798"/>
                    </a:lnTo>
                    <a:lnTo>
                      <a:pt x="152780" y="32258"/>
                    </a:lnTo>
                    <a:lnTo>
                      <a:pt x="152780" y="25908"/>
                    </a:lnTo>
                    <a:lnTo>
                      <a:pt x="150114" y="23367"/>
                    </a:lnTo>
                    <a:close/>
                  </a:path>
                  <a:path w="317500" h="314325">
                    <a:moveTo>
                      <a:pt x="126619" y="23367"/>
                    </a:moveTo>
                    <a:lnTo>
                      <a:pt x="120015" y="23367"/>
                    </a:lnTo>
                    <a:lnTo>
                      <a:pt x="117348" y="25908"/>
                    </a:lnTo>
                    <a:lnTo>
                      <a:pt x="117348" y="32258"/>
                    </a:lnTo>
                    <a:lnTo>
                      <a:pt x="120015" y="34798"/>
                    </a:lnTo>
                    <a:lnTo>
                      <a:pt x="126619" y="34798"/>
                    </a:lnTo>
                    <a:lnTo>
                      <a:pt x="129286" y="32258"/>
                    </a:lnTo>
                    <a:lnTo>
                      <a:pt x="129286" y="25908"/>
                    </a:lnTo>
                    <a:lnTo>
                      <a:pt x="126619" y="23367"/>
                    </a:lnTo>
                    <a:close/>
                  </a:path>
                  <a:path w="317500" h="314325">
                    <a:moveTo>
                      <a:pt x="103124" y="23367"/>
                    </a:moveTo>
                    <a:lnTo>
                      <a:pt x="96774" y="23367"/>
                    </a:lnTo>
                    <a:lnTo>
                      <a:pt x="94106" y="25908"/>
                    </a:lnTo>
                    <a:lnTo>
                      <a:pt x="94106" y="32258"/>
                    </a:lnTo>
                    <a:lnTo>
                      <a:pt x="96774" y="34798"/>
                    </a:lnTo>
                    <a:lnTo>
                      <a:pt x="103124" y="34798"/>
                    </a:lnTo>
                    <a:lnTo>
                      <a:pt x="105664" y="32258"/>
                    </a:lnTo>
                    <a:lnTo>
                      <a:pt x="105664" y="25908"/>
                    </a:lnTo>
                    <a:lnTo>
                      <a:pt x="103124" y="23367"/>
                    </a:lnTo>
                    <a:close/>
                  </a:path>
                  <a:path w="317500" h="314325">
                    <a:moveTo>
                      <a:pt x="79628" y="23367"/>
                    </a:moveTo>
                    <a:lnTo>
                      <a:pt x="73278" y="23367"/>
                    </a:lnTo>
                    <a:lnTo>
                      <a:pt x="70739" y="25908"/>
                    </a:lnTo>
                    <a:lnTo>
                      <a:pt x="70739" y="32258"/>
                    </a:lnTo>
                    <a:lnTo>
                      <a:pt x="73278" y="34798"/>
                    </a:lnTo>
                    <a:lnTo>
                      <a:pt x="79628" y="34798"/>
                    </a:lnTo>
                    <a:lnTo>
                      <a:pt x="82296" y="32258"/>
                    </a:lnTo>
                    <a:lnTo>
                      <a:pt x="82296" y="25908"/>
                    </a:lnTo>
                    <a:lnTo>
                      <a:pt x="79628" y="23367"/>
                    </a:lnTo>
                    <a:close/>
                  </a:path>
                  <a:path w="317500" h="314325">
                    <a:moveTo>
                      <a:pt x="56006" y="23367"/>
                    </a:moveTo>
                    <a:lnTo>
                      <a:pt x="49656" y="23367"/>
                    </a:lnTo>
                    <a:lnTo>
                      <a:pt x="47117" y="25908"/>
                    </a:lnTo>
                    <a:lnTo>
                      <a:pt x="47117" y="32258"/>
                    </a:lnTo>
                    <a:lnTo>
                      <a:pt x="49656" y="34798"/>
                    </a:lnTo>
                    <a:lnTo>
                      <a:pt x="56006" y="34798"/>
                    </a:lnTo>
                    <a:lnTo>
                      <a:pt x="58674" y="32258"/>
                    </a:lnTo>
                    <a:lnTo>
                      <a:pt x="58674" y="25908"/>
                    </a:lnTo>
                    <a:lnTo>
                      <a:pt x="56006" y="23367"/>
                    </a:lnTo>
                    <a:close/>
                  </a:path>
                  <a:path w="317500" h="314325">
                    <a:moveTo>
                      <a:pt x="32639" y="23367"/>
                    </a:moveTo>
                    <a:lnTo>
                      <a:pt x="26162" y="23367"/>
                    </a:lnTo>
                    <a:lnTo>
                      <a:pt x="23622" y="25908"/>
                    </a:lnTo>
                    <a:lnTo>
                      <a:pt x="23622" y="32258"/>
                    </a:lnTo>
                    <a:lnTo>
                      <a:pt x="26162" y="34798"/>
                    </a:lnTo>
                    <a:lnTo>
                      <a:pt x="32639" y="34798"/>
                    </a:lnTo>
                    <a:lnTo>
                      <a:pt x="35178" y="32258"/>
                    </a:lnTo>
                    <a:lnTo>
                      <a:pt x="35178" y="25908"/>
                    </a:lnTo>
                    <a:lnTo>
                      <a:pt x="32639" y="23367"/>
                    </a:lnTo>
                    <a:close/>
                  </a:path>
                  <a:path w="317500" h="314325">
                    <a:moveTo>
                      <a:pt x="9017" y="23367"/>
                    </a:moveTo>
                    <a:lnTo>
                      <a:pt x="2540" y="23367"/>
                    </a:lnTo>
                    <a:lnTo>
                      <a:pt x="0" y="25908"/>
                    </a:lnTo>
                    <a:lnTo>
                      <a:pt x="0" y="32258"/>
                    </a:lnTo>
                    <a:lnTo>
                      <a:pt x="2540" y="34798"/>
                    </a:lnTo>
                    <a:lnTo>
                      <a:pt x="9017" y="34798"/>
                    </a:lnTo>
                    <a:lnTo>
                      <a:pt x="11556" y="32258"/>
                    </a:lnTo>
                    <a:lnTo>
                      <a:pt x="11556" y="25908"/>
                    </a:lnTo>
                    <a:lnTo>
                      <a:pt x="9017" y="23367"/>
                    </a:lnTo>
                    <a:close/>
                  </a:path>
                  <a:path w="317500" h="314325">
                    <a:moveTo>
                      <a:pt x="314071" y="0"/>
                    </a:moveTo>
                    <a:lnTo>
                      <a:pt x="307594" y="0"/>
                    </a:lnTo>
                    <a:lnTo>
                      <a:pt x="305053" y="2412"/>
                    </a:lnTo>
                    <a:lnTo>
                      <a:pt x="305053" y="9016"/>
                    </a:lnTo>
                    <a:lnTo>
                      <a:pt x="307594" y="11811"/>
                    </a:lnTo>
                    <a:lnTo>
                      <a:pt x="314071" y="11811"/>
                    </a:lnTo>
                    <a:lnTo>
                      <a:pt x="316992" y="9016"/>
                    </a:lnTo>
                    <a:lnTo>
                      <a:pt x="316992" y="2412"/>
                    </a:lnTo>
                    <a:lnTo>
                      <a:pt x="314071" y="0"/>
                    </a:lnTo>
                    <a:close/>
                  </a:path>
                  <a:path w="317500" h="314325">
                    <a:moveTo>
                      <a:pt x="290702" y="0"/>
                    </a:moveTo>
                    <a:lnTo>
                      <a:pt x="284479" y="0"/>
                    </a:lnTo>
                    <a:lnTo>
                      <a:pt x="281940" y="2412"/>
                    </a:lnTo>
                    <a:lnTo>
                      <a:pt x="281940" y="9016"/>
                    </a:lnTo>
                    <a:lnTo>
                      <a:pt x="284479" y="11811"/>
                    </a:lnTo>
                    <a:lnTo>
                      <a:pt x="290702" y="11811"/>
                    </a:lnTo>
                    <a:lnTo>
                      <a:pt x="293497" y="9016"/>
                    </a:lnTo>
                    <a:lnTo>
                      <a:pt x="293497" y="2412"/>
                    </a:lnTo>
                    <a:lnTo>
                      <a:pt x="290702" y="0"/>
                    </a:lnTo>
                    <a:close/>
                  </a:path>
                  <a:path w="317500" h="314325">
                    <a:moveTo>
                      <a:pt x="267208" y="0"/>
                    </a:moveTo>
                    <a:lnTo>
                      <a:pt x="260985" y="0"/>
                    </a:lnTo>
                    <a:lnTo>
                      <a:pt x="258445" y="2412"/>
                    </a:lnTo>
                    <a:lnTo>
                      <a:pt x="258445" y="9016"/>
                    </a:lnTo>
                    <a:lnTo>
                      <a:pt x="260985" y="11811"/>
                    </a:lnTo>
                    <a:lnTo>
                      <a:pt x="267208" y="11811"/>
                    </a:lnTo>
                    <a:lnTo>
                      <a:pt x="270128" y="9016"/>
                    </a:lnTo>
                    <a:lnTo>
                      <a:pt x="270128" y="2412"/>
                    </a:lnTo>
                    <a:lnTo>
                      <a:pt x="267208" y="0"/>
                    </a:lnTo>
                    <a:close/>
                  </a:path>
                  <a:path w="317500" h="314325">
                    <a:moveTo>
                      <a:pt x="243586" y="0"/>
                    </a:moveTo>
                    <a:lnTo>
                      <a:pt x="237490" y="0"/>
                    </a:lnTo>
                    <a:lnTo>
                      <a:pt x="234569" y="2412"/>
                    </a:lnTo>
                    <a:lnTo>
                      <a:pt x="234569" y="9016"/>
                    </a:lnTo>
                    <a:lnTo>
                      <a:pt x="237490" y="11811"/>
                    </a:lnTo>
                    <a:lnTo>
                      <a:pt x="243586" y="11811"/>
                    </a:lnTo>
                    <a:lnTo>
                      <a:pt x="246506" y="9016"/>
                    </a:lnTo>
                    <a:lnTo>
                      <a:pt x="246506" y="2412"/>
                    </a:lnTo>
                    <a:lnTo>
                      <a:pt x="243586" y="0"/>
                    </a:lnTo>
                    <a:close/>
                  </a:path>
                  <a:path w="317500" h="314325">
                    <a:moveTo>
                      <a:pt x="220472" y="0"/>
                    </a:moveTo>
                    <a:lnTo>
                      <a:pt x="213868" y="0"/>
                    </a:lnTo>
                    <a:lnTo>
                      <a:pt x="210947" y="2412"/>
                    </a:lnTo>
                    <a:lnTo>
                      <a:pt x="210947" y="9016"/>
                    </a:lnTo>
                    <a:lnTo>
                      <a:pt x="213868" y="11811"/>
                    </a:lnTo>
                    <a:lnTo>
                      <a:pt x="220472" y="11811"/>
                    </a:lnTo>
                    <a:lnTo>
                      <a:pt x="223012" y="9016"/>
                    </a:lnTo>
                    <a:lnTo>
                      <a:pt x="223012" y="2412"/>
                    </a:lnTo>
                    <a:lnTo>
                      <a:pt x="220472" y="0"/>
                    </a:lnTo>
                    <a:close/>
                  </a:path>
                  <a:path w="317500" h="314325">
                    <a:moveTo>
                      <a:pt x="196850" y="0"/>
                    </a:moveTo>
                    <a:lnTo>
                      <a:pt x="190246" y="0"/>
                    </a:lnTo>
                    <a:lnTo>
                      <a:pt x="187833" y="2412"/>
                    </a:lnTo>
                    <a:lnTo>
                      <a:pt x="187833" y="9016"/>
                    </a:lnTo>
                    <a:lnTo>
                      <a:pt x="190246" y="11811"/>
                    </a:lnTo>
                    <a:lnTo>
                      <a:pt x="196850" y="11811"/>
                    </a:lnTo>
                    <a:lnTo>
                      <a:pt x="199390" y="9016"/>
                    </a:lnTo>
                    <a:lnTo>
                      <a:pt x="199390" y="2412"/>
                    </a:lnTo>
                    <a:lnTo>
                      <a:pt x="196850" y="0"/>
                    </a:lnTo>
                    <a:close/>
                  </a:path>
                  <a:path w="317500" h="314325">
                    <a:moveTo>
                      <a:pt x="173481" y="0"/>
                    </a:moveTo>
                    <a:lnTo>
                      <a:pt x="166877" y="0"/>
                    </a:lnTo>
                    <a:lnTo>
                      <a:pt x="164338" y="2412"/>
                    </a:lnTo>
                    <a:lnTo>
                      <a:pt x="164338" y="9016"/>
                    </a:lnTo>
                    <a:lnTo>
                      <a:pt x="166877" y="11811"/>
                    </a:lnTo>
                    <a:lnTo>
                      <a:pt x="173481" y="11811"/>
                    </a:lnTo>
                    <a:lnTo>
                      <a:pt x="175895" y="9016"/>
                    </a:lnTo>
                    <a:lnTo>
                      <a:pt x="175895" y="2412"/>
                    </a:lnTo>
                    <a:lnTo>
                      <a:pt x="173481" y="0"/>
                    </a:lnTo>
                    <a:close/>
                  </a:path>
                  <a:path w="317500" h="314325">
                    <a:moveTo>
                      <a:pt x="150241" y="0"/>
                    </a:moveTo>
                    <a:lnTo>
                      <a:pt x="143255" y="0"/>
                    </a:lnTo>
                    <a:lnTo>
                      <a:pt x="140716" y="2412"/>
                    </a:lnTo>
                    <a:lnTo>
                      <a:pt x="140716" y="9016"/>
                    </a:lnTo>
                    <a:lnTo>
                      <a:pt x="143255" y="11811"/>
                    </a:lnTo>
                    <a:lnTo>
                      <a:pt x="150241" y="11811"/>
                    </a:lnTo>
                    <a:lnTo>
                      <a:pt x="152780" y="9016"/>
                    </a:lnTo>
                    <a:lnTo>
                      <a:pt x="152780" y="2412"/>
                    </a:lnTo>
                    <a:lnTo>
                      <a:pt x="150241" y="0"/>
                    </a:lnTo>
                    <a:close/>
                  </a:path>
                  <a:path w="317500" h="314325">
                    <a:moveTo>
                      <a:pt x="126873" y="0"/>
                    </a:moveTo>
                    <a:lnTo>
                      <a:pt x="119761" y="0"/>
                    </a:lnTo>
                    <a:lnTo>
                      <a:pt x="117348" y="2412"/>
                    </a:lnTo>
                    <a:lnTo>
                      <a:pt x="117348" y="9016"/>
                    </a:lnTo>
                    <a:lnTo>
                      <a:pt x="119761" y="11811"/>
                    </a:lnTo>
                    <a:lnTo>
                      <a:pt x="126873" y="11811"/>
                    </a:lnTo>
                    <a:lnTo>
                      <a:pt x="129286" y="9016"/>
                    </a:lnTo>
                    <a:lnTo>
                      <a:pt x="129286" y="2412"/>
                    </a:lnTo>
                    <a:lnTo>
                      <a:pt x="126873" y="0"/>
                    </a:lnTo>
                    <a:close/>
                  </a:path>
                  <a:path w="317500" h="314325">
                    <a:moveTo>
                      <a:pt x="102870" y="0"/>
                    </a:moveTo>
                    <a:lnTo>
                      <a:pt x="96647" y="0"/>
                    </a:lnTo>
                    <a:lnTo>
                      <a:pt x="94106" y="2412"/>
                    </a:lnTo>
                    <a:lnTo>
                      <a:pt x="94106" y="9016"/>
                    </a:lnTo>
                    <a:lnTo>
                      <a:pt x="96647" y="11811"/>
                    </a:lnTo>
                    <a:lnTo>
                      <a:pt x="102870" y="11811"/>
                    </a:lnTo>
                    <a:lnTo>
                      <a:pt x="105664" y="9016"/>
                    </a:lnTo>
                    <a:lnTo>
                      <a:pt x="105664" y="2412"/>
                    </a:lnTo>
                    <a:lnTo>
                      <a:pt x="102870" y="0"/>
                    </a:lnTo>
                    <a:close/>
                  </a:path>
                  <a:path w="317500" h="314325">
                    <a:moveTo>
                      <a:pt x="79375" y="0"/>
                    </a:moveTo>
                    <a:lnTo>
                      <a:pt x="73151" y="0"/>
                    </a:lnTo>
                    <a:lnTo>
                      <a:pt x="70739" y="2412"/>
                    </a:lnTo>
                    <a:lnTo>
                      <a:pt x="70739" y="9016"/>
                    </a:lnTo>
                    <a:lnTo>
                      <a:pt x="73151" y="11811"/>
                    </a:lnTo>
                    <a:lnTo>
                      <a:pt x="79375" y="11811"/>
                    </a:lnTo>
                    <a:lnTo>
                      <a:pt x="82296" y="9016"/>
                    </a:lnTo>
                    <a:lnTo>
                      <a:pt x="82296" y="2412"/>
                    </a:lnTo>
                    <a:lnTo>
                      <a:pt x="79375" y="0"/>
                    </a:lnTo>
                    <a:close/>
                  </a:path>
                  <a:path w="317500" h="314325">
                    <a:moveTo>
                      <a:pt x="56134" y="0"/>
                    </a:moveTo>
                    <a:lnTo>
                      <a:pt x="49529" y="0"/>
                    </a:lnTo>
                    <a:lnTo>
                      <a:pt x="47117" y="2412"/>
                    </a:lnTo>
                    <a:lnTo>
                      <a:pt x="47117" y="9016"/>
                    </a:lnTo>
                    <a:lnTo>
                      <a:pt x="49529" y="11811"/>
                    </a:lnTo>
                    <a:lnTo>
                      <a:pt x="56134" y="11811"/>
                    </a:lnTo>
                    <a:lnTo>
                      <a:pt x="58674" y="9016"/>
                    </a:lnTo>
                    <a:lnTo>
                      <a:pt x="58674" y="2412"/>
                    </a:lnTo>
                    <a:lnTo>
                      <a:pt x="56134" y="0"/>
                    </a:lnTo>
                    <a:close/>
                  </a:path>
                  <a:path w="317500" h="314325">
                    <a:moveTo>
                      <a:pt x="32766" y="0"/>
                    </a:moveTo>
                    <a:lnTo>
                      <a:pt x="26543" y="0"/>
                    </a:lnTo>
                    <a:lnTo>
                      <a:pt x="23622" y="2412"/>
                    </a:lnTo>
                    <a:lnTo>
                      <a:pt x="23622" y="9016"/>
                    </a:lnTo>
                    <a:lnTo>
                      <a:pt x="26543" y="11811"/>
                    </a:lnTo>
                    <a:lnTo>
                      <a:pt x="32766" y="11811"/>
                    </a:lnTo>
                    <a:lnTo>
                      <a:pt x="35178" y="9016"/>
                    </a:lnTo>
                    <a:lnTo>
                      <a:pt x="35178" y="2412"/>
                    </a:lnTo>
                    <a:lnTo>
                      <a:pt x="32766" y="0"/>
                    </a:lnTo>
                    <a:close/>
                  </a:path>
                  <a:path w="317500" h="314325">
                    <a:moveTo>
                      <a:pt x="9144" y="0"/>
                    </a:moveTo>
                    <a:lnTo>
                      <a:pt x="2921" y="0"/>
                    </a:lnTo>
                    <a:lnTo>
                      <a:pt x="0" y="2412"/>
                    </a:lnTo>
                    <a:lnTo>
                      <a:pt x="0" y="9016"/>
                    </a:lnTo>
                    <a:lnTo>
                      <a:pt x="2921" y="11811"/>
                    </a:lnTo>
                    <a:lnTo>
                      <a:pt x="9144" y="11811"/>
                    </a:lnTo>
                    <a:lnTo>
                      <a:pt x="11556" y="9016"/>
                    </a:lnTo>
                    <a:lnTo>
                      <a:pt x="11556" y="241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ea typeface="楷体" panose="02010609060101010101" pitchFamily="49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61" name="文本框 60"/>
            <p:cNvSpPr txBox="1"/>
            <p:nvPr/>
          </p:nvSpPr>
          <p:spPr>
            <a:xfrm>
              <a:off x="3195468" y="2097171"/>
              <a:ext cx="94364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dist"/>
              <a:r>
                <a:rPr kumimoji="1"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OI311</a:t>
              </a:r>
              <a:endParaRPr kumimoji="1"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dist"/>
              <a:r>
                <a:rPr kumimoji="1"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轻量版</a:t>
              </a:r>
              <a:endParaRPr kumimoji="1"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3195468" y="4006725"/>
              <a:ext cx="10283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dist"/>
              <a:r>
                <a:rPr kumimoji="1"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OI721</a:t>
              </a:r>
              <a:endParaRPr kumimoji="1"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dist"/>
              <a:r>
                <a:rPr kumimoji="1"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增强版</a:t>
              </a:r>
              <a:endParaRPr kumimoji="1"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3195468" y="3041201"/>
              <a:ext cx="98694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dist"/>
              <a:r>
                <a:rPr kumimoji="1"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OI621</a:t>
              </a:r>
              <a:endParaRPr kumimoji="1"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dist"/>
              <a:r>
                <a:rPr kumimoji="1" lang="zh-CN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升级版</a:t>
              </a:r>
              <a:endParaRPr kumimoji="1"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0" y="389656"/>
            <a:ext cx="12191999" cy="519064"/>
          </a:xfrm>
          <a:prstGeom prst="rect">
            <a:avLst/>
          </a:prstGeom>
        </p:spPr>
        <p:txBody>
          <a:bodyPr/>
          <a:lstStyle/>
          <a:p>
            <a:pPr algn="ctr"/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音旋风二代芯片（</a:t>
            </a:r>
            <a:r>
              <a:rPr kumimoji="1"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VOI311/621</a:t>
            </a:r>
            <a:r>
              <a:rPr kumimoji="1"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系统框图</a:t>
            </a:r>
            <a:endParaRPr kumimoji="1"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6600" y="332657"/>
            <a:ext cx="374442" cy="576064"/>
          </a:xfrm>
          <a:prstGeom prst="rect">
            <a:avLst/>
          </a:prstGeom>
        </p:spPr>
      </p:pic>
      <p:cxnSp>
        <p:nvCxnSpPr>
          <p:cNvPr id="6" name="直线连接符 5"/>
          <p:cNvCxnSpPr/>
          <p:nvPr/>
        </p:nvCxnSpPr>
        <p:spPr>
          <a:xfrm>
            <a:off x="4511588" y="908720"/>
            <a:ext cx="3168824" cy="0"/>
          </a:xfrm>
          <a:prstGeom prst="line">
            <a:avLst/>
          </a:prstGeom>
          <a:ln w="19050">
            <a:solidFill>
              <a:srgbClr val="40B1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对象 -2147482624"/>
          <p:cNvGraphicFramePr/>
          <p:nvPr/>
        </p:nvGraphicFramePr>
        <p:xfrm>
          <a:off x="1631950" y="1052830"/>
          <a:ext cx="8832850" cy="53282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2" imgW="6685915" imgH="3628390" progId="Visio.Drawing.15">
                  <p:embed/>
                </p:oleObj>
              </mc:Choice>
              <mc:Fallback>
                <p:oleObj name="" r:id="rId2" imgW="6685915" imgH="3628390" progId="Visio.Drawing.15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631950" y="1052830"/>
                        <a:ext cx="8832850" cy="532828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KSO_WM_UNIT_TABLE_BEAUTIFY" val="smartTable{4b40e467-e0b1-4def-a36f-c03075e60530}"/>
</p:tagLst>
</file>

<file path=ppt/tags/tag5.xml><?xml version="1.0" encoding="utf-8"?>
<p:tagLst xmlns:p="http://schemas.openxmlformats.org/presentationml/2006/main">
  <p:tag name="KSO_WM_UNIT_TABLE_BEAUTIFY" val="smartTable{1c363066-4691-47aa-91ba-d86cfbd1ab3c}"/>
  <p:tag name="TABLE_ENDDRAG_ORIGIN_RECT" val="538*435"/>
  <p:tag name="TABLE_ENDDRAG_RECT" val="385*84*538*435"/>
</p:tagLst>
</file>

<file path=ppt/tags/tag6.xml><?xml version="1.0" encoding="utf-8"?>
<p:tagLst xmlns:p="http://schemas.openxmlformats.org/presentationml/2006/main">
  <p:tag name="KSO_WM_UNIT_TABLE_BEAUTIFY" val="smartTable{65b9157b-ac07-46ce-9306-a19dc10eb4d3}"/>
</p:tagLst>
</file>

<file path=ppt/tags/tag7.xml><?xml version="1.0" encoding="utf-8"?>
<p:tagLst xmlns:p="http://schemas.openxmlformats.org/presentationml/2006/main">
  <p:tag name="KSO_WM_UNIT_TABLE_BEAUTIFY" val="smartTable{96622e7a-170b-4e28-bb86-e7771bdb17a3}"/>
</p:tagLst>
</file>

<file path=ppt/tags/tag8.xml><?xml version="1.0" encoding="utf-8"?>
<p:tagLst xmlns:p="http://schemas.openxmlformats.org/presentationml/2006/main">
  <p:tag name="KSO_WM_UNIT_TABLE_BEAUTIFY" val="smartTable{119f1008-c848-48ba-8fc6-4b0666298178}"/>
</p:tagLst>
</file>

<file path=ppt/theme/theme1.xml><?xml version="1.0" encoding="utf-8"?>
<a:theme xmlns:a="http://schemas.openxmlformats.org/drawingml/2006/main" name="1_第一PPT，www.1ppt.com">
  <a:themeElements>
    <a:clrScheme name="自定义 1">
      <a:dk1>
        <a:sysClr val="windowText" lastClr="000000"/>
      </a:dk1>
      <a:lt1>
        <a:sysClr val="window" lastClr="FFFFFF"/>
      </a:lt1>
      <a:dk2>
        <a:srgbClr val="0563C1"/>
      </a:dk2>
      <a:lt2>
        <a:srgbClr val="E7E6E6"/>
      </a:lt2>
      <a:accent1>
        <a:srgbClr val="8CC066"/>
      </a:accent1>
      <a:accent2>
        <a:srgbClr val="66BFBC"/>
      </a:accent2>
      <a:accent3>
        <a:srgbClr val="FC6E5B"/>
      </a:accent3>
      <a:accent4>
        <a:srgbClr val="FBC75D"/>
      </a:accent4>
      <a:accent5>
        <a:srgbClr val="6080A6"/>
      </a:accent5>
      <a:accent6>
        <a:srgbClr val="A5A5A5"/>
      </a:accent6>
      <a:hlink>
        <a:srgbClr val="0563C1"/>
      </a:hlink>
      <a:folHlink>
        <a:srgbClr val="954F72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62</Words>
  <Application>WPS 演示</Application>
  <PresentationFormat>宽屏</PresentationFormat>
  <Paragraphs>1230</Paragraphs>
  <Slides>24</Slides>
  <Notes>1</Notes>
  <HiddenSlides>0</HiddenSlides>
  <MMClips>4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5</vt:i4>
      </vt:variant>
      <vt:variant>
        <vt:lpstr>幻灯片标题</vt:lpstr>
      </vt:variant>
      <vt:variant>
        <vt:i4>24</vt:i4>
      </vt:variant>
    </vt:vector>
  </HeadingPairs>
  <TitlesOfParts>
    <vt:vector size="52" baseType="lpstr">
      <vt:lpstr>Arial</vt:lpstr>
      <vt:lpstr>宋体</vt:lpstr>
      <vt:lpstr>Wingdings</vt:lpstr>
      <vt:lpstr>Avenir Black</vt:lpstr>
      <vt:lpstr>NumberOnly</vt:lpstr>
      <vt:lpstr>Calibri</vt:lpstr>
      <vt:lpstr>等线</vt:lpstr>
      <vt:lpstr>微软雅黑</vt:lpstr>
      <vt:lpstr>方正正粗黑简体</vt:lpstr>
      <vt:lpstr>黑体</vt:lpstr>
      <vt:lpstr>华康俪金黑W8</vt:lpstr>
      <vt:lpstr>Source Han Sans SC Heavy</vt:lpstr>
      <vt:lpstr>楷体</vt:lpstr>
      <vt:lpstr>微软雅黑 Light</vt:lpstr>
      <vt:lpstr>Arial Unicode MS</vt:lpstr>
      <vt:lpstr>Arial</vt:lpstr>
      <vt:lpstr>Hiragino Sans GB W3</vt:lpstr>
      <vt:lpstr>Yu Gothic UI Light</vt:lpstr>
      <vt:lpstr>Source Han Sans SC</vt:lpstr>
      <vt:lpstr>Open Sans</vt:lpstr>
      <vt:lpstr>Yu Gothic UI</vt:lpstr>
      <vt:lpstr>Segoe Print</vt:lpstr>
      <vt:lpstr>1_第一PPT，www.1ppt.com</vt:lpstr>
      <vt:lpstr>TCLayout.ActiveDocument.1</vt:lpstr>
      <vt:lpstr>TCLayout.ActiveDocument.1</vt:lpstr>
      <vt:lpstr>TCLayout.ActiveDocument.1</vt:lpstr>
      <vt:lpstr>Visio.Drawing.15</vt:lpstr>
      <vt:lpstr>Visio.Drawing.15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音旋风二代芯片（VOI311/621）系统框图</vt:lpstr>
      <vt:lpstr>音旋风二代芯片（VOI721）系统框图</vt:lpstr>
      <vt:lpstr>音旋风二代轻量版VOI311产品介绍</vt:lpstr>
      <vt:lpstr>PowerPoint 演示文稿</vt:lpstr>
      <vt:lpstr>PowerPoint 演示文稿</vt:lpstr>
      <vt:lpstr>音旋风芯片系列主要参数对比</vt:lpstr>
      <vt:lpstr>PowerPoint 演示文稿</vt:lpstr>
      <vt:lpstr>SFA芯片架构+AI算法强强联合</vt:lpstr>
      <vt:lpstr>PowerPoint 演示文稿</vt:lpstr>
      <vt:lpstr>PowerPoint 演示文稿</vt:lpstr>
      <vt:lpstr>业界领先的探境语音算法</vt:lpstr>
      <vt:lpstr>传统降噪结合AI降噪，大幅提高语音识别效果</vt:lpstr>
      <vt:lpstr>探境将人机语音交互体验提升到一个新的水平 </vt:lpstr>
      <vt:lpstr>PowerPoint 演示文稿</vt:lpstr>
      <vt:lpstr>PowerPoint 演示文稿</vt:lpstr>
      <vt:lpstr>PowerPoint 演示文稿</vt:lpstr>
    </vt:vector>
  </TitlesOfParts>
  <Company>L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GU Yang</dc:creator>
  <cp:lastModifiedBy>binxiao</cp:lastModifiedBy>
  <cp:revision>1249</cp:revision>
  <cp:lastPrinted>2021-08-23T11:27:00Z</cp:lastPrinted>
  <dcterms:created xsi:type="dcterms:W3CDTF">2019-12-18T08:57:00Z</dcterms:created>
  <dcterms:modified xsi:type="dcterms:W3CDTF">2022-03-24T06:5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AAC74E6136C4B5FBBDB91C571C953F7</vt:lpwstr>
  </property>
  <property fmtid="{D5CDD505-2E9C-101B-9397-08002B2CF9AE}" pid="3" name="KSOProductBuildVer">
    <vt:lpwstr>2052-11.1.0.11365</vt:lpwstr>
  </property>
</Properties>
</file>